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8" r:id="rId4"/>
  </p:sldMasterIdLst>
  <p:notesMasterIdLst>
    <p:notesMasterId r:id="rId35"/>
  </p:notesMasterIdLst>
  <p:sldIdLst>
    <p:sldId id="2147470506" r:id="rId5"/>
    <p:sldId id="333" r:id="rId6"/>
    <p:sldId id="2147470515" r:id="rId7"/>
    <p:sldId id="2147470518" r:id="rId8"/>
    <p:sldId id="2147470523" r:id="rId9"/>
    <p:sldId id="2147470517" r:id="rId10"/>
    <p:sldId id="2147470488" r:id="rId11"/>
    <p:sldId id="2147470509" r:id="rId12"/>
    <p:sldId id="2147470496" r:id="rId13"/>
    <p:sldId id="2147470511" r:id="rId14"/>
    <p:sldId id="2147470519" r:id="rId15"/>
    <p:sldId id="2147470494" r:id="rId16"/>
    <p:sldId id="2147470498" r:id="rId17"/>
    <p:sldId id="2147470514" r:id="rId18"/>
    <p:sldId id="2147470499" r:id="rId19"/>
    <p:sldId id="2147470520" r:id="rId20"/>
    <p:sldId id="2147470503" r:id="rId21"/>
    <p:sldId id="2147470475" r:id="rId22"/>
    <p:sldId id="2147470481" r:id="rId23"/>
    <p:sldId id="2147470476" r:id="rId24"/>
    <p:sldId id="2147470487" r:id="rId25"/>
    <p:sldId id="2147470483" r:id="rId26"/>
    <p:sldId id="2147470484" r:id="rId27"/>
    <p:sldId id="2147470477" r:id="rId28"/>
    <p:sldId id="2147470478" r:id="rId29"/>
    <p:sldId id="2147470486" r:id="rId30"/>
    <p:sldId id="2147470502" r:id="rId31"/>
    <p:sldId id="2147470521" r:id="rId32"/>
    <p:sldId id="2147470522" r:id="rId33"/>
    <p:sldId id="2147470507"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AD3502-01E3-4A01-91B7-C32180E926A2}">
          <p14:sldIdLst>
            <p14:sldId id="2147470506"/>
            <p14:sldId id="333"/>
          </p14:sldIdLst>
        </p14:section>
        <p14:section name="Call to Order" id="{89138718-372A-4C71-9B7F-FB35E75F2ED3}">
          <p14:sldIdLst>
            <p14:sldId id="2147470515"/>
          </p14:sldIdLst>
        </p14:section>
        <p14:section name="Roll Call" id="{A96ACE37-E5D6-45AD-B54E-37289FB0A37C}">
          <p14:sldIdLst>
            <p14:sldId id="2147470518"/>
            <p14:sldId id="2147470523"/>
          </p14:sldIdLst>
        </p14:section>
        <p14:section name="Approval of Agenda" id="{CB8FEF39-2615-4B64-838E-CD732E494B8A}">
          <p14:sldIdLst>
            <p14:sldId id="2147470517"/>
          </p14:sldIdLst>
        </p14:section>
        <p14:section name="Opening Remarks" id="{B6A68831-33FA-4787-A168-8A8D4201D306}">
          <p14:sldIdLst>
            <p14:sldId id="2147470488"/>
          </p14:sldIdLst>
        </p14:section>
        <p14:section name="History of Resilience in LA" id="{35C6AF07-417B-487C-AC0C-E2E3DB5596BD}">
          <p14:sldIdLst>
            <p14:sldId id="2147470509"/>
            <p14:sldId id="2147470496"/>
            <p14:sldId id="2147470511"/>
            <p14:sldId id="2147470519"/>
            <p14:sldId id="2147470494"/>
            <p14:sldId id="2147470498"/>
            <p14:sldId id="2147470514"/>
            <p14:sldId id="2147470499"/>
          </p14:sldIdLst>
        </p14:section>
        <p14:section name="Intro of Task Force" id="{07670383-C703-40B2-A593-B2C0BDC2E827}">
          <p14:sldIdLst>
            <p14:sldId id="2147470520"/>
            <p14:sldId id="2147470503"/>
          </p14:sldIdLst>
        </p14:section>
        <p14:section name="Defining Resilience" id="{11890BAD-368D-4C16-A25A-D1E27758BD8A}">
          <p14:sldIdLst>
            <p14:sldId id="2147470475"/>
            <p14:sldId id="2147470481"/>
            <p14:sldId id="2147470476"/>
          </p14:sldIdLst>
        </p14:section>
        <p14:section name="Grant Opportunities" id="{7483EFBB-EFD4-4F69-AC36-A4CEB0754E83}">
          <p14:sldIdLst>
            <p14:sldId id="2147470487"/>
            <p14:sldId id="2147470483"/>
            <p14:sldId id="2147470484"/>
            <p14:sldId id="2147470477"/>
            <p14:sldId id="2147470478"/>
            <p14:sldId id="2147470486"/>
            <p14:sldId id="2147470502"/>
          </p14:sldIdLst>
        </p14:section>
        <p14:section name="Updates and Announcements" id="{B3597C60-878D-4BC5-A0B9-3E08C764B476}">
          <p14:sldIdLst>
            <p14:sldId id="2147470521"/>
            <p14:sldId id="2147470522"/>
          </p14:sldIdLst>
        </p14:section>
        <p14:section name="Public Comment" id="{9BB0C1F2-1B47-4CA3-A075-05B890CFFDBD}">
          <p14:sldIdLst/>
        </p14:section>
        <p14:section name="Adjourn" id="{0EE1D2D9-4466-4EA1-A8DB-6DF83BEC3C51}">
          <p14:sldIdLst>
            <p14:sldId id="214747050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608AB24-6488-0392-99E7-61F7E6D0A82C}" name="Overly, Kyle" initials="OK" userId="S::koverly@deloitte.com::47330fc1-c987-4fb2-ac86-f1dc5236b3f3" providerId="AD"/>
  <p188:author id="{109EFF95-FCAE-1799-5E72-550329111116}" name="Ryan McNamara" initials="RM" userId="Ryan McNamara" providerId="None"/>
  <p188:author id="{B90FB3CE-E369-62E0-5949-EEDB7370F844}" name="Dupre, Joseph" initials="DJ" userId="S::jdupre@deloitte.com::1c983179-ad5e-4050-9e23-98f1f597ba98" providerId="AD"/>
  <p188:author id="{0D7538E4-B353-DFED-C43A-D4B32A1E5BBA}" name="Lopez, Betsy" initials="LB" userId="S::betlopez@deloitte.com::56034527-67e7-462c-a52c-6b2d9c29d515"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EF5424-FA16-47FC-8647-9C35E256CDB4}" v="2586" dt="2024-03-01T04:04:44.658"/>
    <p1510:client id="{D2DD3392-D763-4590-BCC9-723BBBE6007E}" v="4651" dt="2024-02-29T17:11:08.374"/>
    <p1510:client id="{DC1CC38E-4FD5-457F-B597-01A609BADCCE}" v="830" vWet="832" dt="2024-02-29T22:40:26.40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8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B07899-7257-4855-B2BA-560FC05355E0}" type="doc">
      <dgm:prSet loTypeId="urn:microsoft.com/office/officeart/2005/8/layout/hChevron3" loCatId="process" qsTypeId="urn:microsoft.com/office/officeart/2005/8/quickstyle/simple1" qsCatId="simple" csTypeId="urn:microsoft.com/office/officeart/2005/8/colors/accent0_3" csCatId="mainScheme" phldr="1"/>
      <dgm:spPr/>
    </dgm:pt>
    <dgm:pt modelId="{21A9ED18-7E05-4AF4-8DB6-D11484F28746}">
      <dgm:prSet phldrT="[Text]" custT="1"/>
      <dgm:spPr>
        <a:solidFill>
          <a:schemeClr val="accent6"/>
        </a:solidFill>
      </dgm:spPr>
      <dgm:t>
        <a:bodyPr/>
        <a:lstStyle/>
        <a:p>
          <a:pPr algn="l">
            <a:buClr>
              <a:srgbClr val="000000"/>
            </a:buClr>
            <a:buSzTx/>
            <a:buFontTx/>
            <a:buNone/>
          </a:pPr>
          <a:r>
            <a:rPr lang="en-US" sz="900" b="1" kern="1200" dirty="0">
              <a:solidFill>
                <a:srgbClr val="002060"/>
              </a:solidFill>
              <a:latin typeface="Calibri"/>
              <a:ea typeface="+mn-ea"/>
              <a:cs typeface="+mn-cs"/>
            </a:rPr>
            <a:t>Resilience History in LA</a:t>
          </a:r>
        </a:p>
      </dgm:t>
    </dgm:pt>
    <dgm:pt modelId="{024CBD82-A016-416B-AFAE-FEDDFE8865F1}" type="parTrans" cxnId="{5288F222-6FF2-49BD-843A-2E61C1CB13DA}">
      <dgm:prSet/>
      <dgm:spPr/>
      <dgm:t>
        <a:bodyPr/>
        <a:lstStyle/>
        <a:p>
          <a:pPr algn="l"/>
          <a:endParaRPr lang="en-US" sz="1000"/>
        </a:p>
      </dgm:t>
    </dgm:pt>
    <dgm:pt modelId="{5A9D6CF9-4B37-4E4B-A898-D69A027AD6A8}" type="sibTrans" cxnId="{5288F222-6FF2-49BD-843A-2E61C1CB13DA}">
      <dgm:prSet/>
      <dgm:spPr/>
      <dgm:t>
        <a:bodyPr/>
        <a:lstStyle/>
        <a:p>
          <a:pPr algn="l"/>
          <a:endParaRPr lang="en-US" sz="1000"/>
        </a:p>
      </dgm:t>
    </dgm:pt>
    <dgm:pt modelId="{F66429B7-F2A6-4EDF-BA1E-F8F7BFA9899D}">
      <dgm:prSet phldrT="[Text]" custT="1"/>
      <dgm:spPr>
        <a:solidFill>
          <a:schemeClr val="accent6"/>
        </a:solidFill>
      </dgm:spPr>
      <dgm:t>
        <a:bodyPr/>
        <a:lstStyle/>
        <a:p>
          <a:pPr algn="l">
            <a:buClr>
              <a:srgbClr val="000000"/>
            </a:buClr>
            <a:buSzTx/>
            <a:buFontTx/>
            <a:buNone/>
          </a:pPr>
          <a:r>
            <a:rPr lang="en-US" sz="900" b="0" kern="1200">
              <a:solidFill>
                <a:prstClr val="white"/>
              </a:solidFill>
              <a:latin typeface="Calibri"/>
              <a:ea typeface="+mn-ea"/>
              <a:cs typeface="+mn-cs"/>
            </a:rPr>
            <a:t>Defining Resilience</a:t>
          </a:r>
        </a:p>
      </dgm:t>
    </dgm:pt>
    <dgm:pt modelId="{6E9FE56B-92BA-4E61-9B3C-FE157DD4BDDD}" type="parTrans" cxnId="{5012ED59-E7DB-4E8A-88A4-4CE9F9E26808}">
      <dgm:prSet/>
      <dgm:spPr/>
      <dgm:t>
        <a:bodyPr/>
        <a:lstStyle/>
        <a:p>
          <a:pPr algn="l"/>
          <a:endParaRPr lang="en-US" sz="1000"/>
        </a:p>
      </dgm:t>
    </dgm:pt>
    <dgm:pt modelId="{A04AB669-0169-4770-8E02-11C4D0D2093C}" type="sibTrans" cxnId="{5012ED59-E7DB-4E8A-88A4-4CE9F9E26808}">
      <dgm:prSet/>
      <dgm:spPr/>
      <dgm:t>
        <a:bodyPr/>
        <a:lstStyle/>
        <a:p>
          <a:pPr algn="l"/>
          <a:endParaRPr lang="en-US" sz="1000"/>
        </a:p>
      </dgm:t>
    </dgm:pt>
    <dgm:pt modelId="{5B251949-10C6-4E88-80A4-B46821AA0622}">
      <dgm:prSet custT="1"/>
      <dgm:spPr>
        <a:solidFill>
          <a:schemeClr val="accent6"/>
        </a:solidFill>
      </dgm:spPr>
      <dgm:t>
        <a:bodyPr/>
        <a:lstStyle/>
        <a:p>
          <a:pPr algn="l"/>
          <a:r>
            <a:rPr lang="en-US" sz="900" b="0" kern="1200" noProof="0" dirty="0">
              <a:solidFill>
                <a:schemeClr val="bg1"/>
              </a:solidFill>
              <a:latin typeface="Calibri"/>
              <a:ea typeface="+mn-ea"/>
              <a:cs typeface="+mn-cs"/>
            </a:rPr>
            <a:t>2024 Plans</a:t>
          </a:r>
        </a:p>
      </dgm:t>
    </dgm:pt>
    <dgm:pt modelId="{A2C6887E-CC23-41BD-8CDB-A30F4E6A803B}" type="parTrans" cxnId="{A2B26311-AF1C-46C7-9E4E-59416CC00B89}">
      <dgm:prSet/>
      <dgm:spPr/>
      <dgm:t>
        <a:bodyPr/>
        <a:lstStyle/>
        <a:p>
          <a:pPr algn="l"/>
          <a:endParaRPr lang="en-US" sz="1000"/>
        </a:p>
      </dgm:t>
    </dgm:pt>
    <dgm:pt modelId="{BF8BA033-832E-411F-AB10-64C44F9ED267}" type="sibTrans" cxnId="{A2B26311-AF1C-46C7-9E4E-59416CC00B89}">
      <dgm:prSet/>
      <dgm:spPr/>
      <dgm:t>
        <a:bodyPr/>
        <a:lstStyle/>
        <a:p>
          <a:pPr algn="l"/>
          <a:endParaRPr lang="en-US" sz="1000"/>
        </a:p>
      </dgm:t>
    </dgm:pt>
    <dgm:pt modelId="{4F7B5E4B-6EFC-416C-817A-E8DA23AED9BB}">
      <dgm:prSet custT="1"/>
      <dgm:spPr>
        <a:solidFill>
          <a:schemeClr val="accent6"/>
        </a:solidFill>
      </dgm:spPr>
      <dgm:t>
        <a:bodyPr/>
        <a:lstStyle/>
        <a:p>
          <a:pPr algn="l">
            <a:buClr>
              <a:srgbClr val="000000"/>
            </a:buClr>
            <a:buSzTx/>
            <a:buFontTx/>
            <a:buNone/>
          </a:pPr>
          <a:r>
            <a:rPr kumimoji="0" lang="en-US" sz="900" b="0" i="0" u="none" strike="noStrike" cap="none" spc="0" normalizeH="0" baseline="0" noProof="0">
              <a:ln/>
              <a:effectLst/>
              <a:uLnTx/>
              <a:uFillTx/>
              <a:latin typeface="+mn-lt"/>
              <a:ea typeface="Open Sans" panose="020B0606030504020204" pitchFamily="34" charset="0"/>
              <a:cs typeface="Open Sans" panose="020B0606030504020204" pitchFamily="34" charset="0"/>
            </a:rPr>
            <a:t>Supporting Resilience</a:t>
          </a:r>
        </a:p>
      </dgm:t>
    </dgm:pt>
    <dgm:pt modelId="{B85995E0-AFE8-45B4-93AB-1DFBF3ADBDF3}" type="parTrans" cxnId="{164AE97D-17BA-45B8-8258-512FF5DA01E1}">
      <dgm:prSet/>
      <dgm:spPr/>
      <dgm:t>
        <a:bodyPr/>
        <a:lstStyle/>
        <a:p>
          <a:pPr algn="l"/>
          <a:endParaRPr lang="en-US"/>
        </a:p>
      </dgm:t>
    </dgm:pt>
    <dgm:pt modelId="{CCC13AA0-C2A8-4988-B9B5-EC9DBDC22DF7}" type="sibTrans" cxnId="{164AE97D-17BA-45B8-8258-512FF5DA01E1}">
      <dgm:prSet/>
      <dgm:spPr/>
      <dgm:t>
        <a:bodyPr/>
        <a:lstStyle/>
        <a:p>
          <a:pPr algn="l"/>
          <a:endParaRPr lang="en-US"/>
        </a:p>
      </dgm:t>
    </dgm:pt>
    <dgm:pt modelId="{2ED16894-051D-4B7E-923D-AC3F1E3A2389}">
      <dgm:prSet phldrT="[Text]" custT="1"/>
      <dgm:spPr>
        <a:solidFill>
          <a:schemeClr val="accent6"/>
        </a:solidFill>
      </dgm:spPr>
      <dgm:t>
        <a:bodyPr/>
        <a:lstStyle/>
        <a:p>
          <a:pPr algn="l">
            <a:buClr>
              <a:srgbClr val="000000"/>
            </a:buClr>
            <a:buSzTx/>
            <a:buFontTx/>
            <a:buNone/>
          </a:pPr>
          <a:r>
            <a:rPr lang="en-US" sz="900" b="0" kern="1200">
              <a:solidFill>
                <a:schemeClr val="bg1"/>
              </a:solidFill>
              <a:latin typeface="Calibri"/>
              <a:ea typeface="+mn-ea"/>
              <a:cs typeface="+mn-cs"/>
            </a:rPr>
            <a:t>Resilient Priorities</a:t>
          </a:r>
        </a:p>
      </dgm:t>
    </dgm:pt>
    <dgm:pt modelId="{3B83BB90-403D-4B81-8ACA-1842FB453139}" type="parTrans" cxnId="{4A7C2022-A1CE-43CC-9D0B-8618CF4B7E83}">
      <dgm:prSet/>
      <dgm:spPr/>
      <dgm:t>
        <a:bodyPr/>
        <a:lstStyle/>
        <a:p>
          <a:pPr algn="l"/>
          <a:endParaRPr lang="en-US"/>
        </a:p>
      </dgm:t>
    </dgm:pt>
    <dgm:pt modelId="{F79043B0-ACEE-4EDB-BDDE-EC23BCEE0D4C}" type="sibTrans" cxnId="{4A7C2022-A1CE-43CC-9D0B-8618CF4B7E83}">
      <dgm:prSet/>
      <dgm:spPr/>
      <dgm:t>
        <a:bodyPr/>
        <a:lstStyle/>
        <a:p>
          <a:pPr algn="l"/>
          <a:endParaRPr lang="en-US"/>
        </a:p>
      </dgm:t>
    </dgm:pt>
    <dgm:pt modelId="{D77D2F02-0183-44CE-BC94-401E961E146E}" type="pres">
      <dgm:prSet presAssocID="{D9B07899-7257-4855-B2BA-560FC05355E0}" presName="Name0" presStyleCnt="0">
        <dgm:presLayoutVars>
          <dgm:dir/>
          <dgm:resizeHandles val="exact"/>
        </dgm:presLayoutVars>
      </dgm:prSet>
      <dgm:spPr/>
    </dgm:pt>
    <dgm:pt modelId="{A4926F63-D2CD-434F-B90F-76C57660AF57}" type="pres">
      <dgm:prSet presAssocID="{21A9ED18-7E05-4AF4-8DB6-D11484F28746}" presName="parTxOnly" presStyleLbl="node1" presStyleIdx="0" presStyleCnt="5" custScaleY="59842">
        <dgm:presLayoutVars>
          <dgm:bulletEnabled val="1"/>
        </dgm:presLayoutVars>
      </dgm:prSet>
      <dgm:spPr/>
      <dgm:t>
        <a:bodyPr/>
        <a:lstStyle/>
        <a:p>
          <a:endParaRPr lang="en-US"/>
        </a:p>
      </dgm:t>
    </dgm:pt>
    <dgm:pt modelId="{DCE6AC21-9C9E-42BB-B9B5-5DE410E69420}" type="pres">
      <dgm:prSet presAssocID="{5A9D6CF9-4B37-4E4B-A898-D69A027AD6A8}" presName="parSpace" presStyleCnt="0"/>
      <dgm:spPr/>
    </dgm:pt>
    <dgm:pt modelId="{B82777D0-A990-4035-8EED-0F2DDF6C0C33}" type="pres">
      <dgm:prSet presAssocID="{F66429B7-F2A6-4EDF-BA1E-F8F7BFA9899D}" presName="parTxOnly" presStyleLbl="node1" presStyleIdx="1" presStyleCnt="5" custScaleY="59842">
        <dgm:presLayoutVars>
          <dgm:bulletEnabled val="1"/>
        </dgm:presLayoutVars>
      </dgm:prSet>
      <dgm:spPr/>
      <dgm:t>
        <a:bodyPr/>
        <a:lstStyle/>
        <a:p>
          <a:endParaRPr lang="en-US"/>
        </a:p>
      </dgm:t>
    </dgm:pt>
    <dgm:pt modelId="{E3301670-4D64-4B16-97C1-961D48C9E078}" type="pres">
      <dgm:prSet presAssocID="{A04AB669-0169-4770-8E02-11C4D0D2093C}" presName="parSpace" presStyleCnt="0"/>
      <dgm:spPr/>
    </dgm:pt>
    <dgm:pt modelId="{1F012BD6-E716-4D4B-A0E1-1ABD2D14D48D}" type="pres">
      <dgm:prSet presAssocID="{2ED16894-051D-4B7E-923D-AC3F1E3A2389}" presName="parTxOnly" presStyleLbl="node1" presStyleIdx="2" presStyleCnt="5">
        <dgm:presLayoutVars>
          <dgm:bulletEnabled val="1"/>
        </dgm:presLayoutVars>
      </dgm:prSet>
      <dgm:spPr/>
      <dgm:t>
        <a:bodyPr/>
        <a:lstStyle/>
        <a:p>
          <a:endParaRPr lang="en-US"/>
        </a:p>
      </dgm:t>
    </dgm:pt>
    <dgm:pt modelId="{4F21C863-DAEC-41A3-B5A0-6361F291AE75}" type="pres">
      <dgm:prSet presAssocID="{F79043B0-ACEE-4EDB-BDDE-EC23BCEE0D4C}" presName="parSpace" presStyleCnt="0"/>
      <dgm:spPr/>
    </dgm:pt>
    <dgm:pt modelId="{678C0F94-0CF7-48C0-BCE6-8694FF7871BA}" type="pres">
      <dgm:prSet presAssocID="{5B251949-10C6-4E88-80A4-B46821AA0622}" presName="parTxOnly" presStyleLbl="node1" presStyleIdx="3" presStyleCnt="5" custScaleY="59842" custLinFactNeighborX="498">
        <dgm:presLayoutVars>
          <dgm:bulletEnabled val="1"/>
        </dgm:presLayoutVars>
      </dgm:prSet>
      <dgm:spPr/>
      <dgm:t>
        <a:bodyPr/>
        <a:lstStyle/>
        <a:p>
          <a:endParaRPr lang="en-US"/>
        </a:p>
      </dgm:t>
    </dgm:pt>
    <dgm:pt modelId="{12C50269-1B20-430D-B1D6-F920A9394FCC}" type="pres">
      <dgm:prSet presAssocID="{BF8BA033-832E-411F-AB10-64C44F9ED267}" presName="parSpace" presStyleCnt="0"/>
      <dgm:spPr/>
    </dgm:pt>
    <dgm:pt modelId="{63A39315-0123-4F8A-B486-965893A667F9}" type="pres">
      <dgm:prSet presAssocID="{4F7B5E4B-6EFC-416C-817A-E8DA23AED9BB}" presName="parTxOnly" presStyleLbl="node1" presStyleIdx="4" presStyleCnt="5" custLinFactNeighborX="306">
        <dgm:presLayoutVars>
          <dgm:bulletEnabled val="1"/>
        </dgm:presLayoutVars>
      </dgm:prSet>
      <dgm:spPr/>
      <dgm:t>
        <a:bodyPr/>
        <a:lstStyle/>
        <a:p>
          <a:endParaRPr lang="en-US"/>
        </a:p>
      </dgm:t>
    </dgm:pt>
  </dgm:ptLst>
  <dgm:cxnLst>
    <dgm:cxn modelId="{E2ACDEBD-C114-45A3-9FC4-0DB45AE8DD24}" type="presOf" srcId="{5B251949-10C6-4E88-80A4-B46821AA0622}" destId="{678C0F94-0CF7-48C0-BCE6-8694FF7871BA}" srcOrd="0" destOrd="0" presId="urn:microsoft.com/office/officeart/2005/8/layout/hChevron3"/>
    <dgm:cxn modelId="{B4086BF8-CEF9-4FA4-8150-EAE2FDFAB89C}" type="presOf" srcId="{21A9ED18-7E05-4AF4-8DB6-D11484F28746}" destId="{A4926F63-D2CD-434F-B90F-76C57660AF57}" srcOrd="0" destOrd="0" presId="urn:microsoft.com/office/officeart/2005/8/layout/hChevron3"/>
    <dgm:cxn modelId="{4A7C2022-A1CE-43CC-9D0B-8618CF4B7E83}" srcId="{D9B07899-7257-4855-B2BA-560FC05355E0}" destId="{2ED16894-051D-4B7E-923D-AC3F1E3A2389}" srcOrd="2" destOrd="0" parTransId="{3B83BB90-403D-4B81-8ACA-1842FB453139}" sibTransId="{F79043B0-ACEE-4EDB-BDDE-EC23BCEE0D4C}"/>
    <dgm:cxn modelId="{A2B26311-AF1C-46C7-9E4E-59416CC00B89}" srcId="{D9B07899-7257-4855-B2BA-560FC05355E0}" destId="{5B251949-10C6-4E88-80A4-B46821AA0622}" srcOrd="3" destOrd="0" parTransId="{A2C6887E-CC23-41BD-8CDB-A30F4E6A803B}" sibTransId="{BF8BA033-832E-411F-AB10-64C44F9ED267}"/>
    <dgm:cxn modelId="{AAB22FF6-A6A8-45F0-9875-C31F17BD69A7}" type="presOf" srcId="{F66429B7-F2A6-4EDF-BA1E-F8F7BFA9899D}" destId="{B82777D0-A990-4035-8EED-0F2DDF6C0C33}" srcOrd="0" destOrd="0" presId="urn:microsoft.com/office/officeart/2005/8/layout/hChevron3"/>
    <dgm:cxn modelId="{5618B0ED-5149-403A-8F92-B6D8DF3925FD}" type="presOf" srcId="{D9B07899-7257-4855-B2BA-560FC05355E0}" destId="{D77D2F02-0183-44CE-BC94-401E961E146E}" srcOrd="0" destOrd="0" presId="urn:microsoft.com/office/officeart/2005/8/layout/hChevron3"/>
    <dgm:cxn modelId="{6BD21AE2-7D2B-497C-8A31-A4FBF2EC9F48}" type="presOf" srcId="{2ED16894-051D-4B7E-923D-AC3F1E3A2389}" destId="{1F012BD6-E716-4D4B-A0E1-1ABD2D14D48D}" srcOrd="0" destOrd="0" presId="urn:microsoft.com/office/officeart/2005/8/layout/hChevron3"/>
    <dgm:cxn modelId="{694AAC12-5EB0-449A-B5B0-B9017A97DF27}" type="presOf" srcId="{4F7B5E4B-6EFC-416C-817A-E8DA23AED9BB}" destId="{63A39315-0123-4F8A-B486-965893A667F9}" srcOrd="0" destOrd="0" presId="urn:microsoft.com/office/officeart/2005/8/layout/hChevron3"/>
    <dgm:cxn modelId="{5012ED59-E7DB-4E8A-88A4-4CE9F9E26808}" srcId="{D9B07899-7257-4855-B2BA-560FC05355E0}" destId="{F66429B7-F2A6-4EDF-BA1E-F8F7BFA9899D}" srcOrd="1" destOrd="0" parTransId="{6E9FE56B-92BA-4E61-9B3C-FE157DD4BDDD}" sibTransId="{A04AB669-0169-4770-8E02-11C4D0D2093C}"/>
    <dgm:cxn modelId="{164AE97D-17BA-45B8-8258-512FF5DA01E1}" srcId="{D9B07899-7257-4855-B2BA-560FC05355E0}" destId="{4F7B5E4B-6EFC-416C-817A-E8DA23AED9BB}" srcOrd="4" destOrd="0" parTransId="{B85995E0-AFE8-45B4-93AB-1DFBF3ADBDF3}" sibTransId="{CCC13AA0-C2A8-4988-B9B5-EC9DBDC22DF7}"/>
    <dgm:cxn modelId="{5288F222-6FF2-49BD-843A-2E61C1CB13DA}" srcId="{D9B07899-7257-4855-B2BA-560FC05355E0}" destId="{21A9ED18-7E05-4AF4-8DB6-D11484F28746}" srcOrd="0" destOrd="0" parTransId="{024CBD82-A016-416B-AFAE-FEDDFE8865F1}" sibTransId="{5A9D6CF9-4B37-4E4B-A898-D69A027AD6A8}"/>
    <dgm:cxn modelId="{21EA6B71-E6FD-4DF0-8182-437229168439}" type="presParOf" srcId="{D77D2F02-0183-44CE-BC94-401E961E146E}" destId="{A4926F63-D2CD-434F-B90F-76C57660AF57}" srcOrd="0" destOrd="0" presId="urn:microsoft.com/office/officeart/2005/8/layout/hChevron3"/>
    <dgm:cxn modelId="{913ED777-7005-49D6-B299-EA64244B3016}" type="presParOf" srcId="{D77D2F02-0183-44CE-BC94-401E961E146E}" destId="{DCE6AC21-9C9E-42BB-B9B5-5DE410E69420}" srcOrd="1" destOrd="0" presId="urn:microsoft.com/office/officeart/2005/8/layout/hChevron3"/>
    <dgm:cxn modelId="{9AA624B2-9758-431B-A5AB-BEBE2896C43D}" type="presParOf" srcId="{D77D2F02-0183-44CE-BC94-401E961E146E}" destId="{B82777D0-A990-4035-8EED-0F2DDF6C0C33}" srcOrd="2" destOrd="0" presId="urn:microsoft.com/office/officeart/2005/8/layout/hChevron3"/>
    <dgm:cxn modelId="{363C9721-4C08-4899-9103-076EB5C37D04}" type="presParOf" srcId="{D77D2F02-0183-44CE-BC94-401E961E146E}" destId="{E3301670-4D64-4B16-97C1-961D48C9E078}" srcOrd="3" destOrd="0" presId="urn:microsoft.com/office/officeart/2005/8/layout/hChevron3"/>
    <dgm:cxn modelId="{2CEAE81E-1E30-48CD-B1C8-65A354981B63}" type="presParOf" srcId="{D77D2F02-0183-44CE-BC94-401E961E146E}" destId="{1F012BD6-E716-4D4B-A0E1-1ABD2D14D48D}" srcOrd="4" destOrd="0" presId="urn:microsoft.com/office/officeart/2005/8/layout/hChevron3"/>
    <dgm:cxn modelId="{335818C1-8BF2-419A-8F8C-333387620264}" type="presParOf" srcId="{D77D2F02-0183-44CE-BC94-401E961E146E}" destId="{4F21C863-DAEC-41A3-B5A0-6361F291AE75}" srcOrd="5" destOrd="0" presId="urn:microsoft.com/office/officeart/2005/8/layout/hChevron3"/>
    <dgm:cxn modelId="{FFECF31E-6AD4-4615-BB93-7C1A0BA43E5E}" type="presParOf" srcId="{D77D2F02-0183-44CE-BC94-401E961E146E}" destId="{678C0F94-0CF7-48C0-BCE6-8694FF7871BA}" srcOrd="6" destOrd="0" presId="urn:microsoft.com/office/officeart/2005/8/layout/hChevron3"/>
    <dgm:cxn modelId="{0DE0AC6C-5C6E-4E39-B00F-7AAFEB478C61}" type="presParOf" srcId="{D77D2F02-0183-44CE-BC94-401E961E146E}" destId="{12C50269-1B20-430D-B1D6-F920A9394FCC}" srcOrd="7" destOrd="0" presId="urn:microsoft.com/office/officeart/2005/8/layout/hChevron3"/>
    <dgm:cxn modelId="{590C0E82-AB50-409F-9303-01A1B44022DD}" type="presParOf" srcId="{D77D2F02-0183-44CE-BC94-401E961E146E}" destId="{63A39315-0123-4F8A-B486-965893A667F9}" srcOrd="8"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B07899-7257-4855-B2BA-560FC05355E0}" type="doc">
      <dgm:prSet loTypeId="urn:microsoft.com/office/officeart/2005/8/layout/hChevron3" loCatId="process" qsTypeId="urn:microsoft.com/office/officeart/2005/8/quickstyle/simple1" qsCatId="simple" csTypeId="urn:microsoft.com/office/officeart/2005/8/colors/accent0_3" csCatId="mainScheme" phldr="1"/>
      <dgm:spPr/>
    </dgm:pt>
    <dgm:pt modelId="{21A9ED18-7E05-4AF4-8DB6-D11484F28746}">
      <dgm:prSet phldrT="[Text]" custT="1"/>
      <dgm:spPr>
        <a:solidFill>
          <a:schemeClr val="accent6"/>
        </a:solidFill>
      </dgm:spPr>
      <dgm:t>
        <a:bodyPr/>
        <a:lstStyle/>
        <a:p>
          <a:pPr algn="l">
            <a:buClr>
              <a:srgbClr val="000000"/>
            </a:buClr>
            <a:buSzTx/>
            <a:buFontTx/>
            <a:buNone/>
          </a:pPr>
          <a:r>
            <a:rPr lang="en-US" sz="900" b="0" kern="1200" dirty="0">
              <a:solidFill>
                <a:schemeClr val="bg1"/>
              </a:solidFill>
              <a:latin typeface="Calibri"/>
              <a:ea typeface="+mn-ea"/>
              <a:cs typeface="+mn-cs"/>
            </a:rPr>
            <a:t>Resilience History in LA</a:t>
          </a:r>
        </a:p>
      </dgm:t>
    </dgm:pt>
    <dgm:pt modelId="{024CBD82-A016-416B-AFAE-FEDDFE8865F1}" type="parTrans" cxnId="{5288F222-6FF2-49BD-843A-2E61C1CB13DA}">
      <dgm:prSet/>
      <dgm:spPr/>
      <dgm:t>
        <a:bodyPr/>
        <a:lstStyle/>
        <a:p>
          <a:pPr algn="l"/>
          <a:endParaRPr lang="en-US" sz="1000"/>
        </a:p>
      </dgm:t>
    </dgm:pt>
    <dgm:pt modelId="{5A9D6CF9-4B37-4E4B-A898-D69A027AD6A8}" type="sibTrans" cxnId="{5288F222-6FF2-49BD-843A-2E61C1CB13DA}">
      <dgm:prSet/>
      <dgm:spPr/>
      <dgm:t>
        <a:bodyPr/>
        <a:lstStyle/>
        <a:p>
          <a:pPr algn="l"/>
          <a:endParaRPr lang="en-US" sz="1000"/>
        </a:p>
      </dgm:t>
    </dgm:pt>
    <dgm:pt modelId="{F66429B7-F2A6-4EDF-BA1E-F8F7BFA9899D}">
      <dgm:prSet phldrT="[Text]" custT="1"/>
      <dgm:spPr>
        <a:solidFill>
          <a:schemeClr val="accent6"/>
        </a:solidFill>
      </dgm:spPr>
      <dgm:t>
        <a:bodyPr/>
        <a:lstStyle/>
        <a:p>
          <a:pPr algn="l">
            <a:buClr>
              <a:srgbClr val="000000"/>
            </a:buClr>
            <a:buSzTx/>
            <a:buFontTx/>
            <a:buNone/>
          </a:pPr>
          <a:r>
            <a:rPr lang="en-US" sz="900" b="0" kern="1200">
              <a:solidFill>
                <a:schemeClr val="bg1"/>
              </a:solidFill>
              <a:latin typeface="Calibri"/>
              <a:ea typeface="+mn-ea"/>
              <a:cs typeface="+mn-cs"/>
            </a:rPr>
            <a:t>Defining Resilience</a:t>
          </a:r>
        </a:p>
      </dgm:t>
    </dgm:pt>
    <dgm:pt modelId="{6E9FE56B-92BA-4E61-9B3C-FE157DD4BDDD}" type="parTrans" cxnId="{5012ED59-E7DB-4E8A-88A4-4CE9F9E26808}">
      <dgm:prSet/>
      <dgm:spPr/>
      <dgm:t>
        <a:bodyPr/>
        <a:lstStyle/>
        <a:p>
          <a:pPr algn="l"/>
          <a:endParaRPr lang="en-US" sz="1000"/>
        </a:p>
      </dgm:t>
    </dgm:pt>
    <dgm:pt modelId="{A04AB669-0169-4770-8E02-11C4D0D2093C}" type="sibTrans" cxnId="{5012ED59-E7DB-4E8A-88A4-4CE9F9E26808}">
      <dgm:prSet/>
      <dgm:spPr/>
      <dgm:t>
        <a:bodyPr/>
        <a:lstStyle/>
        <a:p>
          <a:pPr algn="l"/>
          <a:endParaRPr lang="en-US" sz="1000"/>
        </a:p>
      </dgm:t>
    </dgm:pt>
    <dgm:pt modelId="{5B251949-10C6-4E88-80A4-B46821AA0622}">
      <dgm:prSet custT="1"/>
      <dgm:spPr>
        <a:solidFill>
          <a:schemeClr val="accent6"/>
        </a:solidFill>
      </dgm:spPr>
      <dgm:t>
        <a:bodyPr/>
        <a:lstStyle/>
        <a:p>
          <a:pPr algn="l"/>
          <a:r>
            <a:rPr lang="en-US" sz="900" b="1" kern="1200" noProof="0" dirty="0">
              <a:solidFill>
                <a:srgbClr val="002060"/>
              </a:solidFill>
              <a:latin typeface="Calibri"/>
              <a:ea typeface="+mn-ea"/>
              <a:cs typeface="+mn-cs"/>
            </a:rPr>
            <a:t>2024 Plans</a:t>
          </a:r>
        </a:p>
      </dgm:t>
    </dgm:pt>
    <dgm:pt modelId="{A2C6887E-CC23-41BD-8CDB-A30F4E6A803B}" type="parTrans" cxnId="{A2B26311-AF1C-46C7-9E4E-59416CC00B89}">
      <dgm:prSet/>
      <dgm:spPr/>
      <dgm:t>
        <a:bodyPr/>
        <a:lstStyle/>
        <a:p>
          <a:pPr algn="l"/>
          <a:endParaRPr lang="en-US" sz="1000"/>
        </a:p>
      </dgm:t>
    </dgm:pt>
    <dgm:pt modelId="{BF8BA033-832E-411F-AB10-64C44F9ED267}" type="sibTrans" cxnId="{A2B26311-AF1C-46C7-9E4E-59416CC00B89}">
      <dgm:prSet/>
      <dgm:spPr/>
      <dgm:t>
        <a:bodyPr/>
        <a:lstStyle/>
        <a:p>
          <a:pPr algn="l"/>
          <a:endParaRPr lang="en-US" sz="1000"/>
        </a:p>
      </dgm:t>
    </dgm:pt>
    <dgm:pt modelId="{4F7B5E4B-6EFC-416C-817A-E8DA23AED9BB}">
      <dgm:prSet custT="1"/>
      <dgm:spPr>
        <a:solidFill>
          <a:schemeClr val="accent6"/>
        </a:solidFill>
      </dgm:spPr>
      <dgm:t>
        <a:bodyPr/>
        <a:lstStyle/>
        <a:p>
          <a:pPr algn="l">
            <a:buClr>
              <a:srgbClr val="000000"/>
            </a:buClr>
            <a:buSzTx/>
            <a:buFontTx/>
            <a:buNone/>
          </a:pPr>
          <a:r>
            <a:rPr kumimoji="0" lang="en-US" sz="900" b="0" i="0" u="none" strike="noStrike" cap="none" spc="0" normalizeH="0" baseline="0" noProof="0">
              <a:ln/>
              <a:effectLst/>
              <a:uLnTx/>
              <a:uFillTx/>
              <a:latin typeface="+mn-lt"/>
              <a:ea typeface="Open Sans" panose="020B0606030504020204" pitchFamily="34" charset="0"/>
              <a:cs typeface="Open Sans" panose="020B0606030504020204" pitchFamily="34" charset="0"/>
            </a:rPr>
            <a:t>Supporting Resilience</a:t>
          </a:r>
        </a:p>
      </dgm:t>
    </dgm:pt>
    <dgm:pt modelId="{B85995E0-AFE8-45B4-93AB-1DFBF3ADBDF3}" type="parTrans" cxnId="{164AE97D-17BA-45B8-8258-512FF5DA01E1}">
      <dgm:prSet/>
      <dgm:spPr/>
      <dgm:t>
        <a:bodyPr/>
        <a:lstStyle/>
        <a:p>
          <a:pPr algn="l"/>
          <a:endParaRPr lang="en-US"/>
        </a:p>
      </dgm:t>
    </dgm:pt>
    <dgm:pt modelId="{CCC13AA0-C2A8-4988-B9B5-EC9DBDC22DF7}" type="sibTrans" cxnId="{164AE97D-17BA-45B8-8258-512FF5DA01E1}">
      <dgm:prSet/>
      <dgm:spPr/>
      <dgm:t>
        <a:bodyPr/>
        <a:lstStyle/>
        <a:p>
          <a:pPr algn="l"/>
          <a:endParaRPr lang="en-US"/>
        </a:p>
      </dgm:t>
    </dgm:pt>
    <dgm:pt modelId="{2ED16894-051D-4B7E-923D-AC3F1E3A2389}">
      <dgm:prSet phldrT="[Text]" custT="1"/>
      <dgm:spPr>
        <a:solidFill>
          <a:schemeClr val="accent6"/>
        </a:solidFill>
      </dgm:spPr>
      <dgm:t>
        <a:bodyPr/>
        <a:lstStyle/>
        <a:p>
          <a:pPr algn="l">
            <a:buClr>
              <a:srgbClr val="000000"/>
            </a:buClr>
            <a:buSzTx/>
            <a:buFontTx/>
            <a:buNone/>
          </a:pPr>
          <a:r>
            <a:rPr lang="en-US" sz="900" b="0" kern="1200">
              <a:solidFill>
                <a:schemeClr val="bg1"/>
              </a:solidFill>
              <a:latin typeface="Calibri"/>
              <a:ea typeface="+mn-ea"/>
              <a:cs typeface="+mn-cs"/>
            </a:rPr>
            <a:t>Resilient Priorities</a:t>
          </a:r>
        </a:p>
      </dgm:t>
    </dgm:pt>
    <dgm:pt modelId="{3B83BB90-403D-4B81-8ACA-1842FB453139}" type="parTrans" cxnId="{4A7C2022-A1CE-43CC-9D0B-8618CF4B7E83}">
      <dgm:prSet/>
      <dgm:spPr/>
      <dgm:t>
        <a:bodyPr/>
        <a:lstStyle/>
        <a:p>
          <a:pPr algn="l"/>
          <a:endParaRPr lang="en-US"/>
        </a:p>
      </dgm:t>
    </dgm:pt>
    <dgm:pt modelId="{F79043B0-ACEE-4EDB-BDDE-EC23BCEE0D4C}" type="sibTrans" cxnId="{4A7C2022-A1CE-43CC-9D0B-8618CF4B7E83}">
      <dgm:prSet/>
      <dgm:spPr/>
      <dgm:t>
        <a:bodyPr/>
        <a:lstStyle/>
        <a:p>
          <a:pPr algn="l"/>
          <a:endParaRPr lang="en-US"/>
        </a:p>
      </dgm:t>
    </dgm:pt>
    <dgm:pt modelId="{D77D2F02-0183-44CE-BC94-401E961E146E}" type="pres">
      <dgm:prSet presAssocID="{D9B07899-7257-4855-B2BA-560FC05355E0}" presName="Name0" presStyleCnt="0">
        <dgm:presLayoutVars>
          <dgm:dir/>
          <dgm:resizeHandles val="exact"/>
        </dgm:presLayoutVars>
      </dgm:prSet>
      <dgm:spPr/>
    </dgm:pt>
    <dgm:pt modelId="{A4926F63-D2CD-434F-B90F-76C57660AF57}" type="pres">
      <dgm:prSet presAssocID="{21A9ED18-7E05-4AF4-8DB6-D11484F28746}" presName="parTxOnly" presStyleLbl="node1" presStyleIdx="0" presStyleCnt="5" custScaleY="59842">
        <dgm:presLayoutVars>
          <dgm:bulletEnabled val="1"/>
        </dgm:presLayoutVars>
      </dgm:prSet>
      <dgm:spPr/>
      <dgm:t>
        <a:bodyPr/>
        <a:lstStyle/>
        <a:p>
          <a:endParaRPr lang="en-US"/>
        </a:p>
      </dgm:t>
    </dgm:pt>
    <dgm:pt modelId="{DCE6AC21-9C9E-42BB-B9B5-5DE410E69420}" type="pres">
      <dgm:prSet presAssocID="{5A9D6CF9-4B37-4E4B-A898-D69A027AD6A8}" presName="parSpace" presStyleCnt="0"/>
      <dgm:spPr/>
    </dgm:pt>
    <dgm:pt modelId="{B82777D0-A990-4035-8EED-0F2DDF6C0C33}" type="pres">
      <dgm:prSet presAssocID="{F66429B7-F2A6-4EDF-BA1E-F8F7BFA9899D}" presName="parTxOnly" presStyleLbl="node1" presStyleIdx="1" presStyleCnt="5" custScaleY="59842">
        <dgm:presLayoutVars>
          <dgm:bulletEnabled val="1"/>
        </dgm:presLayoutVars>
      </dgm:prSet>
      <dgm:spPr/>
      <dgm:t>
        <a:bodyPr/>
        <a:lstStyle/>
        <a:p>
          <a:endParaRPr lang="en-US"/>
        </a:p>
      </dgm:t>
    </dgm:pt>
    <dgm:pt modelId="{E3301670-4D64-4B16-97C1-961D48C9E078}" type="pres">
      <dgm:prSet presAssocID="{A04AB669-0169-4770-8E02-11C4D0D2093C}" presName="parSpace" presStyleCnt="0"/>
      <dgm:spPr/>
    </dgm:pt>
    <dgm:pt modelId="{1F012BD6-E716-4D4B-A0E1-1ABD2D14D48D}" type="pres">
      <dgm:prSet presAssocID="{2ED16894-051D-4B7E-923D-AC3F1E3A2389}" presName="parTxOnly" presStyleLbl="node1" presStyleIdx="2" presStyleCnt="5">
        <dgm:presLayoutVars>
          <dgm:bulletEnabled val="1"/>
        </dgm:presLayoutVars>
      </dgm:prSet>
      <dgm:spPr/>
      <dgm:t>
        <a:bodyPr/>
        <a:lstStyle/>
        <a:p>
          <a:endParaRPr lang="en-US"/>
        </a:p>
      </dgm:t>
    </dgm:pt>
    <dgm:pt modelId="{4F21C863-DAEC-41A3-B5A0-6361F291AE75}" type="pres">
      <dgm:prSet presAssocID="{F79043B0-ACEE-4EDB-BDDE-EC23BCEE0D4C}" presName="parSpace" presStyleCnt="0"/>
      <dgm:spPr/>
    </dgm:pt>
    <dgm:pt modelId="{678C0F94-0CF7-48C0-BCE6-8694FF7871BA}" type="pres">
      <dgm:prSet presAssocID="{5B251949-10C6-4E88-80A4-B46821AA0622}" presName="parTxOnly" presStyleLbl="node1" presStyleIdx="3" presStyleCnt="5" custScaleY="59842" custLinFactNeighborX="498">
        <dgm:presLayoutVars>
          <dgm:bulletEnabled val="1"/>
        </dgm:presLayoutVars>
      </dgm:prSet>
      <dgm:spPr/>
      <dgm:t>
        <a:bodyPr/>
        <a:lstStyle/>
        <a:p>
          <a:endParaRPr lang="en-US"/>
        </a:p>
      </dgm:t>
    </dgm:pt>
    <dgm:pt modelId="{12C50269-1B20-430D-B1D6-F920A9394FCC}" type="pres">
      <dgm:prSet presAssocID="{BF8BA033-832E-411F-AB10-64C44F9ED267}" presName="parSpace" presStyleCnt="0"/>
      <dgm:spPr/>
    </dgm:pt>
    <dgm:pt modelId="{63A39315-0123-4F8A-B486-965893A667F9}" type="pres">
      <dgm:prSet presAssocID="{4F7B5E4B-6EFC-416C-817A-E8DA23AED9BB}" presName="parTxOnly" presStyleLbl="node1" presStyleIdx="4" presStyleCnt="5" custLinFactNeighborX="306">
        <dgm:presLayoutVars>
          <dgm:bulletEnabled val="1"/>
        </dgm:presLayoutVars>
      </dgm:prSet>
      <dgm:spPr/>
      <dgm:t>
        <a:bodyPr/>
        <a:lstStyle/>
        <a:p>
          <a:endParaRPr lang="en-US"/>
        </a:p>
      </dgm:t>
    </dgm:pt>
  </dgm:ptLst>
  <dgm:cxnLst>
    <dgm:cxn modelId="{E2ACDEBD-C114-45A3-9FC4-0DB45AE8DD24}" type="presOf" srcId="{5B251949-10C6-4E88-80A4-B46821AA0622}" destId="{678C0F94-0CF7-48C0-BCE6-8694FF7871BA}" srcOrd="0" destOrd="0" presId="urn:microsoft.com/office/officeart/2005/8/layout/hChevron3"/>
    <dgm:cxn modelId="{B4086BF8-CEF9-4FA4-8150-EAE2FDFAB89C}" type="presOf" srcId="{21A9ED18-7E05-4AF4-8DB6-D11484F28746}" destId="{A4926F63-D2CD-434F-B90F-76C57660AF57}" srcOrd="0" destOrd="0" presId="urn:microsoft.com/office/officeart/2005/8/layout/hChevron3"/>
    <dgm:cxn modelId="{4A7C2022-A1CE-43CC-9D0B-8618CF4B7E83}" srcId="{D9B07899-7257-4855-B2BA-560FC05355E0}" destId="{2ED16894-051D-4B7E-923D-AC3F1E3A2389}" srcOrd="2" destOrd="0" parTransId="{3B83BB90-403D-4B81-8ACA-1842FB453139}" sibTransId="{F79043B0-ACEE-4EDB-BDDE-EC23BCEE0D4C}"/>
    <dgm:cxn modelId="{A2B26311-AF1C-46C7-9E4E-59416CC00B89}" srcId="{D9B07899-7257-4855-B2BA-560FC05355E0}" destId="{5B251949-10C6-4E88-80A4-B46821AA0622}" srcOrd="3" destOrd="0" parTransId="{A2C6887E-CC23-41BD-8CDB-A30F4E6A803B}" sibTransId="{BF8BA033-832E-411F-AB10-64C44F9ED267}"/>
    <dgm:cxn modelId="{AAB22FF6-A6A8-45F0-9875-C31F17BD69A7}" type="presOf" srcId="{F66429B7-F2A6-4EDF-BA1E-F8F7BFA9899D}" destId="{B82777D0-A990-4035-8EED-0F2DDF6C0C33}" srcOrd="0" destOrd="0" presId="urn:microsoft.com/office/officeart/2005/8/layout/hChevron3"/>
    <dgm:cxn modelId="{5618B0ED-5149-403A-8F92-B6D8DF3925FD}" type="presOf" srcId="{D9B07899-7257-4855-B2BA-560FC05355E0}" destId="{D77D2F02-0183-44CE-BC94-401E961E146E}" srcOrd="0" destOrd="0" presId="urn:microsoft.com/office/officeart/2005/8/layout/hChevron3"/>
    <dgm:cxn modelId="{6BD21AE2-7D2B-497C-8A31-A4FBF2EC9F48}" type="presOf" srcId="{2ED16894-051D-4B7E-923D-AC3F1E3A2389}" destId="{1F012BD6-E716-4D4B-A0E1-1ABD2D14D48D}" srcOrd="0" destOrd="0" presId="urn:microsoft.com/office/officeart/2005/8/layout/hChevron3"/>
    <dgm:cxn modelId="{694AAC12-5EB0-449A-B5B0-B9017A97DF27}" type="presOf" srcId="{4F7B5E4B-6EFC-416C-817A-E8DA23AED9BB}" destId="{63A39315-0123-4F8A-B486-965893A667F9}" srcOrd="0" destOrd="0" presId="urn:microsoft.com/office/officeart/2005/8/layout/hChevron3"/>
    <dgm:cxn modelId="{5012ED59-E7DB-4E8A-88A4-4CE9F9E26808}" srcId="{D9B07899-7257-4855-B2BA-560FC05355E0}" destId="{F66429B7-F2A6-4EDF-BA1E-F8F7BFA9899D}" srcOrd="1" destOrd="0" parTransId="{6E9FE56B-92BA-4E61-9B3C-FE157DD4BDDD}" sibTransId="{A04AB669-0169-4770-8E02-11C4D0D2093C}"/>
    <dgm:cxn modelId="{164AE97D-17BA-45B8-8258-512FF5DA01E1}" srcId="{D9B07899-7257-4855-B2BA-560FC05355E0}" destId="{4F7B5E4B-6EFC-416C-817A-E8DA23AED9BB}" srcOrd="4" destOrd="0" parTransId="{B85995E0-AFE8-45B4-93AB-1DFBF3ADBDF3}" sibTransId="{CCC13AA0-C2A8-4988-B9B5-EC9DBDC22DF7}"/>
    <dgm:cxn modelId="{5288F222-6FF2-49BD-843A-2E61C1CB13DA}" srcId="{D9B07899-7257-4855-B2BA-560FC05355E0}" destId="{21A9ED18-7E05-4AF4-8DB6-D11484F28746}" srcOrd="0" destOrd="0" parTransId="{024CBD82-A016-416B-AFAE-FEDDFE8865F1}" sibTransId="{5A9D6CF9-4B37-4E4B-A898-D69A027AD6A8}"/>
    <dgm:cxn modelId="{21EA6B71-E6FD-4DF0-8182-437229168439}" type="presParOf" srcId="{D77D2F02-0183-44CE-BC94-401E961E146E}" destId="{A4926F63-D2CD-434F-B90F-76C57660AF57}" srcOrd="0" destOrd="0" presId="urn:microsoft.com/office/officeart/2005/8/layout/hChevron3"/>
    <dgm:cxn modelId="{913ED777-7005-49D6-B299-EA64244B3016}" type="presParOf" srcId="{D77D2F02-0183-44CE-BC94-401E961E146E}" destId="{DCE6AC21-9C9E-42BB-B9B5-5DE410E69420}" srcOrd="1" destOrd="0" presId="urn:microsoft.com/office/officeart/2005/8/layout/hChevron3"/>
    <dgm:cxn modelId="{9AA624B2-9758-431B-A5AB-BEBE2896C43D}" type="presParOf" srcId="{D77D2F02-0183-44CE-BC94-401E961E146E}" destId="{B82777D0-A990-4035-8EED-0F2DDF6C0C33}" srcOrd="2" destOrd="0" presId="urn:microsoft.com/office/officeart/2005/8/layout/hChevron3"/>
    <dgm:cxn modelId="{363C9721-4C08-4899-9103-076EB5C37D04}" type="presParOf" srcId="{D77D2F02-0183-44CE-BC94-401E961E146E}" destId="{E3301670-4D64-4B16-97C1-961D48C9E078}" srcOrd="3" destOrd="0" presId="urn:microsoft.com/office/officeart/2005/8/layout/hChevron3"/>
    <dgm:cxn modelId="{2CEAE81E-1E30-48CD-B1C8-65A354981B63}" type="presParOf" srcId="{D77D2F02-0183-44CE-BC94-401E961E146E}" destId="{1F012BD6-E716-4D4B-A0E1-1ABD2D14D48D}" srcOrd="4" destOrd="0" presId="urn:microsoft.com/office/officeart/2005/8/layout/hChevron3"/>
    <dgm:cxn modelId="{335818C1-8BF2-419A-8F8C-333387620264}" type="presParOf" srcId="{D77D2F02-0183-44CE-BC94-401E961E146E}" destId="{4F21C863-DAEC-41A3-B5A0-6361F291AE75}" srcOrd="5" destOrd="0" presId="urn:microsoft.com/office/officeart/2005/8/layout/hChevron3"/>
    <dgm:cxn modelId="{FFECF31E-6AD4-4615-BB93-7C1A0BA43E5E}" type="presParOf" srcId="{D77D2F02-0183-44CE-BC94-401E961E146E}" destId="{678C0F94-0CF7-48C0-BCE6-8694FF7871BA}" srcOrd="6" destOrd="0" presId="urn:microsoft.com/office/officeart/2005/8/layout/hChevron3"/>
    <dgm:cxn modelId="{0DE0AC6C-5C6E-4E39-B00F-7AAFEB478C61}" type="presParOf" srcId="{D77D2F02-0183-44CE-BC94-401E961E146E}" destId="{12C50269-1B20-430D-B1D6-F920A9394FCC}" srcOrd="7" destOrd="0" presId="urn:microsoft.com/office/officeart/2005/8/layout/hChevron3"/>
    <dgm:cxn modelId="{590C0E82-AB50-409F-9303-01A1B44022DD}" type="presParOf" srcId="{D77D2F02-0183-44CE-BC94-401E961E146E}" destId="{63A39315-0123-4F8A-B486-965893A667F9}" srcOrd="8" destOrd="0" presId="urn:microsoft.com/office/officeart/2005/8/layout/hChevron3"/>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926F63-D2CD-434F-B90F-76C57660AF57}">
      <dsp:nvSpPr>
        <dsp:cNvPr id="0" name=""/>
        <dsp:cNvSpPr/>
      </dsp:nvSpPr>
      <dsp:spPr>
        <a:xfrm>
          <a:off x="705" y="0"/>
          <a:ext cx="1375410" cy="200530"/>
        </a:xfrm>
        <a:prstGeom prst="homePlate">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lvl="0" algn="l" defTabSz="400050">
            <a:lnSpc>
              <a:spcPct val="90000"/>
            </a:lnSpc>
            <a:spcBef>
              <a:spcPct val="0"/>
            </a:spcBef>
            <a:spcAft>
              <a:spcPct val="35000"/>
            </a:spcAft>
            <a:buClr>
              <a:srgbClr val="000000"/>
            </a:buClr>
            <a:buSzTx/>
            <a:buFontTx/>
            <a:buNone/>
          </a:pPr>
          <a:r>
            <a:rPr lang="en-US" sz="900" b="1" kern="1200" dirty="0">
              <a:solidFill>
                <a:srgbClr val="002060"/>
              </a:solidFill>
              <a:latin typeface="Calibri"/>
              <a:ea typeface="+mn-ea"/>
              <a:cs typeface="+mn-cs"/>
            </a:rPr>
            <a:t>Resilience History in LA</a:t>
          </a:r>
        </a:p>
      </dsp:txBody>
      <dsp:txXfrm>
        <a:off x="705" y="0"/>
        <a:ext cx="1325278" cy="200530"/>
      </dsp:txXfrm>
    </dsp:sp>
    <dsp:sp modelId="{B82777D0-A990-4035-8EED-0F2DDF6C0C33}">
      <dsp:nvSpPr>
        <dsp:cNvPr id="0" name=""/>
        <dsp:cNvSpPr/>
      </dsp:nvSpPr>
      <dsp:spPr>
        <a:xfrm>
          <a:off x="1101033" y="0"/>
          <a:ext cx="1375410" cy="200530"/>
        </a:xfrm>
        <a:prstGeom prst="chevron">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lvl="0" algn="l" defTabSz="400050">
            <a:lnSpc>
              <a:spcPct val="90000"/>
            </a:lnSpc>
            <a:spcBef>
              <a:spcPct val="0"/>
            </a:spcBef>
            <a:spcAft>
              <a:spcPct val="35000"/>
            </a:spcAft>
            <a:buClr>
              <a:srgbClr val="000000"/>
            </a:buClr>
            <a:buSzTx/>
            <a:buFontTx/>
            <a:buNone/>
          </a:pPr>
          <a:r>
            <a:rPr lang="en-US" sz="900" b="0" kern="1200">
              <a:solidFill>
                <a:prstClr val="white"/>
              </a:solidFill>
              <a:latin typeface="Calibri"/>
              <a:ea typeface="+mn-ea"/>
              <a:cs typeface="+mn-cs"/>
            </a:rPr>
            <a:t>Defining Resilience</a:t>
          </a:r>
        </a:p>
      </dsp:txBody>
      <dsp:txXfrm>
        <a:off x="1201298" y="0"/>
        <a:ext cx="1174880" cy="200530"/>
      </dsp:txXfrm>
    </dsp:sp>
    <dsp:sp modelId="{1F012BD6-E716-4D4B-A0E1-1ABD2D14D48D}">
      <dsp:nvSpPr>
        <dsp:cNvPr id="0" name=""/>
        <dsp:cNvSpPr/>
      </dsp:nvSpPr>
      <dsp:spPr>
        <a:xfrm>
          <a:off x="2201362" y="0"/>
          <a:ext cx="1375410" cy="200530"/>
        </a:xfrm>
        <a:prstGeom prst="chevron">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lvl="0" algn="l" defTabSz="400050">
            <a:lnSpc>
              <a:spcPct val="90000"/>
            </a:lnSpc>
            <a:spcBef>
              <a:spcPct val="0"/>
            </a:spcBef>
            <a:spcAft>
              <a:spcPct val="35000"/>
            </a:spcAft>
            <a:buClr>
              <a:srgbClr val="000000"/>
            </a:buClr>
            <a:buSzTx/>
            <a:buFontTx/>
            <a:buNone/>
          </a:pPr>
          <a:r>
            <a:rPr lang="en-US" sz="900" b="0" kern="1200">
              <a:solidFill>
                <a:schemeClr val="bg1"/>
              </a:solidFill>
              <a:latin typeface="Calibri"/>
              <a:ea typeface="+mn-ea"/>
              <a:cs typeface="+mn-cs"/>
            </a:rPr>
            <a:t>Resilient Priorities</a:t>
          </a:r>
        </a:p>
      </dsp:txBody>
      <dsp:txXfrm>
        <a:off x="2301627" y="0"/>
        <a:ext cx="1174880" cy="200530"/>
      </dsp:txXfrm>
    </dsp:sp>
    <dsp:sp modelId="{678C0F94-0CF7-48C0-BCE6-8694FF7871BA}">
      <dsp:nvSpPr>
        <dsp:cNvPr id="0" name=""/>
        <dsp:cNvSpPr/>
      </dsp:nvSpPr>
      <dsp:spPr>
        <a:xfrm>
          <a:off x="3303061" y="0"/>
          <a:ext cx="1375410" cy="200530"/>
        </a:xfrm>
        <a:prstGeom prst="chevron">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lvl="0" algn="l" defTabSz="400050">
            <a:lnSpc>
              <a:spcPct val="90000"/>
            </a:lnSpc>
            <a:spcBef>
              <a:spcPct val="0"/>
            </a:spcBef>
            <a:spcAft>
              <a:spcPct val="35000"/>
            </a:spcAft>
          </a:pPr>
          <a:r>
            <a:rPr lang="en-US" sz="900" b="0" kern="1200" noProof="0" dirty="0">
              <a:solidFill>
                <a:schemeClr val="bg1"/>
              </a:solidFill>
              <a:latin typeface="Calibri"/>
              <a:ea typeface="+mn-ea"/>
              <a:cs typeface="+mn-cs"/>
            </a:rPr>
            <a:t>2024 Plans</a:t>
          </a:r>
        </a:p>
      </dsp:txBody>
      <dsp:txXfrm>
        <a:off x="3403326" y="0"/>
        <a:ext cx="1174880" cy="200530"/>
      </dsp:txXfrm>
    </dsp:sp>
    <dsp:sp modelId="{63A39315-0123-4F8A-B486-965893A667F9}">
      <dsp:nvSpPr>
        <dsp:cNvPr id="0" name=""/>
        <dsp:cNvSpPr/>
      </dsp:nvSpPr>
      <dsp:spPr>
        <a:xfrm>
          <a:off x="4402725" y="0"/>
          <a:ext cx="1375410" cy="200530"/>
        </a:xfrm>
        <a:prstGeom prst="chevron">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lvl="0" algn="l" defTabSz="400050">
            <a:lnSpc>
              <a:spcPct val="90000"/>
            </a:lnSpc>
            <a:spcBef>
              <a:spcPct val="0"/>
            </a:spcBef>
            <a:spcAft>
              <a:spcPct val="35000"/>
            </a:spcAft>
            <a:buClr>
              <a:srgbClr val="000000"/>
            </a:buClr>
            <a:buSzTx/>
            <a:buFontTx/>
            <a:buNone/>
          </a:pPr>
          <a:r>
            <a:rPr kumimoji="0" lang="en-US" sz="900" b="0" i="0" u="none" strike="noStrike" kern="1200" cap="none" spc="0" normalizeH="0" baseline="0" noProof="0">
              <a:ln/>
              <a:effectLst/>
              <a:uLnTx/>
              <a:uFillTx/>
              <a:latin typeface="+mn-lt"/>
              <a:ea typeface="Open Sans" panose="020B0606030504020204" pitchFamily="34" charset="0"/>
              <a:cs typeface="Open Sans" panose="020B0606030504020204" pitchFamily="34" charset="0"/>
            </a:rPr>
            <a:t>Supporting Resilience</a:t>
          </a:r>
        </a:p>
      </dsp:txBody>
      <dsp:txXfrm>
        <a:off x="4502990" y="0"/>
        <a:ext cx="1174880" cy="2005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926F63-D2CD-434F-B90F-76C57660AF57}">
      <dsp:nvSpPr>
        <dsp:cNvPr id="0" name=""/>
        <dsp:cNvSpPr/>
      </dsp:nvSpPr>
      <dsp:spPr>
        <a:xfrm>
          <a:off x="705" y="0"/>
          <a:ext cx="1375410" cy="200530"/>
        </a:xfrm>
        <a:prstGeom prst="homePlate">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24003" rIns="12002" bIns="24003" numCol="1" spcCol="1270" anchor="ctr" anchorCtr="0">
          <a:noAutofit/>
        </a:bodyPr>
        <a:lstStyle/>
        <a:p>
          <a:pPr lvl="0" algn="l" defTabSz="400050">
            <a:lnSpc>
              <a:spcPct val="90000"/>
            </a:lnSpc>
            <a:spcBef>
              <a:spcPct val="0"/>
            </a:spcBef>
            <a:spcAft>
              <a:spcPct val="35000"/>
            </a:spcAft>
            <a:buClr>
              <a:srgbClr val="000000"/>
            </a:buClr>
            <a:buSzTx/>
            <a:buFontTx/>
            <a:buNone/>
          </a:pPr>
          <a:r>
            <a:rPr lang="en-US" sz="900" b="0" kern="1200" dirty="0">
              <a:solidFill>
                <a:schemeClr val="bg1"/>
              </a:solidFill>
              <a:latin typeface="Calibri"/>
              <a:ea typeface="+mn-ea"/>
              <a:cs typeface="+mn-cs"/>
            </a:rPr>
            <a:t>Resilience History in LA</a:t>
          </a:r>
        </a:p>
      </dsp:txBody>
      <dsp:txXfrm>
        <a:off x="705" y="0"/>
        <a:ext cx="1325278" cy="200530"/>
      </dsp:txXfrm>
    </dsp:sp>
    <dsp:sp modelId="{B82777D0-A990-4035-8EED-0F2DDF6C0C33}">
      <dsp:nvSpPr>
        <dsp:cNvPr id="0" name=""/>
        <dsp:cNvSpPr/>
      </dsp:nvSpPr>
      <dsp:spPr>
        <a:xfrm>
          <a:off x="1101033" y="0"/>
          <a:ext cx="1375410" cy="200530"/>
        </a:xfrm>
        <a:prstGeom prst="chevron">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lvl="0" algn="l" defTabSz="400050">
            <a:lnSpc>
              <a:spcPct val="90000"/>
            </a:lnSpc>
            <a:spcBef>
              <a:spcPct val="0"/>
            </a:spcBef>
            <a:spcAft>
              <a:spcPct val="35000"/>
            </a:spcAft>
            <a:buClr>
              <a:srgbClr val="000000"/>
            </a:buClr>
            <a:buSzTx/>
            <a:buFontTx/>
            <a:buNone/>
          </a:pPr>
          <a:r>
            <a:rPr lang="en-US" sz="900" b="0" kern="1200">
              <a:solidFill>
                <a:schemeClr val="bg1"/>
              </a:solidFill>
              <a:latin typeface="Calibri"/>
              <a:ea typeface="+mn-ea"/>
              <a:cs typeface="+mn-cs"/>
            </a:rPr>
            <a:t>Defining Resilience</a:t>
          </a:r>
        </a:p>
      </dsp:txBody>
      <dsp:txXfrm>
        <a:off x="1201298" y="0"/>
        <a:ext cx="1174880" cy="200530"/>
      </dsp:txXfrm>
    </dsp:sp>
    <dsp:sp modelId="{1F012BD6-E716-4D4B-A0E1-1ABD2D14D48D}">
      <dsp:nvSpPr>
        <dsp:cNvPr id="0" name=""/>
        <dsp:cNvSpPr/>
      </dsp:nvSpPr>
      <dsp:spPr>
        <a:xfrm>
          <a:off x="2201362" y="0"/>
          <a:ext cx="1375410" cy="200530"/>
        </a:xfrm>
        <a:prstGeom prst="chevron">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lvl="0" algn="l" defTabSz="400050">
            <a:lnSpc>
              <a:spcPct val="90000"/>
            </a:lnSpc>
            <a:spcBef>
              <a:spcPct val="0"/>
            </a:spcBef>
            <a:spcAft>
              <a:spcPct val="35000"/>
            </a:spcAft>
            <a:buClr>
              <a:srgbClr val="000000"/>
            </a:buClr>
            <a:buSzTx/>
            <a:buFontTx/>
            <a:buNone/>
          </a:pPr>
          <a:r>
            <a:rPr lang="en-US" sz="900" b="0" kern="1200">
              <a:solidFill>
                <a:schemeClr val="bg1"/>
              </a:solidFill>
              <a:latin typeface="Calibri"/>
              <a:ea typeface="+mn-ea"/>
              <a:cs typeface="+mn-cs"/>
            </a:rPr>
            <a:t>Resilient Priorities</a:t>
          </a:r>
        </a:p>
      </dsp:txBody>
      <dsp:txXfrm>
        <a:off x="2301627" y="0"/>
        <a:ext cx="1174880" cy="200530"/>
      </dsp:txXfrm>
    </dsp:sp>
    <dsp:sp modelId="{678C0F94-0CF7-48C0-BCE6-8694FF7871BA}">
      <dsp:nvSpPr>
        <dsp:cNvPr id="0" name=""/>
        <dsp:cNvSpPr/>
      </dsp:nvSpPr>
      <dsp:spPr>
        <a:xfrm>
          <a:off x="3303061" y="0"/>
          <a:ext cx="1375410" cy="200530"/>
        </a:xfrm>
        <a:prstGeom prst="chevron">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lvl="0" algn="l" defTabSz="400050">
            <a:lnSpc>
              <a:spcPct val="90000"/>
            </a:lnSpc>
            <a:spcBef>
              <a:spcPct val="0"/>
            </a:spcBef>
            <a:spcAft>
              <a:spcPct val="35000"/>
            </a:spcAft>
          </a:pPr>
          <a:r>
            <a:rPr lang="en-US" sz="900" b="1" kern="1200" noProof="0" dirty="0">
              <a:solidFill>
                <a:srgbClr val="002060"/>
              </a:solidFill>
              <a:latin typeface="Calibri"/>
              <a:ea typeface="+mn-ea"/>
              <a:cs typeface="+mn-cs"/>
            </a:rPr>
            <a:t>2024 Plans</a:t>
          </a:r>
        </a:p>
      </dsp:txBody>
      <dsp:txXfrm>
        <a:off x="3403326" y="0"/>
        <a:ext cx="1174880" cy="200530"/>
      </dsp:txXfrm>
    </dsp:sp>
    <dsp:sp modelId="{63A39315-0123-4F8A-B486-965893A667F9}">
      <dsp:nvSpPr>
        <dsp:cNvPr id="0" name=""/>
        <dsp:cNvSpPr/>
      </dsp:nvSpPr>
      <dsp:spPr>
        <a:xfrm>
          <a:off x="4402725" y="0"/>
          <a:ext cx="1375410" cy="200530"/>
        </a:xfrm>
        <a:prstGeom prst="chevron">
          <a:avLst/>
        </a:prstGeom>
        <a:solidFill>
          <a:schemeClr val="accent6"/>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lvl="0" algn="l" defTabSz="400050">
            <a:lnSpc>
              <a:spcPct val="90000"/>
            </a:lnSpc>
            <a:spcBef>
              <a:spcPct val="0"/>
            </a:spcBef>
            <a:spcAft>
              <a:spcPct val="35000"/>
            </a:spcAft>
            <a:buClr>
              <a:srgbClr val="000000"/>
            </a:buClr>
            <a:buSzTx/>
            <a:buFontTx/>
            <a:buNone/>
          </a:pPr>
          <a:r>
            <a:rPr kumimoji="0" lang="en-US" sz="900" b="0" i="0" u="none" strike="noStrike" kern="1200" cap="none" spc="0" normalizeH="0" baseline="0" noProof="0">
              <a:ln/>
              <a:effectLst/>
              <a:uLnTx/>
              <a:uFillTx/>
              <a:latin typeface="+mn-lt"/>
              <a:ea typeface="Open Sans" panose="020B0606030504020204" pitchFamily="34" charset="0"/>
              <a:cs typeface="Open Sans" panose="020B0606030504020204" pitchFamily="34" charset="0"/>
            </a:rPr>
            <a:t>Supporting Resilience</a:t>
          </a:r>
        </a:p>
      </dsp:txBody>
      <dsp:txXfrm>
        <a:off x="4502990" y="0"/>
        <a:ext cx="1174880" cy="200530"/>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F42A59-440A-4A40-B81A-12FA59C99D89}" type="datetimeFigureOut">
              <a:rPr lang="en-US" smtClean="0"/>
              <a:t>7/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852886-73B7-427B-9AAA-D1BB84480443}" type="slidenum">
              <a:rPr lang="en-US" smtClean="0"/>
              <a:t>‹#›</a:t>
            </a:fld>
            <a:endParaRPr lang="en-US"/>
          </a:p>
        </p:txBody>
      </p:sp>
    </p:spTree>
    <p:extLst>
      <p:ext uri="{BB962C8B-B14F-4D97-AF65-F5344CB8AC3E}">
        <p14:creationId xmlns:p14="http://schemas.microsoft.com/office/powerpoint/2010/main" val="6263173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i="0">
              <a:latin typeface="Open Sans"/>
              <a:ea typeface="Open Sans"/>
              <a:cs typeface="Open Sans"/>
            </a:endParaRPr>
          </a:p>
        </p:txBody>
      </p:sp>
      <p:sp>
        <p:nvSpPr>
          <p:cNvPr id="4" name="Slide Number Placeholder 3"/>
          <p:cNvSpPr>
            <a:spLocks noGrp="1"/>
          </p:cNvSpPr>
          <p:nvPr>
            <p:ph type="sldNum" sz="quarter" idx="10"/>
          </p:nvPr>
        </p:nvSpPr>
        <p:spPr/>
        <p:txBody>
          <a:bodyPr/>
          <a:lstStyle/>
          <a:p>
            <a:fld id="{D759AF6D-BA0E-4594-94DB-478664329D2A}" type="slidenum">
              <a:rPr lang="en-US" smtClean="0"/>
              <a:t>2</a:t>
            </a:fld>
            <a:endParaRPr lang="en-US"/>
          </a:p>
        </p:txBody>
      </p:sp>
    </p:spTree>
    <p:extLst>
      <p:ext uri="{BB962C8B-B14F-4D97-AF65-F5344CB8AC3E}">
        <p14:creationId xmlns:p14="http://schemas.microsoft.com/office/powerpoint/2010/main" val="3251819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1030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83174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54663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68592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97692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040598-308D-4C2E-B45E-2130AC870438}" type="slidenum">
              <a:rPr lang="en-US" smtClean="0"/>
              <a:t>16</a:t>
            </a:fld>
            <a:endParaRPr lang="en-US"/>
          </a:p>
        </p:txBody>
      </p:sp>
    </p:spTree>
    <p:extLst>
      <p:ext uri="{BB962C8B-B14F-4D97-AF65-F5344CB8AC3E}">
        <p14:creationId xmlns:p14="http://schemas.microsoft.com/office/powerpoint/2010/main" val="18976123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97418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377900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25202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3234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040598-308D-4C2E-B45E-2130AC870438}" type="slidenum">
              <a:rPr lang="en-US" smtClean="0"/>
              <a:t>3</a:t>
            </a:fld>
            <a:endParaRPr lang="en-US"/>
          </a:p>
        </p:txBody>
      </p:sp>
    </p:spTree>
    <p:extLst>
      <p:ext uri="{BB962C8B-B14F-4D97-AF65-F5344CB8AC3E}">
        <p14:creationId xmlns:p14="http://schemas.microsoft.com/office/powerpoint/2010/main" val="40501517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13129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933570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185516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156079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038156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005778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040598-308D-4C2E-B45E-2130AC870438}" type="slidenum">
              <a:rPr lang="en-US" smtClean="0"/>
              <a:t>28</a:t>
            </a:fld>
            <a:endParaRPr lang="en-US"/>
          </a:p>
        </p:txBody>
      </p:sp>
    </p:spTree>
    <p:extLst>
      <p:ext uri="{BB962C8B-B14F-4D97-AF65-F5344CB8AC3E}">
        <p14:creationId xmlns:p14="http://schemas.microsoft.com/office/powerpoint/2010/main" val="40542705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59608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01720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040598-308D-4C2E-B45E-2130AC870438}" type="slidenum">
              <a:rPr lang="en-US" smtClean="0"/>
              <a:t>5</a:t>
            </a:fld>
            <a:endParaRPr lang="en-US"/>
          </a:p>
        </p:txBody>
      </p:sp>
    </p:spTree>
    <p:extLst>
      <p:ext uri="{BB962C8B-B14F-4D97-AF65-F5344CB8AC3E}">
        <p14:creationId xmlns:p14="http://schemas.microsoft.com/office/powerpoint/2010/main" val="3929528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040598-308D-4C2E-B45E-2130AC870438}" type="slidenum">
              <a:rPr lang="en-US" smtClean="0"/>
              <a:t>6</a:t>
            </a:fld>
            <a:endParaRPr lang="en-US"/>
          </a:p>
        </p:txBody>
      </p:sp>
    </p:spTree>
    <p:extLst>
      <p:ext uri="{BB962C8B-B14F-4D97-AF65-F5344CB8AC3E}">
        <p14:creationId xmlns:p14="http://schemas.microsoft.com/office/powerpoint/2010/main" val="31059411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23719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8466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24071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019230" rtl="0" eaLnBrk="1" fontAlgn="auto" latinLnBrk="0" hangingPunct="1">
              <a:lnSpc>
                <a:spcPct val="100000"/>
              </a:lnSpc>
              <a:spcBef>
                <a:spcPts val="0"/>
              </a:spcBef>
              <a:spcAft>
                <a:spcPts val="0"/>
              </a:spcAft>
              <a:buClrTx/>
              <a:buSzTx/>
              <a:buFontTx/>
              <a:buNone/>
              <a:tabLst/>
              <a:defRPr/>
            </a:pPr>
            <a:fld id="{32725A41-B156-49FC-A9F9-6EBF95A553C9}" type="slidenum">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01923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5950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E3853-2FFF-88C7-1EC4-F9B9251F194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B4C90F9-4DEC-CC2F-DC59-FA985EF6B9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C59264E-B5D7-57C1-D7D3-CE831973F6A0}"/>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5" name="Footer Placeholder 4">
            <a:extLst>
              <a:ext uri="{FF2B5EF4-FFF2-40B4-BE49-F238E27FC236}">
                <a16:creationId xmlns:a16="http://schemas.microsoft.com/office/drawing/2014/main" id="{00201C7F-9F89-E714-361D-7711118F45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5CAF69-58BC-882B-94B1-4A4CC758A259}"/>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2419087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E2438-E6E8-4F93-B07D-695FC836099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BCAFBD3-B866-68ED-E774-5162E9F2EE4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9C69ED-0A07-E8C9-9727-8433B42469C3}"/>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5" name="Footer Placeholder 4">
            <a:extLst>
              <a:ext uri="{FF2B5EF4-FFF2-40B4-BE49-F238E27FC236}">
                <a16:creationId xmlns:a16="http://schemas.microsoft.com/office/drawing/2014/main" id="{05FD8B96-2CCF-8D37-D52D-BBED1BFBBD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D0A926-2070-CBC3-DCED-9355F27ADA2E}"/>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28832239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383524D-0E34-F7F6-5153-CE1EF855EA7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A47D689-FC20-0246-F5BA-AD15565EA24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EF16D6-9A8C-2C1E-FA72-9B3D26DBBB33}"/>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5" name="Footer Placeholder 4">
            <a:extLst>
              <a:ext uri="{FF2B5EF4-FFF2-40B4-BE49-F238E27FC236}">
                <a16:creationId xmlns:a16="http://schemas.microsoft.com/office/drawing/2014/main" id="{8D93C971-88F2-9360-874C-FFC81F9722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E88BAC-8197-19BB-FD71-C5DCC5CDDF34}"/>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7797890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652530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85042598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able of contents 2">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ADF2FEE-6015-FB9B-40EC-DFDBB1DA263E}"/>
              </a:ext>
            </a:extLst>
          </p:cNvPr>
          <p:cNvSpPr>
            <a:spLocks noGrp="1"/>
          </p:cNvSpPr>
          <p:nvPr>
            <p:ph type="title"/>
          </p:nvPr>
        </p:nvSpPr>
        <p:spPr>
          <a:xfrm>
            <a:off x="466637" y="1076145"/>
            <a:ext cx="9337764" cy="609398"/>
          </a:xfrm>
        </p:spPr>
        <p:txBody>
          <a:bodyPr/>
          <a:lstStyle>
            <a:lvl1pPr>
              <a:defRPr lang="en-US" sz="3000" b="0" kern="1200" dirty="0">
                <a:solidFill>
                  <a:schemeClr val="tx1"/>
                </a:solidFill>
                <a:uFill>
                  <a:solidFill>
                    <a:schemeClr val="bg1">
                      <a:lumMod val="85000"/>
                    </a:schemeClr>
                  </a:solidFill>
                </a:u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a:solidFill>
                <a:srgbClr val="005587"/>
              </a:solidFill>
            </a:endParaRPr>
          </a:p>
        </p:txBody>
      </p:sp>
    </p:spTree>
    <p:extLst>
      <p:ext uri="{BB962C8B-B14F-4D97-AF65-F5344CB8AC3E}">
        <p14:creationId xmlns:p14="http://schemas.microsoft.com/office/powerpoint/2010/main" val="452102063"/>
      </p:ext>
    </p:extLst>
  </p:cSld>
  <p:clrMapOvr>
    <a:masterClrMapping/>
  </p:clrMapOvr>
  <p:transition>
    <p:fade/>
  </p:transition>
  <p:extLst>
    <p:ext uri="{DCECCB84-F9BA-43D5-87BE-67443E8EF086}">
      <p15:sldGuideLst xmlns:p15="http://schemas.microsoft.com/office/powerpoint/2012/main">
        <p15:guide id="1" orient="horz" pos="73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able of contents 2">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DADF2FEE-6015-FB9B-40EC-DFDBB1DA263E}"/>
              </a:ext>
            </a:extLst>
          </p:cNvPr>
          <p:cNvSpPr>
            <a:spLocks noGrp="1"/>
          </p:cNvSpPr>
          <p:nvPr>
            <p:ph type="title"/>
          </p:nvPr>
        </p:nvSpPr>
        <p:spPr>
          <a:xfrm>
            <a:off x="466637" y="1076145"/>
            <a:ext cx="9337764" cy="609398"/>
          </a:xfrm>
        </p:spPr>
        <p:txBody>
          <a:bodyPr/>
          <a:lstStyle>
            <a:lvl1pPr>
              <a:defRPr lang="en-US" sz="3000" b="0" kern="1200" dirty="0">
                <a:solidFill>
                  <a:schemeClr val="tx1"/>
                </a:solidFill>
                <a:uFill>
                  <a:solidFill>
                    <a:schemeClr val="bg1">
                      <a:lumMod val="85000"/>
                    </a:schemeClr>
                  </a:solidFill>
                </a:uFill>
                <a:latin typeface="Open Sans Light" panose="020B0306030504020204" pitchFamily="34" charset="0"/>
                <a:ea typeface="Open Sans Light" panose="020B0306030504020204" pitchFamily="34" charset="0"/>
                <a:cs typeface="Open Sans Light" panose="020B0306030504020204" pitchFamily="34" charset="0"/>
              </a:defRPr>
            </a:lvl1pPr>
          </a:lstStyle>
          <a:p>
            <a:endParaRPr lang="en-US">
              <a:solidFill>
                <a:srgbClr val="005587"/>
              </a:solidFill>
            </a:endParaRPr>
          </a:p>
        </p:txBody>
      </p:sp>
    </p:spTree>
    <p:extLst>
      <p:ext uri="{BB962C8B-B14F-4D97-AF65-F5344CB8AC3E}">
        <p14:creationId xmlns:p14="http://schemas.microsoft.com/office/powerpoint/2010/main" val="4147695029"/>
      </p:ext>
    </p:extLst>
  </p:cSld>
  <p:clrMapOvr>
    <a:masterClrMapping/>
  </p:clrMapOvr>
  <p:extLst>
    <p:ext uri="{DCECCB84-F9BA-43D5-87BE-67443E8EF086}">
      <p15:sldGuideLst xmlns:p15="http://schemas.microsoft.com/office/powerpoint/2012/main">
        <p15:guide id="1" orient="horz" pos="73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313EA93-9EBA-405E-5918-A5F2FBC2AE53}"/>
              </a:ext>
            </a:extLst>
          </p:cNvPr>
          <p:cNvSpPr/>
          <p:nvPr userDrawn="1"/>
        </p:nvSpPr>
        <p:spPr bwMode="gray">
          <a:xfrm>
            <a:off x="9591675" y="4"/>
            <a:ext cx="2600325" cy="1868511"/>
          </a:xfrm>
          <a:custGeom>
            <a:avLst/>
            <a:gdLst>
              <a:gd name="connsiteX0" fmla="*/ 85171 w 2600325"/>
              <a:gd name="connsiteY0" fmla="*/ 0 h 1868511"/>
              <a:gd name="connsiteX1" fmla="*/ 629485 w 2600325"/>
              <a:gd name="connsiteY1" fmla="*/ 0 h 1868511"/>
              <a:gd name="connsiteX2" fmla="*/ 601132 w 2600325"/>
              <a:gd name="connsiteY2" fmla="*/ 46671 h 1868511"/>
              <a:gd name="connsiteX3" fmla="*/ 492476 w 2600325"/>
              <a:gd name="connsiteY3" fmla="*/ 475783 h 1868511"/>
              <a:gd name="connsiteX4" fmla="*/ 1392727 w 2600325"/>
              <a:gd name="connsiteY4" fmla="*/ 1376034 h 1868511"/>
              <a:gd name="connsiteX5" fmla="*/ 2292978 w 2600325"/>
              <a:gd name="connsiteY5" fmla="*/ 475783 h 1868511"/>
              <a:gd name="connsiteX6" fmla="*/ 2184323 w 2600325"/>
              <a:gd name="connsiteY6" fmla="*/ 46671 h 1868511"/>
              <a:gd name="connsiteX7" fmla="*/ 2155970 w 2600325"/>
              <a:gd name="connsiteY7" fmla="*/ 0 h 1868511"/>
              <a:gd name="connsiteX8" fmla="*/ 2600325 w 2600325"/>
              <a:gd name="connsiteY8" fmla="*/ 0 h 1868511"/>
              <a:gd name="connsiteX9" fmla="*/ 2600325 w 2600325"/>
              <a:gd name="connsiteY9" fmla="*/ 1167681 h 1868511"/>
              <a:gd name="connsiteX10" fmla="*/ 2547599 w 2600325"/>
              <a:gd name="connsiteY10" fmla="*/ 1254471 h 1868511"/>
              <a:gd name="connsiteX11" fmla="*/ 1392727 w 2600325"/>
              <a:gd name="connsiteY11" fmla="*/ 1868511 h 1868511"/>
              <a:gd name="connsiteX12" fmla="*/ 0 w 2600325"/>
              <a:gd name="connsiteY12" fmla="*/ 475784 h 1868511"/>
              <a:gd name="connsiteX13" fmla="*/ 62614 w 2600325"/>
              <a:gd name="connsiteY13" fmla="*/ 61629 h 186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0325" h="1868511">
                <a:moveTo>
                  <a:pt x="85171" y="0"/>
                </a:moveTo>
                <a:lnTo>
                  <a:pt x="629485" y="0"/>
                </a:lnTo>
                <a:lnTo>
                  <a:pt x="601132" y="46671"/>
                </a:lnTo>
                <a:cubicBezTo>
                  <a:pt x="531838" y="174230"/>
                  <a:pt x="492476" y="320410"/>
                  <a:pt x="492476" y="475783"/>
                </a:cubicBezTo>
                <a:cubicBezTo>
                  <a:pt x="492476" y="972978"/>
                  <a:pt x="895533" y="1376034"/>
                  <a:pt x="1392727" y="1376034"/>
                </a:cubicBezTo>
                <a:cubicBezTo>
                  <a:pt x="1889922" y="1376034"/>
                  <a:pt x="2292978" y="972978"/>
                  <a:pt x="2292978" y="475783"/>
                </a:cubicBezTo>
                <a:cubicBezTo>
                  <a:pt x="2292978" y="320410"/>
                  <a:pt x="2253617" y="174230"/>
                  <a:pt x="2184323" y="46671"/>
                </a:cubicBezTo>
                <a:lnTo>
                  <a:pt x="2155970" y="0"/>
                </a:lnTo>
                <a:lnTo>
                  <a:pt x="2600325" y="0"/>
                </a:lnTo>
                <a:lnTo>
                  <a:pt x="2600325" y="1167681"/>
                </a:lnTo>
                <a:lnTo>
                  <a:pt x="2547599" y="1254471"/>
                </a:lnTo>
                <a:cubicBezTo>
                  <a:pt x="2297316" y="1624939"/>
                  <a:pt x="1873466" y="1868511"/>
                  <a:pt x="1392727" y="1868511"/>
                </a:cubicBezTo>
                <a:cubicBezTo>
                  <a:pt x="623545" y="1868511"/>
                  <a:pt x="0" y="1244966"/>
                  <a:pt x="0" y="475784"/>
                </a:cubicBezTo>
                <a:cubicBezTo>
                  <a:pt x="0" y="331562"/>
                  <a:pt x="21921" y="192460"/>
                  <a:pt x="62614" y="61629"/>
                </a:cubicBezTo>
                <a:close/>
              </a:path>
            </a:pathLst>
          </a:custGeom>
          <a:gradFill>
            <a:gsLst>
              <a:gs pos="0">
                <a:srgbClr val="62B5E5">
                  <a:alpha val="20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9" name="Freeform: Shape 8">
            <a:extLst>
              <a:ext uri="{FF2B5EF4-FFF2-40B4-BE49-F238E27FC236}">
                <a16:creationId xmlns:a16="http://schemas.microsoft.com/office/drawing/2014/main" id="{829E63F1-0553-B1A6-6A6D-3A53E0D554D7}"/>
              </a:ext>
            </a:extLst>
          </p:cNvPr>
          <p:cNvSpPr/>
          <p:nvPr userDrawn="1"/>
        </p:nvSpPr>
        <p:spPr bwMode="gray">
          <a:xfrm>
            <a:off x="11050894" y="658646"/>
            <a:ext cx="1141109" cy="1375923"/>
          </a:xfrm>
          <a:custGeom>
            <a:avLst/>
            <a:gdLst>
              <a:gd name="connsiteX0" fmla="*/ 1848733 w 3066457"/>
              <a:gd name="connsiteY0" fmla="*/ 973565 h 3697466"/>
              <a:gd name="connsiteX1" fmla="*/ 973564 w 3066457"/>
              <a:gd name="connsiteY1" fmla="*/ 1848733 h 3697466"/>
              <a:gd name="connsiteX2" fmla="*/ 1848733 w 3066457"/>
              <a:gd name="connsiteY2" fmla="*/ 2723902 h 3697466"/>
              <a:gd name="connsiteX3" fmla="*/ 2723902 w 3066457"/>
              <a:gd name="connsiteY3" fmla="*/ 1848733 h 3697466"/>
              <a:gd name="connsiteX4" fmla="*/ 1848733 w 3066457"/>
              <a:gd name="connsiteY4" fmla="*/ 973565 h 3697466"/>
              <a:gd name="connsiteX5" fmla="*/ 1848733 w 3066457"/>
              <a:gd name="connsiteY5" fmla="*/ 0 h 3697466"/>
              <a:gd name="connsiteX6" fmla="*/ 3024699 w 3066457"/>
              <a:gd name="connsiteY6" fmla="*/ 422161 h 3697466"/>
              <a:gd name="connsiteX7" fmla="*/ 3066457 w 3066457"/>
              <a:gd name="connsiteY7" fmla="*/ 460113 h 3697466"/>
              <a:gd name="connsiteX8" fmla="*/ 3066457 w 3066457"/>
              <a:gd name="connsiteY8" fmla="*/ 3237353 h 3697466"/>
              <a:gd name="connsiteX9" fmla="*/ 3024699 w 3066457"/>
              <a:gd name="connsiteY9" fmla="*/ 3275305 h 3697466"/>
              <a:gd name="connsiteX10" fmla="*/ 1848733 w 3066457"/>
              <a:gd name="connsiteY10" fmla="*/ 3697466 h 3697466"/>
              <a:gd name="connsiteX11" fmla="*/ 0 w 3066457"/>
              <a:gd name="connsiteY11" fmla="*/ 1848733 h 3697466"/>
              <a:gd name="connsiteX12" fmla="*/ 1848733 w 3066457"/>
              <a:gd name="connsiteY12" fmla="*/ 0 h 369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66457" h="3697466">
                <a:moveTo>
                  <a:pt x="1848733" y="973565"/>
                </a:moveTo>
                <a:cubicBezTo>
                  <a:pt x="1365390" y="973565"/>
                  <a:pt x="973564" y="1365391"/>
                  <a:pt x="973564" y="1848733"/>
                </a:cubicBezTo>
                <a:cubicBezTo>
                  <a:pt x="973564" y="2332076"/>
                  <a:pt x="1365390" y="2723902"/>
                  <a:pt x="1848733" y="2723902"/>
                </a:cubicBezTo>
                <a:cubicBezTo>
                  <a:pt x="2332076" y="2723902"/>
                  <a:pt x="2723902" y="2332076"/>
                  <a:pt x="2723902" y="1848733"/>
                </a:cubicBezTo>
                <a:cubicBezTo>
                  <a:pt x="2723902" y="1365391"/>
                  <a:pt x="2332076" y="973565"/>
                  <a:pt x="1848733" y="973565"/>
                </a:cubicBezTo>
                <a:close/>
                <a:moveTo>
                  <a:pt x="1848733" y="0"/>
                </a:moveTo>
                <a:cubicBezTo>
                  <a:pt x="2295432" y="0"/>
                  <a:pt x="2705129" y="158428"/>
                  <a:pt x="3024699" y="422161"/>
                </a:cubicBezTo>
                <a:lnTo>
                  <a:pt x="3066457" y="460113"/>
                </a:lnTo>
                <a:lnTo>
                  <a:pt x="3066457" y="3237353"/>
                </a:lnTo>
                <a:lnTo>
                  <a:pt x="3024699" y="3275305"/>
                </a:lnTo>
                <a:cubicBezTo>
                  <a:pt x="2705129" y="3539038"/>
                  <a:pt x="2295432" y="3697466"/>
                  <a:pt x="1848733" y="3697466"/>
                </a:cubicBezTo>
                <a:cubicBezTo>
                  <a:pt x="827707" y="3697466"/>
                  <a:pt x="0" y="2869760"/>
                  <a:pt x="0" y="1848733"/>
                </a:cubicBezTo>
                <a:cubicBezTo>
                  <a:pt x="0" y="827707"/>
                  <a:pt x="827707" y="0"/>
                  <a:pt x="1848733" y="0"/>
                </a:cubicBezTo>
                <a:close/>
              </a:path>
            </a:pathLst>
          </a:custGeom>
          <a:gradFill>
            <a:gsLst>
              <a:gs pos="0">
                <a:srgbClr val="62B5E5">
                  <a:alpha val="20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spTree>
    <p:extLst>
      <p:ext uri="{BB962C8B-B14F-4D97-AF65-F5344CB8AC3E}">
        <p14:creationId xmlns:p14="http://schemas.microsoft.com/office/powerpoint/2010/main" val="31329189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able of contents 2">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55205E5B-7F80-BB6B-BCF1-33D1BDAB5D97}"/>
              </a:ext>
            </a:extLst>
          </p:cNvPr>
          <p:cNvSpPr/>
          <p:nvPr userDrawn="1"/>
        </p:nvSpPr>
        <p:spPr bwMode="gray">
          <a:xfrm>
            <a:off x="7874000" y="0"/>
            <a:ext cx="4318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 name="Title 2">
            <a:extLst>
              <a:ext uri="{FF2B5EF4-FFF2-40B4-BE49-F238E27FC236}">
                <a16:creationId xmlns:a16="http://schemas.microsoft.com/office/drawing/2014/main" id="{DADF2FEE-6015-FB9B-40EC-DFDBB1DA263E}"/>
              </a:ext>
            </a:extLst>
          </p:cNvPr>
          <p:cNvSpPr>
            <a:spLocks noGrp="1"/>
          </p:cNvSpPr>
          <p:nvPr>
            <p:ph type="title"/>
          </p:nvPr>
        </p:nvSpPr>
        <p:spPr>
          <a:xfrm>
            <a:off x="466636" y="1364532"/>
            <a:ext cx="7092194" cy="609398"/>
          </a:xfrm>
        </p:spPr>
        <p:txBody>
          <a:bodyPr/>
          <a:lstStyle>
            <a:lvl1pPr>
              <a:defRPr lang="en-US" sz="3000" b="0" kern="1200" dirty="0">
                <a:solidFill>
                  <a:schemeClr val="tx1"/>
                </a:solidFill>
                <a:uFill>
                  <a:solidFill>
                    <a:schemeClr val="bg1">
                      <a:lumMod val="85000"/>
                    </a:schemeClr>
                  </a:solidFill>
                </a:uFill>
                <a:latin typeface="Calibri Light" panose="020F0302020204030204" pitchFamily="34" charset="0"/>
                <a:ea typeface="+mn-ea"/>
                <a:cs typeface="Calibri Light" panose="020F0302020204030204" pitchFamily="34" charset="0"/>
              </a:defRPr>
            </a:lvl1pPr>
          </a:lstStyle>
          <a:p>
            <a:endParaRPr lang="en-US">
              <a:solidFill>
                <a:srgbClr val="005587"/>
              </a:solidFill>
            </a:endParaRPr>
          </a:p>
        </p:txBody>
      </p:sp>
      <p:sp>
        <p:nvSpPr>
          <p:cNvPr id="3" name="Rectangle 2">
            <a:extLst>
              <a:ext uri="{FF2B5EF4-FFF2-40B4-BE49-F238E27FC236}">
                <a16:creationId xmlns:a16="http://schemas.microsoft.com/office/drawing/2014/main" id="{F501AAD4-44A6-0B71-4456-9C2C1F6B9161}"/>
              </a:ext>
            </a:extLst>
          </p:cNvPr>
          <p:cNvSpPr/>
          <p:nvPr userDrawn="1"/>
        </p:nvSpPr>
        <p:spPr bwMode="gray">
          <a:xfrm>
            <a:off x="460541" y="1840159"/>
            <a:ext cx="6696000" cy="36000"/>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8" name="D. Logo">
            <a:extLst>
              <a:ext uri="{FF2B5EF4-FFF2-40B4-BE49-F238E27FC236}">
                <a16:creationId xmlns:a16="http://schemas.microsoft.com/office/drawing/2014/main" id="{0B75421D-CA80-C717-A771-2BDB0D600AF3}"/>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9" name="Oval 5">
              <a:extLst>
                <a:ext uri="{FF2B5EF4-FFF2-40B4-BE49-F238E27FC236}">
                  <a16:creationId xmlns:a16="http://schemas.microsoft.com/office/drawing/2014/main" id="{E89F697F-52EC-C641-56CE-2C87A403BCF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10" name="Freeform 6">
              <a:extLst>
                <a:ext uri="{FF2B5EF4-FFF2-40B4-BE49-F238E27FC236}">
                  <a16:creationId xmlns:a16="http://schemas.microsoft.com/office/drawing/2014/main" id="{E97A0CB8-43A9-131B-13AB-F863269ECFC3}"/>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11" name="Rectangle 7">
              <a:extLst>
                <a:ext uri="{FF2B5EF4-FFF2-40B4-BE49-F238E27FC236}">
                  <a16:creationId xmlns:a16="http://schemas.microsoft.com/office/drawing/2014/main" id="{40EB7CE5-8FD8-2D3E-0D8C-52994DD682F2}"/>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12" name="Freeform 8">
              <a:extLst>
                <a:ext uri="{FF2B5EF4-FFF2-40B4-BE49-F238E27FC236}">
                  <a16:creationId xmlns:a16="http://schemas.microsoft.com/office/drawing/2014/main" id="{42A98D75-4E34-5A4B-C7C4-4DAE5D05C04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13" name="Rectangle 9">
              <a:extLst>
                <a:ext uri="{FF2B5EF4-FFF2-40B4-BE49-F238E27FC236}">
                  <a16:creationId xmlns:a16="http://schemas.microsoft.com/office/drawing/2014/main" id="{9485D6EE-7CA4-49FA-9C4E-C7761DAE69C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14" name="Rectangle 10">
              <a:extLst>
                <a:ext uri="{FF2B5EF4-FFF2-40B4-BE49-F238E27FC236}">
                  <a16:creationId xmlns:a16="http://schemas.microsoft.com/office/drawing/2014/main" id="{E63B3729-E479-E42B-DA63-DE75D22625F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15" name="Freeform 11">
              <a:extLst>
                <a:ext uri="{FF2B5EF4-FFF2-40B4-BE49-F238E27FC236}">
                  <a16:creationId xmlns:a16="http://schemas.microsoft.com/office/drawing/2014/main" id="{00C198BE-0995-C9BA-ADCB-A2BF47D2AF3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16" name="Freeform 12">
              <a:extLst>
                <a:ext uri="{FF2B5EF4-FFF2-40B4-BE49-F238E27FC236}">
                  <a16:creationId xmlns:a16="http://schemas.microsoft.com/office/drawing/2014/main" id="{249C6F1E-B50D-D092-A9F1-7DAD5364F044}"/>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17" name="Freeform 13">
              <a:extLst>
                <a:ext uri="{FF2B5EF4-FFF2-40B4-BE49-F238E27FC236}">
                  <a16:creationId xmlns:a16="http://schemas.microsoft.com/office/drawing/2014/main" id="{EAF0DCAB-47B5-FF77-9CA4-F0905981D51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18" name="Freeform 14">
              <a:extLst>
                <a:ext uri="{FF2B5EF4-FFF2-40B4-BE49-F238E27FC236}">
                  <a16:creationId xmlns:a16="http://schemas.microsoft.com/office/drawing/2014/main" id="{74D1B720-42E9-FBB2-EB6D-7AF2AFC3EEC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grpSp>
      <p:grpSp>
        <p:nvGrpSpPr>
          <p:cNvPr id="4" name="Group 3">
            <a:extLst>
              <a:ext uri="{FF2B5EF4-FFF2-40B4-BE49-F238E27FC236}">
                <a16:creationId xmlns:a16="http://schemas.microsoft.com/office/drawing/2014/main" id="{DCDFA5A4-C455-00F1-F478-45CDADC43A40}"/>
              </a:ext>
            </a:extLst>
          </p:cNvPr>
          <p:cNvGrpSpPr/>
          <p:nvPr userDrawn="1"/>
        </p:nvGrpSpPr>
        <p:grpSpPr>
          <a:xfrm>
            <a:off x="8244389" y="372661"/>
            <a:ext cx="3577222" cy="3575984"/>
            <a:chOff x="3596829" y="970516"/>
            <a:chExt cx="4981570" cy="4979846"/>
          </a:xfrm>
        </p:grpSpPr>
        <p:sp>
          <p:nvSpPr>
            <p:cNvPr id="5" name="Freeform: Shape 4">
              <a:extLst>
                <a:ext uri="{FF2B5EF4-FFF2-40B4-BE49-F238E27FC236}">
                  <a16:creationId xmlns:a16="http://schemas.microsoft.com/office/drawing/2014/main" id="{754EAF23-9818-C7FC-BB59-E5E6630BB431}"/>
                </a:ext>
              </a:extLst>
            </p:cNvPr>
            <p:cNvSpPr/>
            <p:nvPr/>
          </p:nvSpPr>
          <p:spPr bwMode="gray">
            <a:xfrm>
              <a:off x="3597099" y="970516"/>
              <a:ext cx="4981164" cy="2485381"/>
            </a:xfrm>
            <a:custGeom>
              <a:avLst/>
              <a:gdLst>
                <a:gd name="connsiteX0" fmla="*/ 3742420 w 7484840"/>
                <a:gd name="connsiteY0" fmla="*/ 0 h 3734604"/>
                <a:gd name="connsiteX1" fmla="*/ 7480173 w 7484840"/>
                <a:gd name="connsiteY1" fmla="*/ 3550028 h 3734604"/>
                <a:gd name="connsiteX2" fmla="*/ 7484840 w 7484840"/>
                <a:gd name="connsiteY2" fmla="*/ 3734604 h 3734604"/>
                <a:gd name="connsiteX3" fmla="*/ 6161224 w 7484840"/>
                <a:gd name="connsiteY3" fmla="*/ 3734604 h 3734604"/>
                <a:gd name="connsiteX4" fmla="*/ 6149139 w 7484840"/>
                <a:gd name="connsiteY4" fmla="*/ 3495272 h 3734604"/>
                <a:gd name="connsiteX5" fmla="*/ 3742420 w 7484840"/>
                <a:gd name="connsiteY5" fmla="*/ 1323414 h 3734604"/>
                <a:gd name="connsiteX6" fmla="*/ 1335701 w 7484840"/>
                <a:gd name="connsiteY6" fmla="*/ 3495272 h 3734604"/>
                <a:gd name="connsiteX7" fmla="*/ 1323616 w 7484840"/>
                <a:gd name="connsiteY7" fmla="*/ 3734604 h 3734604"/>
                <a:gd name="connsiteX8" fmla="*/ 0 w 7484840"/>
                <a:gd name="connsiteY8" fmla="*/ 3734604 h 3734604"/>
                <a:gd name="connsiteX9" fmla="*/ 4667 w 7484840"/>
                <a:gd name="connsiteY9" fmla="*/ 3550028 h 3734604"/>
                <a:gd name="connsiteX10" fmla="*/ 3742420 w 7484840"/>
                <a:gd name="connsiteY10" fmla="*/ 0 h 3734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4840" h="3734604">
                  <a:moveTo>
                    <a:pt x="3742420" y="0"/>
                  </a:moveTo>
                  <a:cubicBezTo>
                    <a:pt x="5744820" y="0"/>
                    <a:pt x="7379934" y="1572539"/>
                    <a:pt x="7480173" y="3550028"/>
                  </a:cubicBezTo>
                  <a:lnTo>
                    <a:pt x="7484840" y="3734604"/>
                  </a:lnTo>
                  <a:lnTo>
                    <a:pt x="6161224" y="3734604"/>
                  </a:lnTo>
                  <a:lnTo>
                    <a:pt x="6149139" y="3495272"/>
                  </a:lnTo>
                  <a:cubicBezTo>
                    <a:pt x="6025251" y="2275372"/>
                    <a:pt x="4995006" y="1323414"/>
                    <a:pt x="3742420" y="1323414"/>
                  </a:cubicBezTo>
                  <a:cubicBezTo>
                    <a:pt x="2489834" y="1323414"/>
                    <a:pt x="1459589" y="2275372"/>
                    <a:pt x="1335701" y="3495272"/>
                  </a:cubicBezTo>
                  <a:lnTo>
                    <a:pt x="1323616" y="3734604"/>
                  </a:lnTo>
                  <a:lnTo>
                    <a:pt x="0" y="3734604"/>
                  </a:lnTo>
                  <a:lnTo>
                    <a:pt x="4667" y="3550028"/>
                  </a:lnTo>
                  <a:cubicBezTo>
                    <a:pt x="104906" y="1572539"/>
                    <a:pt x="1740020" y="0"/>
                    <a:pt x="3742420" y="0"/>
                  </a:cubicBezTo>
                  <a:close/>
                </a:path>
              </a:pathLst>
            </a:custGeom>
            <a:gradFill>
              <a:gsLst>
                <a:gs pos="0">
                  <a:srgbClr val="62B5E5">
                    <a:alpha val="49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19" name="Freeform: Shape 18">
              <a:extLst>
                <a:ext uri="{FF2B5EF4-FFF2-40B4-BE49-F238E27FC236}">
                  <a16:creationId xmlns:a16="http://schemas.microsoft.com/office/drawing/2014/main" id="{882D2B40-F23D-CC53-1C62-FE51FFA84124}"/>
                </a:ext>
              </a:extLst>
            </p:cNvPr>
            <p:cNvSpPr/>
            <p:nvPr/>
          </p:nvSpPr>
          <p:spPr bwMode="gray">
            <a:xfrm>
              <a:off x="3596829" y="3454309"/>
              <a:ext cx="4981435" cy="2496053"/>
            </a:xfrm>
            <a:custGeom>
              <a:avLst/>
              <a:gdLst>
                <a:gd name="connsiteX0" fmla="*/ 203 w 7485246"/>
                <a:gd name="connsiteY0" fmla="*/ 0 h 3750642"/>
                <a:gd name="connsiteX1" fmla="*/ 1323819 w 7485246"/>
                <a:gd name="connsiteY1" fmla="*/ 0 h 3750642"/>
                <a:gd name="connsiteX2" fmla="*/ 1323414 w 7485246"/>
                <a:gd name="connsiteY2" fmla="*/ 8018 h 3750642"/>
                <a:gd name="connsiteX3" fmla="*/ 3742623 w 7485246"/>
                <a:gd name="connsiteY3" fmla="*/ 2427226 h 3750642"/>
                <a:gd name="connsiteX4" fmla="*/ 6161832 w 7485246"/>
                <a:gd name="connsiteY4" fmla="*/ 8018 h 3750642"/>
                <a:gd name="connsiteX5" fmla="*/ 6161427 w 7485246"/>
                <a:gd name="connsiteY5" fmla="*/ 0 h 3750642"/>
                <a:gd name="connsiteX6" fmla="*/ 7485043 w 7485246"/>
                <a:gd name="connsiteY6" fmla="*/ 0 h 3750642"/>
                <a:gd name="connsiteX7" fmla="*/ 7485246 w 7485246"/>
                <a:gd name="connsiteY7" fmla="*/ 8019 h 3750642"/>
                <a:gd name="connsiteX8" fmla="*/ 3742623 w 7485246"/>
                <a:gd name="connsiteY8" fmla="*/ 3750642 h 3750642"/>
                <a:gd name="connsiteX9" fmla="*/ 0 w 7485246"/>
                <a:gd name="connsiteY9" fmla="*/ 8019 h 375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5246" h="3750642">
                  <a:moveTo>
                    <a:pt x="203" y="0"/>
                  </a:moveTo>
                  <a:lnTo>
                    <a:pt x="1323819" y="0"/>
                  </a:lnTo>
                  <a:lnTo>
                    <a:pt x="1323414" y="8018"/>
                  </a:lnTo>
                  <a:cubicBezTo>
                    <a:pt x="1323414" y="1344110"/>
                    <a:pt x="2406531" y="2427226"/>
                    <a:pt x="3742623" y="2427226"/>
                  </a:cubicBezTo>
                  <a:cubicBezTo>
                    <a:pt x="5078715" y="2427226"/>
                    <a:pt x="6161832" y="1344110"/>
                    <a:pt x="6161832" y="8018"/>
                  </a:cubicBezTo>
                  <a:lnTo>
                    <a:pt x="6161427" y="0"/>
                  </a:lnTo>
                  <a:lnTo>
                    <a:pt x="7485043" y="0"/>
                  </a:lnTo>
                  <a:lnTo>
                    <a:pt x="7485246" y="8019"/>
                  </a:lnTo>
                  <a:cubicBezTo>
                    <a:pt x="7485246" y="2075013"/>
                    <a:pt x="5809617" y="3750642"/>
                    <a:pt x="3742623" y="3750642"/>
                  </a:cubicBezTo>
                  <a:cubicBezTo>
                    <a:pt x="1675629" y="3750642"/>
                    <a:pt x="0" y="2075013"/>
                    <a:pt x="0" y="8019"/>
                  </a:cubicBezTo>
                  <a:close/>
                </a:path>
              </a:pathLst>
            </a:custGeom>
            <a:gradFill>
              <a:gsLst>
                <a:gs pos="0">
                  <a:srgbClr val="0097A9">
                    <a:alpha val="52000"/>
                  </a:srgbClr>
                </a:gs>
                <a:gs pos="100000">
                  <a:schemeClr val="accent4"/>
                </a:gs>
              </a:gsLst>
              <a:lin ang="5400000" scaled="0"/>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20" name="Freeform: Shape 19">
              <a:extLst>
                <a:ext uri="{FF2B5EF4-FFF2-40B4-BE49-F238E27FC236}">
                  <a16:creationId xmlns:a16="http://schemas.microsoft.com/office/drawing/2014/main" id="{1A7BD80E-E008-6DF5-227E-6D41A14D9467}"/>
                </a:ext>
              </a:extLst>
            </p:cNvPr>
            <p:cNvSpPr/>
            <p:nvPr/>
          </p:nvSpPr>
          <p:spPr bwMode="gray">
            <a:xfrm>
              <a:off x="3597099" y="2276713"/>
              <a:ext cx="4981164" cy="1179184"/>
            </a:xfrm>
            <a:custGeom>
              <a:avLst/>
              <a:gdLst>
                <a:gd name="connsiteX0" fmla="*/ 3690476 w 4015800"/>
                <a:gd name="connsiteY0" fmla="*/ 10160 h 950655"/>
                <a:gd name="connsiteX1" fmla="*/ 3750349 w 4015800"/>
                <a:gd name="connsiteY1" fmla="*/ 17278 h 950655"/>
                <a:gd name="connsiteX2" fmla="*/ 3788962 w 4015800"/>
                <a:gd name="connsiteY2" fmla="*/ 31493 h 950655"/>
                <a:gd name="connsiteX3" fmla="*/ 3828343 w 4015800"/>
                <a:gd name="connsiteY3" fmla="*/ 106422 h 950655"/>
                <a:gd name="connsiteX4" fmla="*/ 4013296 w 4015800"/>
                <a:gd name="connsiteY4" fmla="*/ 851626 h 950655"/>
                <a:gd name="connsiteX5" fmla="*/ 4015800 w 4015800"/>
                <a:gd name="connsiteY5" fmla="*/ 950655 h 950655"/>
                <a:gd name="connsiteX6" fmla="*/ 3305648 w 4015800"/>
                <a:gd name="connsiteY6" fmla="*/ 950655 h 950655"/>
                <a:gd name="connsiteX7" fmla="*/ 3299164 w 4015800"/>
                <a:gd name="connsiteY7" fmla="*/ 822248 h 950655"/>
                <a:gd name="connsiteX8" fmla="*/ 3038589 w 4015800"/>
                <a:gd name="connsiteY8" fmla="*/ 165929 h 950655"/>
                <a:gd name="connsiteX9" fmla="*/ 3014943 w 4015800"/>
                <a:gd name="connsiteY9" fmla="*/ 137792 h 950655"/>
                <a:gd name="connsiteX10" fmla="*/ 3057902 w 4015800"/>
                <a:gd name="connsiteY10" fmla="*/ 113704 h 950655"/>
                <a:gd name="connsiteX11" fmla="*/ 3134505 w 4015800"/>
                <a:gd name="connsiteY11" fmla="*/ 100447 h 950655"/>
                <a:gd name="connsiteX12" fmla="*/ 3305736 w 4015800"/>
                <a:gd name="connsiteY12" fmla="*/ 178459 h 950655"/>
                <a:gd name="connsiteX13" fmla="*/ 3370246 w 4015800"/>
                <a:gd name="connsiteY13" fmla="*/ 164684 h 950655"/>
                <a:gd name="connsiteX14" fmla="*/ 3448599 w 4015800"/>
                <a:gd name="connsiteY14" fmla="*/ 185551 h 950655"/>
                <a:gd name="connsiteX15" fmla="*/ 3690476 w 4015800"/>
                <a:gd name="connsiteY15" fmla="*/ 10160 h 950655"/>
                <a:gd name="connsiteX16" fmla="*/ 969949 w 4015800"/>
                <a:gd name="connsiteY16" fmla="*/ 0 h 950655"/>
                <a:gd name="connsiteX17" fmla="*/ 1087180 w 4015800"/>
                <a:gd name="connsiteY17" fmla="*/ 38665 h 950655"/>
                <a:gd name="connsiteX18" fmla="*/ 1088788 w 4015800"/>
                <a:gd name="connsiteY18" fmla="*/ 40295 h 950655"/>
                <a:gd name="connsiteX19" fmla="*/ 1052378 w 4015800"/>
                <a:gd name="connsiteY19" fmla="*/ 76488 h 950655"/>
                <a:gd name="connsiteX20" fmla="*/ 716637 w 4015800"/>
                <a:gd name="connsiteY20" fmla="*/ 822248 h 950655"/>
                <a:gd name="connsiteX21" fmla="*/ 710153 w 4015800"/>
                <a:gd name="connsiteY21" fmla="*/ 950655 h 950655"/>
                <a:gd name="connsiteX22" fmla="*/ 0 w 4015800"/>
                <a:gd name="connsiteY22" fmla="*/ 950655 h 950655"/>
                <a:gd name="connsiteX23" fmla="*/ 2504 w 4015800"/>
                <a:gd name="connsiteY23" fmla="*/ 851626 h 950655"/>
                <a:gd name="connsiteX24" fmla="*/ 187458 w 4015800"/>
                <a:gd name="connsiteY24" fmla="*/ 106422 h 950655"/>
                <a:gd name="connsiteX25" fmla="*/ 241795 w 4015800"/>
                <a:gd name="connsiteY25" fmla="*/ 3037 h 950655"/>
                <a:gd name="connsiteX26" fmla="*/ 243362 w 4015800"/>
                <a:gd name="connsiteY26" fmla="*/ 2796 h 950655"/>
                <a:gd name="connsiteX27" fmla="*/ 505902 w 4015800"/>
                <a:gd name="connsiteY27" fmla="*/ 171980 h 950655"/>
                <a:gd name="connsiteX28" fmla="*/ 543612 w 4015800"/>
                <a:gd name="connsiteY28" fmla="*/ 167480 h 950655"/>
                <a:gd name="connsiteX29" fmla="*/ 617328 w 4015800"/>
                <a:gd name="connsiteY29" fmla="*/ 185482 h 950655"/>
                <a:gd name="connsiteX30" fmla="*/ 723298 w 4015800"/>
                <a:gd name="connsiteY30" fmla="*/ 86399 h 950655"/>
                <a:gd name="connsiteX31" fmla="*/ 792240 w 4015800"/>
                <a:gd name="connsiteY31" fmla="*/ 111835 h 950655"/>
                <a:gd name="connsiteX32" fmla="*/ 969949 w 4015800"/>
                <a:gd name="connsiteY32" fmla="*/ 0 h 950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15800" h="950655">
                  <a:moveTo>
                    <a:pt x="3690476" y="10160"/>
                  </a:moveTo>
                  <a:cubicBezTo>
                    <a:pt x="3711105" y="10160"/>
                    <a:pt x="3731153" y="12632"/>
                    <a:pt x="3750349" y="17278"/>
                  </a:cubicBezTo>
                  <a:lnTo>
                    <a:pt x="3788962" y="31493"/>
                  </a:lnTo>
                  <a:lnTo>
                    <a:pt x="3828343" y="106422"/>
                  </a:lnTo>
                  <a:cubicBezTo>
                    <a:pt x="3934937" y="334719"/>
                    <a:pt x="3999851" y="586383"/>
                    <a:pt x="4013296" y="851626"/>
                  </a:cubicBezTo>
                  <a:lnTo>
                    <a:pt x="4015800" y="950655"/>
                  </a:lnTo>
                  <a:lnTo>
                    <a:pt x="3305648" y="950655"/>
                  </a:lnTo>
                  <a:lnTo>
                    <a:pt x="3299164" y="822248"/>
                  </a:lnTo>
                  <a:cubicBezTo>
                    <a:pt x="3274238" y="576808"/>
                    <a:pt x="3180929" y="351584"/>
                    <a:pt x="3038589" y="165929"/>
                  </a:cubicBezTo>
                  <a:lnTo>
                    <a:pt x="3014943" y="137792"/>
                  </a:lnTo>
                  <a:lnTo>
                    <a:pt x="3057902" y="113704"/>
                  </a:lnTo>
                  <a:cubicBezTo>
                    <a:pt x="3081831" y="105123"/>
                    <a:pt x="3107620" y="100447"/>
                    <a:pt x="3134505" y="100447"/>
                  </a:cubicBezTo>
                  <a:cubicBezTo>
                    <a:pt x="3202834" y="100447"/>
                    <a:pt x="3264139" y="130656"/>
                    <a:pt x="3305736" y="178459"/>
                  </a:cubicBezTo>
                  <a:cubicBezTo>
                    <a:pt x="3325443" y="169662"/>
                    <a:pt x="3347265" y="164684"/>
                    <a:pt x="3370246" y="164684"/>
                  </a:cubicBezTo>
                  <a:cubicBezTo>
                    <a:pt x="3398818" y="164684"/>
                    <a:pt x="3425550" y="172321"/>
                    <a:pt x="3448599" y="185551"/>
                  </a:cubicBezTo>
                  <a:cubicBezTo>
                    <a:pt x="3481876" y="83740"/>
                    <a:pt x="3577550" y="10160"/>
                    <a:pt x="3690476" y="10160"/>
                  </a:cubicBezTo>
                  <a:close/>
                  <a:moveTo>
                    <a:pt x="969949" y="0"/>
                  </a:moveTo>
                  <a:cubicBezTo>
                    <a:pt x="1013865" y="0"/>
                    <a:pt x="1054423" y="14372"/>
                    <a:pt x="1087180" y="38665"/>
                  </a:cubicBezTo>
                  <a:lnTo>
                    <a:pt x="1088788" y="40295"/>
                  </a:lnTo>
                  <a:lnTo>
                    <a:pt x="1052378" y="76488"/>
                  </a:lnTo>
                  <a:cubicBezTo>
                    <a:pt x="867874" y="277071"/>
                    <a:pt x="745717" y="535901"/>
                    <a:pt x="716637" y="822248"/>
                  </a:cubicBezTo>
                  <a:lnTo>
                    <a:pt x="710153" y="950655"/>
                  </a:lnTo>
                  <a:lnTo>
                    <a:pt x="0" y="950655"/>
                  </a:lnTo>
                  <a:lnTo>
                    <a:pt x="2504" y="851626"/>
                  </a:lnTo>
                  <a:cubicBezTo>
                    <a:pt x="15949" y="586383"/>
                    <a:pt x="80863" y="334719"/>
                    <a:pt x="187458" y="106422"/>
                  </a:cubicBezTo>
                  <a:lnTo>
                    <a:pt x="241795" y="3037"/>
                  </a:lnTo>
                  <a:lnTo>
                    <a:pt x="243362" y="2796"/>
                  </a:lnTo>
                  <a:cubicBezTo>
                    <a:pt x="360107" y="2796"/>
                    <a:pt x="460554" y="72215"/>
                    <a:pt x="505902" y="171980"/>
                  </a:cubicBezTo>
                  <a:cubicBezTo>
                    <a:pt x="518040" y="169048"/>
                    <a:pt x="530587" y="167480"/>
                    <a:pt x="543612" y="167480"/>
                  </a:cubicBezTo>
                  <a:cubicBezTo>
                    <a:pt x="570207" y="167480"/>
                    <a:pt x="595302" y="174026"/>
                    <a:pt x="617328" y="185482"/>
                  </a:cubicBezTo>
                  <a:cubicBezTo>
                    <a:pt x="621078" y="130179"/>
                    <a:pt x="667040" y="86399"/>
                    <a:pt x="723298" y="86399"/>
                  </a:cubicBezTo>
                  <a:cubicBezTo>
                    <a:pt x="749620" y="86399"/>
                    <a:pt x="773692" y="96014"/>
                    <a:pt x="792240" y="111835"/>
                  </a:cubicBezTo>
                  <a:cubicBezTo>
                    <a:pt x="824018" y="45688"/>
                    <a:pt x="891665" y="0"/>
                    <a:pt x="969949" y="0"/>
                  </a:cubicBezTo>
                  <a:close/>
                </a:path>
              </a:pathLst>
            </a:custGeom>
            <a:solidFill>
              <a:srgbClr val="00A3E0">
                <a:alpha val="21000"/>
              </a:srgbClr>
            </a:solidFill>
            <a:ln w="681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19"/>
            </a:p>
          </p:txBody>
        </p:sp>
        <p:sp>
          <p:nvSpPr>
            <p:cNvPr id="21" name="Freeform: Shape 20">
              <a:extLst>
                <a:ext uri="{FF2B5EF4-FFF2-40B4-BE49-F238E27FC236}">
                  <a16:creationId xmlns:a16="http://schemas.microsoft.com/office/drawing/2014/main" id="{132DD858-EF76-6204-DCD3-4C7929EF7CC0}"/>
                </a:ext>
              </a:extLst>
            </p:cNvPr>
            <p:cNvSpPr/>
            <p:nvPr/>
          </p:nvSpPr>
          <p:spPr bwMode="gray">
            <a:xfrm>
              <a:off x="3597099" y="2552810"/>
              <a:ext cx="4981164" cy="903087"/>
            </a:xfrm>
            <a:custGeom>
              <a:avLst/>
              <a:gdLst>
                <a:gd name="connsiteX0" fmla="*/ 907212 w 4015800"/>
                <a:gd name="connsiteY0" fmla="*/ 7695 h 728066"/>
                <a:gd name="connsiteX1" fmla="*/ 934122 w 4015800"/>
                <a:gd name="connsiteY1" fmla="*/ 11485 h 728066"/>
                <a:gd name="connsiteX2" fmla="*/ 851932 w 4015800"/>
                <a:gd name="connsiteY2" fmla="*/ 141468 h 728066"/>
                <a:gd name="connsiteX3" fmla="*/ 716637 w 4015800"/>
                <a:gd name="connsiteY3" fmla="*/ 599659 h 728066"/>
                <a:gd name="connsiteX4" fmla="*/ 710153 w 4015800"/>
                <a:gd name="connsiteY4" fmla="*/ 728066 h 728066"/>
                <a:gd name="connsiteX5" fmla="*/ 0 w 4015800"/>
                <a:gd name="connsiteY5" fmla="*/ 728066 h 728066"/>
                <a:gd name="connsiteX6" fmla="*/ 2504 w 4015800"/>
                <a:gd name="connsiteY6" fmla="*/ 629037 h 728066"/>
                <a:gd name="connsiteX7" fmla="*/ 60050 w 4015800"/>
                <a:gd name="connsiteY7" fmla="*/ 242580 h 728066"/>
                <a:gd name="connsiteX8" fmla="*/ 90397 w 4015800"/>
                <a:gd name="connsiteY8" fmla="*/ 142228 h 728066"/>
                <a:gd name="connsiteX9" fmla="*/ 93247 w 4015800"/>
                <a:gd name="connsiteY9" fmla="*/ 140891 h 728066"/>
                <a:gd name="connsiteX10" fmla="*/ 149597 w 4015800"/>
                <a:gd name="connsiteY10" fmla="*/ 132555 h 728066"/>
                <a:gd name="connsiteX11" fmla="*/ 330511 w 4015800"/>
                <a:gd name="connsiteY11" fmla="*/ 257415 h 728066"/>
                <a:gd name="connsiteX12" fmla="*/ 476647 w 4015800"/>
                <a:gd name="connsiteY12" fmla="*/ 215000 h 728066"/>
                <a:gd name="connsiteX13" fmla="*/ 634717 w 4015800"/>
                <a:gd name="connsiteY13" fmla="*/ 265462 h 728066"/>
                <a:gd name="connsiteX14" fmla="*/ 907212 w 4015800"/>
                <a:gd name="connsiteY14" fmla="*/ 7695 h 728066"/>
                <a:gd name="connsiteX15" fmla="*/ 3876000 w 4015800"/>
                <a:gd name="connsiteY15" fmla="*/ 0 h 728066"/>
                <a:gd name="connsiteX16" fmla="*/ 3900321 w 4015800"/>
                <a:gd name="connsiteY16" fmla="*/ 59284 h 728066"/>
                <a:gd name="connsiteX17" fmla="*/ 4013296 w 4015800"/>
                <a:gd name="connsiteY17" fmla="*/ 629037 h 728066"/>
                <a:gd name="connsiteX18" fmla="*/ 4015800 w 4015800"/>
                <a:gd name="connsiteY18" fmla="*/ 728066 h 728066"/>
                <a:gd name="connsiteX19" fmla="*/ 3305648 w 4015800"/>
                <a:gd name="connsiteY19" fmla="*/ 728066 h 728066"/>
                <a:gd name="connsiteX20" fmla="*/ 3299164 w 4015800"/>
                <a:gd name="connsiteY20" fmla="*/ 599659 h 728066"/>
                <a:gd name="connsiteX21" fmla="*/ 3163869 w 4015800"/>
                <a:gd name="connsiteY21" fmla="*/ 141468 h 728066"/>
                <a:gd name="connsiteX22" fmla="*/ 3135999 w 4015800"/>
                <a:gd name="connsiteY22" fmla="*/ 97392 h 728066"/>
                <a:gd name="connsiteX23" fmla="*/ 3168942 w 4015800"/>
                <a:gd name="connsiteY23" fmla="*/ 92731 h 728066"/>
                <a:gd name="connsiteX24" fmla="*/ 3221859 w 4015800"/>
                <a:gd name="connsiteY24" fmla="*/ 97914 h 728066"/>
                <a:gd name="connsiteX25" fmla="*/ 3342901 w 4015800"/>
                <a:gd name="connsiteY25" fmla="*/ 27880 h 728066"/>
                <a:gd name="connsiteX26" fmla="*/ 3475535 w 4015800"/>
                <a:gd name="connsiteY26" fmla="*/ 123690 h 728066"/>
                <a:gd name="connsiteX27" fmla="*/ 3610964 w 4015800"/>
                <a:gd name="connsiteY27" fmla="*/ 73296 h 728066"/>
                <a:gd name="connsiteX28" fmla="*/ 3714821 w 4015800"/>
                <a:gd name="connsiteY28" fmla="*/ 101187 h 728066"/>
                <a:gd name="connsiteX29" fmla="*/ 3834047 w 4015800"/>
                <a:gd name="connsiteY29" fmla="*/ 5810 h 72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15800" h="728066">
                  <a:moveTo>
                    <a:pt x="907212" y="7695"/>
                  </a:moveTo>
                  <a:lnTo>
                    <a:pt x="934122" y="11485"/>
                  </a:lnTo>
                  <a:lnTo>
                    <a:pt x="851932" y="141468"/>
                  </a:lnTo>
                  <a:cubicBezTo>
                    <a:pt x="780264" y="281390"/>
                    <a:pt x="733254" y="436032"/>
                    <a:pt x="716637" y="599659"/>
                  </a:cubicBezTo>
                  <a:lnTo>
                    <a:pt x="710153" y="728066"/>
                  </a:lnTo>
                  <a:lnTo>
                    <a:pt x="0" y="728066"/>
                  </a:lnTo>
                  <a:lnTo>
                    <a:pt x="2504" y="629037"/>
                  </a:lnTo>
                  <a:cubicBezTo>
                    <a:pt x="9227" y="496415"/>
                    <a:pt x="28817" y="367189"/>
                    <a:pt x="60050" y="242580"/>
                  </a:cubicBezTo>
                  <a:lnTo>
                    <a:pt x="90397" y="142228"/>
                  </a:lnTo>
                  <a:lnTo>
                    <a:pt x="93247" y="140891"/>
                  </a:lnTo>
                  <a:cubicBezTo>
                    <a:pt x="111073" y="135470"/>
                    <a:pt x="129992" y="132555"/>
                    <a:pt x="149597" y="132555"/>
                  </a:cubicBezTo>
                  <a:cubicBezTo>
                    <a:pt x="232314" y="132555"/>
                    <a:pt x="302825" y="184450"/>
                    <a:pt x="330511" y="257415"/>
                  </a:cubicBezTo>
                  <a:cubicBezTo>
                    <a:pt x="372790" y="230616"/>
                    <a:pt x="422912" y="215000"/>
                    <a:pt x="476647" y="215000"/>
                  </a:cubicBezTo>
                  <a:cubicBezTo>
                    <a:pt x="535565" y="215000"/>
                    <a:pt x="590119" y="233684"/>
                    <a:pt x="634717" y="265462"/>
                  </a:cubicBezTo>
                  <a:cubicBezTo>
                    <a:pt x="642559" y="121781"/>
                    <a:pt x="761554" y="7695"/>
                    <a:pt x="907212" y="7695"/>
                  </a:cubicBezTo>
                  <a:close/>
                  <a:moveTo>
                    <a:pt x="3876000" y="0"/>
                  </a:moveTo>
                  <a:lnTo>
                    <a:pt x="3900321" y="59284"/>
                  </a:lnTo>
                  <a:cubicBezTo>
                    <a:pt x="3964177" y="238811"/>
                    <a:pt x="4003212" y="430104"/>
                    <a:pt x="4013296" y="629037"/>
                  </a:cubicBezTo>
                  <a:lnTo>
                    <a:pt x="4015800" y="728066"/>
                  </a:lnTo>
                  <a:lnTo>
                    <a:pt x="3305648" y="728066"/>
                  </a:lnTo>
                  <a:lnTo>
                    <a:pt x="3299164" y="599659"/>
                  </a:lnTo>
                  <a:cubicBezTo>
                    <a:pt x="3282547" y="436032"/>
                    <a:pt x="3235537" y="281390"/>
                    <a:pt x="3163869" y="141468"/>
                  </a:cubicBezTo>
                  <a:lnTo>
                    <a:pt x="3135999" y="97392"/>
                  </a:lnTo>
                  <a:lnTo>
                    <a:pt x="3168942" y="92731"/>
                  </a:lnTo>
                  <a:cubicBezTo>
                    <a:pt x="3187082" y="92731"/>
                    <a:pt x="3204743" y="94572"/>
                    <a:pt x="3221859" y="97914"/>
                  </a:cubicBezTo>
                  <a:cubicBezTo>
                    <a:pt x="3246000" y="56112"/>
                    <a:pt x="3291075" y="27880"/>
                    <a:pt x="3342901" y="27880"/>
                  </a:cubicBezTo>
                  <a:cubicBezTo>
                    <a:pt x="3404683" y="27880"/>
                    <a:pt x="3457054" y="68046"/>
                    <a:pt x="3475535" y="123690"/>
                  </a:cubicBezTo>
                  <a:cubicBezTo>
                    <a:pt x="3511881" y="92322"/>
                    <a:pt x="3559206" y="73296"/>
                    <a:pt x="3610964" y="73296"/>
                  </a:cubicBezTo>
                  <a:cubicBezTo>
                    <a:pt x="3648811" y="73296"/>
                    <a:pt x="3684271" y="83457"/>
                    <a:pt x="3714821" y="101187"/>
                  </a:cubicBezTo>
                  <a:cubicBezTo>
                    <a:pt x="3739882" y="55259"/>
                    <a:pt x="3782702" y="20379"/>
                    <a:pt x="3834047" y="5810"/>
                  </a:cubicBezTo>
                  <a:close/>
                </a:path>
              </a:pathLst>
            </a:custGeom>
            <a:solidFill>
              <a:srgbClr val="00ABAB">
                <a:alpha val="20000"/>
              </a:srgbClr>
            </a:solidFill>
            <a:ln w="681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19"/>
            </a:p>
          </p:txBody>
        </p:sp>
        <p:sp>
          <p:nvSpPr>
            <p:cNvPr id="22" name="Freeform: Shape 21">
              <a:extLst>
                <a:ext uri="{FF2B5EF4-FFF2-40B4-BE49-F238E27FC236}">
                  <a16:creationId xmlns:a16="http://schemas.microsoft.com/office/drawing/2014/main" id="{D76C18F9-790F-0038-7C10-A644438873A1}"/>
                </a:ext>
              </a:extLst>
            </p:cNvPr>
            <p:cNvSpPr/>
            <p:nvPr/>
          </p:nvSpPr>
          <p:spPr bwMode="gray">
            <a:xfrm>
              <a:off x="3597099" y="2891221"/>
              <a:ext cx="4981164" cy="564676"/>
            </a:xfrm>
            <a:custGeom>
              <a:avLst/>
              <a:gdLst>
                <a:gd name="connsiteX0" fmla="*/ 492467 w 4015800"/>
                <a:gd name="connsiteY0" fmla="*/ 95401 h 455240"/>
                <a:gd name="connsiteX1" fmla="*/ 732397 w 4015800"/>
                <a:gd name="connsiteY1" fmla="*/ 193358 h 455240"/>
                <a:gd name="connsiteX2" fmla="*/ 740883 w 4015800"/>
                <a:gd name="connsiteY2" fmla="*/ 204073 h 455240"/>
                <a:gd name="connsiteX3" fmla="*/ 716637 w 4015800"/>
                <a:gd name="connsiteY3" fmla="*/ 326833 h 455240"/>
                <a:gd name="connsiteX4" fmla="*/ 710153 w 4015800"/>
                <a:gd name="connsiteY4" fmla="*/ 455240 h 455240"/>
                <a:gd name="connsiteX5" fmla="*/ 0 w 4015800"/>
                <a:gd name="connsiteY5" fmla="*/ 455240 h 455240"/>
                <a:gd name="connsiteX6" fmla="*/ 2504 w 4015800"/>
                <a:gd name="connsiteY6" fmla="*/ 356211 h 455240"/>
                <a:gd name="connsiteX7" fmla="*/ 22085 w 4015800"/>
                <a:gd name="connsiteY7" fmla="*/ 159977 h 455240"/>
                <a:gd name="connsiteX8" fmla="*/ 27779 w 4015800"/>
                <a:gd name="connsiteY8" fmla="*/ 131452 h 455240"/>
                <a:gd name="connsiteX9" fmla="*/ 96679 w 4015800"/>
                <a:gd name="connsiteY9" fmla="*/ 167889 h 455240"/>
                <a:gd name="connsiteX10" fmla="*/ 192762 w 4015800"/>
                <a:gd name="connsiteY10" fmla="*/ 135634 h 455240"/>
                <a:gd name="connsiteX11" fmla="*/ 285162 w 4015800"/>
                <a:gd name="connsiteY11" fmla="*/ 165230 h 455240"/>
                <a:gd name="connsiteX12" fmla="*/ 492467 w 4015800"/>
                <a:gd name="connsiteY12" fmla="*/ 95401 h 455240"/>
                <a:gd name="connsiteX13" fmla="*/ 3598620 w 4015800"/>
                <a:gd name="connsiteY13" fmla="*/ 0 h 455240"/>
                <a:gd name="connsiteX14" fmla="*/ 3762350 w 4015800"/>
                <a:gd name="connsiteY14" fmla="*/ 49712 h 455240"/>
                <a:gd name="connsiteX15" fmla="*/ 3842135 w 4015800"/>
                <a:gd name="connsiteY15" fmla="*/ 32869 h 455240"/>
                <a:gd name="connsiteX16" fmla="*/ 3966705 w 4015800"/>
                <a:gd name="connsiteY16" fmla="*/ 77279 h 455240"/>
                <a:gd name="connsiteX17" fmla="*/ 3980310 w 4015800"/>
                <a:gd name="connsiteY17" fmla="*/ 92810 h 455240"/>
                <a:gd name="connsiteX18" fmla="*/ 3993715 w 4015800"/>
                <a:gd name="connsiteY18" fmla="*/ 159977 h 455240"/>
                <a:gd name="connsiteX19" fmla="*/ 4013296 w 4015800"/>
                <a:gd name="connsiteY19" fmla="*/ 356211 h 455240"/>
                <a:gd name="connsiteX20" fmla="*/ 4015800 w 4015800"/>
                <a:gd name="connsiteY20" fmla="*/ 455240 h 455240"/>
                <a:gd name="connsiteX21" fmla="*/ 3305648 w 4015800"/>
                <a:gd name="connsiteY21" fmla="*/ 455240 h 455240"/>
                <a:gd name="connsiteX22" fmla="*/ 3299164 w 4015800"/>
                <a:gd name="connsiteY22" fmla="*/ 326833 h 455240"/>
                <a:gd name="connsiteX23" fmla="*/ 3259369 w 4015800"/>
                <a:gd name="connsiteY23" fmla="*/ 125344 h 455240"/>
                <a:gd name="connsiteX24" fmla="*/ 3301013 w 4015800"/>
                <a:gd name="connsiteY24" fmla="*/ 130597 h 455240"/>
                <a:gd name="connsiteX25" fmla="*/ 3343718 w 4015800"/>
                <a:gd name="connsiteY25" fmla="*/ 147431 h 455240"/>
                <a:gd name="connsiteX26" fmla="*/ 3598620 w 4015800"/>
                <a:gd name="connsiteY26" fmla="*/ 0 h 45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5800" h="455240">
                  <a:moveTo>
                    <a:pt x="492467" y="95401"/>
                  </a:moveTo>
                  <a:cubicBezTo>
                    <a:pt x="585908" y="95401"/>
                    <a:pt x="670564" y="132762"/>
                    <a:pt x="732397" y="193358"/>
                  </a:cubicBezTo>
                  <a:lnTo>
                    <a:pt x="740883" y="204073"/>
                  </a:lnTo>
                  <a:lnTo>
                    <a:pt x="716637" y="326833"/>
                  </a:lnTo>
                  <a:lnTo>
                    <a:pt x="710153" y="455240"/>
                  </a:lnTo>
                  <a:lnTo>
                    <a:pt x="0" y="455240"/>
                  </a:lnTo>
                  <a:lnTo>
                    <a:pt x="2504" y="356211"/>
                  </a:lnTo>
                  <a:cubicBezTo>
                    <a:pt x="5865" y="289900"/>
                    <a:pt x="12444" y="224438"/>
                    <a:pt x="22085" y="159977"/>
                  </a:cubicBezTo>
                  <a:lnTo>
                    <a:pt x="27779" y="131452"/>
                  </a:lnTo>
                  <a:lnTo>
                    <a:pt x="96679" y="167889"/>
                  </a:lnTo>
                  <a:cubicBezTo>
                    <a:pt x="123411" y="147636"/>
                    <a:pt x="158257" y="135634"/>
                    <a:pt x="192762" y="135634"/>
                  </a:cubicBezTo>
                  <a:cubicBezTo>
                    <a:pt x="227267" y="135634"/>
                    <a:pt x="259113" y="146613"/>
                    <a:pt x="285162" y="165230"/>
                  </a:cubicBezTo>
                  <a:cubicBezTo>
                    <a:pt x="342717" y="121450"/>
                    <a:pt x="414523" y="95401"/>
                    <a:pt x="492467" y="95401"/>
                  </a:cubicBezTo>
                  <a:close/>
                  <a:moveTo>
                    <a:pt x="3598620" y="0"/>
                  </a:moveTo>
                  <a:cubicBezTo>
                    <a:pt x="3659243" y="0"/>
                    <a:pt x="3715570" y="18276"/>
                    <a:pt x="3762350" y="49712"/>
                  </a:cubicBezTo>
                  <a:cubicBezTo>
                    <a:pt x="3786763" y="38938"/>
                    <a:pt x="3813767" y="32869"/>
                    <a:pt x="3842135" y="32869"/>
                  </a:cubicBezTo>
                  <a:cubicBezTo>
                    <a:pt x="3889392" y="32869"/>
                    <a:pt x="3932763" y="49525"/>
                    <a:pt x="3966705" y="77279"/>
                  </a:cubicBezTo>
                  <a:lnTo>
                    <a:pt x="3980310" y="92810"/>
                  </a:lnTo>
                  <a:lnTo>
                    <a:pt x="3993715" y="159977"/>
                  </a:lnTo>
                  <a:cubicBezTo>
                    <a:pt x="4003357" y="224438"/>
                    <a:pt x="4009935" y="289900"/>
                    <a:pt x="4013296" y="356211"/>
                  </a:cubicBezTo>
                  <a:lnTo>
                    <a:pt x="4015800" y="455240"/>
                  </a:lnTo>
                  <a:lnTo>
                    <a:pt x="3305648" y="455240"/>
                  </a:lnTo>
                  <a:lnTo>
                    <a:pt x="3299164" y="326833"/>
                  </a:lnTo>
                  <a:lnTo>
                    <a:pt x="3259369" y="125344"/>
                  </a:lnTo>
                  <a:lnTo>
                    <a:pt x="3301013" y="130597"/>
                  </a:lnTo>
                  <a:cubicBezTo>
                    <a:pt x="3316067" y="134475"/>
                    <a:pt x="3330387" y="140169"/>
                    <a:pt x="3343718" y="147431"/>
                  </a:cubicBezTo>
                  <a:cubicBezTo>
                    <a:pt x="3394521" y="59327"/>
                    <a:pt x="3489581" y="0"/>
                    <a:pt x="3598620" y="0"/>
                  </a:cubicBezTo>
                  <a:close/>
                </a:path>
              </a:pathLst>
            </a:custGeom>
            <a:solidFill>
              <a:srgbClr val="79C8D2"/>
            </a:solidFill>
            <a:ln w="681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19"/>
            </a:p>
          </p:txBody>
        </p:sp>
        <p:sp>
          <p:nvSpPr>
            <p:cNvPr id="23" name="Oval 22">
              <a:extLst>
                <a:ext uri="{FF2B5EF4-FFF2-40B4-BE49-F238E27FC236}">
                  <a16:creationId xmlns:a16="http://schemas.microsoft.com/office/drawing/2014/main" id="{0CB6FED0-CBA5-0D9B-528D-3C317139B7BA}"/>
                </a:ext>
              </a:extLst>
            </p:cNvPr>
            <p:cNvSpPr>
              <a:spLocks noChangeAspect="1"/>
            </p:cNvSpPr>
            <p:nvPr/>
          </p:nvSpPr>
          <p:spPr bwMode="gray">
            <a:xfrm rot="2700000">
              <a:off x="4260080" y="1632180"/>
              <a:ext cx="3654934" cy="3654934"/>
            </a:xfrm>
            <a:prstGeom prst="ellipse">
              <a:avLst/>
            </a:prstGeom>
            <a:solidFill>
              <a:srgbClr val="0076A8"/>
            </a:solidFill>
            <a:ln w="6350" algn="ctr">
              <a:noFill/>
              <a:prstDash val="solid"/>
              <a:miter lim="800000"/>
              <a:headEnd/>
              <a:tailEnd/>
            </a:ln>
          </p:spPr>
          <p:txBody>
            <a:bodyPr rtlCol="0" anchor="ctr"/>
            <a:lstStyle/>
            <a:p>
              <a:pPr algn="ctr"/>
              <a:endParaRPr lang="en-US" sz="2419"/>
            </a:p>
          </p:txBody>
        </p:sp>
        <p:sp>
          <p:nvSpPr>
            <p:cNvPr id="24" name="Freeform: Shape 23">
              <a:extLst>
                <a:ext uri="{FF2B5EF4-FFF2-40B4-BE49-F238E27FC236}">
                  <a16:creationId xmlns:a16="http://schemas.microsoft.com/office/drawing/2014/main" id="{8061B33D-6812-C9F6-5361-D9E7D8D8DFDA}"/>
                </a:ext>
              </a:extLst>
            </p:cNvPr>
            <p:cNvSpPr/>
            <p:nvPr/>
          </p:nvSpPr>
          <p:spPr bwMode="gray">
            <a:xfrm rot="10800000">
              <a:off x="4458087" y="3451133"/>
              <a:ext cx="3258925" cy="1621961"/>
            </a:xfrm>
            <a:custGeom>
              <a:avLst/>
              <a:gdLst>
                <a:gd name="connsiteX0" fmla="*/ 1074988 w 2149976"/>
                <a:gd name="connsiteY0" fmla="*/ 0 h 1070040"/>
                <a:gd name="connsiteX1" fmla="*/ 2144688 w 2149976"/>
                <a:gd name="connsiteY1" fmla="*/ 965314 h 1070040"/>
                <a:gd name="connsiteX2" fmla="*/ 2149976 w 2149976"/>
                <a:gd name="connsiteY2" fmla="*/ 1070040 h 1070040"/>
                <a:gd name="connsiteX3" fmla="*/ 1583474 w 2149976"/>
                <a:gd name="connsiteY3" fmla="*/ 1070040 h 1070040"/>
                <a:gd name="connsiteX4" fmla="*/ 1573658 w 2149976"/>
                <a:gd name="connsiteY4" fmla="*/ 972668 h 1070040"/>
                <a:gd name="connsiteX5" fmla="*/ 1074988 w 2149976"/>
                <a:gd name="connsiteY5" fmla="*/ 566240 h 1070040"/>
                <a:gd name="connsiteX6" fmla="*/ 576319 w 2149976"/>
                <a:gd name="connsiteY6" fmla="*/ 972668 h 1070040"/>
                <a:gd name="connsiteX7" fmla="*/ 566503 w 2149976"/>
                <a:gd name="connsiteY7" fmla="*/ 1070040 h 1070040"/>
                <a:gd name="connsiteX8" fmla="*/ 0 w 2149976"/>
                <a:gd name="connsiteY8" fmla="*/ 1070040 h 1070040"/>
                <a:gd name="connsiteX9" fmla="*/ 5289 w 2149976"/>
                <a:gd name="connsiteY9" fmla="*/ 965314 h 1070040"/>
                <a:gd name="connsiteX10" fmla="*/ 1074988 w 2149976"/>
                <a:gd name="connsiteY10" fmla="*/ 0 h 10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9976" h="1070040">
                  <a:moveTo>
                    <a:pt x="1074988" y="0"/>
                  </a:moveTo>
                  <a:cubicBezTo>
                    <a:pt x="1631717" y="0"/>
                    <a:pt x="2089624" y="423112"/>
                    <a:pt x="2144688" y="965314"/>
                  </a:cubicBezTo>
                  <a:lnTo>
                    <a:pt x="2149976" y="1070040"/>
                  </a:lnTo>
                  <a:lnTo>
                    <a:pt x="1583474" y="1070040"/>
                  </a:lnTo>
                  <a:lnTo>
                    <a:pt x="1573658" y="972668"/>
                  </a:lnTo>
                  <a:cubicBezTo>
                    <a:pt x="1526195" y="740720"/>
                    <a:pt x="1320968" y="566240"/>
                    <a:pt x="1074988" y="566240"/>
                  </a:cubicBezTo>
                  <a:cubicBezTo>
                    <a:pt x="829009" y="566240"/>
                    <a:pt x="623782" y="740720"/>
                    <a:pt x="576319" y="972668"/>
                  </a:cubicBezTo>
                  <a:lnTo>
                    <a:pt x="566503" y="1070040"/>
                  </a:lnTo>
                  <a:lnTo>
                    <a:pt x="0" y="1070040"/>
                  </a:lnTo>
                  <a:lnTo>
                    <a:pt x="5289" y="965314"/>
                  </a:lnTo>
                  <a:cubicBezTo>
                    <a:pt x="60352" y="423112"/>
                    <a:pt x="518259" y="0"/>
                    <a:pt x="1074988" y="0"/>
                  </a:cubicBezTo>
                  <a:close/>
                </a:path>
              </a:pathLst>
            </a:custGeom>
            <a:gradFill>
              <a:gsLst>
                <a:gs pos="0">
                  <a:srgbClr val="0097A9"/>
                </a:gs>
                <a:gs pos="100000">
                  <a:srgbClr val="78C8D1">
                    <a:alpha val="30000"/>
                  </a:srgbClr>
                </a:gs>
              </a:gsLst>
              <a:lin ang="5400000" scaled="0"/>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sp>
          <p:nvSpPr>
            <p:cNvPr id="25" name="Freeform: Shape 24">
              <a:extLst>
                <a:ext uri="{FF2B5EF4-FFF2-40B4-BE49-F238E27FC236}">
                  <a16:creationId xmlns:a16="http://schemas.microsoft.com/office/drawing/2014/main" id="{0B4AFCFD-F96E-C002-5A95-ADB16510BA4D}"/>
                </a:ext>
              </a:extLst>
            </p:cNvPr>
            <p:cNvSpPr/>
            <p:nvPr/>
          </p:nvSpPr>
          <p:spPr bwMode="gray">
            <a:xfrm rot="10800000">
              <a:off x="4457817" y="1823862"/>
              <a:ext cx="3259460" cy="1627271"/>
            </a:xfrm>
            <a:custGeom>
              <a:avLst/>
              <a:gdLst>
                <a:gd name="connsiteX0" fmla="*/ 0 w 2150329"/>
                <a:gd name="connsiteY0" fmla="*/ 0 h 1073543"/>
                <a:gd name="connsiteX1" fmla="*/ 566326 w 2150329"/>
                <a:gd name="connsiteY1" fmla="*/ 0 h 1073543"/>
                <a:gd name="connsiteX2" fmla="*/ 576495 w 2150329"/>
                <a:gd name="connsiteY2" fmla="*/ 100875 h 1073543"/>
                <a:gd name="connsiteX3" fmla="*/ 1075164 w 2150329"/>
                <a:gd name="connsiteY3" fmla="*/ 507303 h 1073543"/>
                <a:gd name="connsiteX4" fmla="*/ 1573834 w 2150329"/>
                <a:gd name="connsiteY4" fmla="*/ 100875 h 1073543"/>
                <a:gd name="connsiteX5" fmla="*/ 1584003 w 2150329"/>
                <a:gd name="connsiteY5" fmla="*/ 0 h 1073543"/>
                <a:gd name="connsiteX6" fmla="*/ 2150329 w 2150329"/>
                <a:gd name="connsiteY6" fmla="*/ 0 h 1073543"/>
                <a:gd name="connsiteX7" fmla="*/ 2144864 w 2150329"/>
                <a:gd name="connsiteY7" fmla="*/ 108229 h 1073543"/>
                <a:gd name="connsiteX8" fmla="*/ 1075164 w 2150329"/>
                <a:gd name="connsiteY8" fmla="*/ 1073543 h 1073543"/>
                <a:gd name="connsiteX9" fmla="*/ 5465 w 2150329"/>
                <a:gd name="connsiteY9" fmla="*/ 108229 h 107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0329" h="1073543">
                  <a:moveTo>
                    <a:pt x="0" y="0"/>
                  </a:moveTo>
                  <a:lnTo>
                    <a:pt x="566326" y="0"/>
                  </a:lnTo>
                  <a:lnTo>
                    <a:pt x="576495" y="100875"/>
                  </a:lnTo>
                  <a:cubicBezTo>
                    <a:pt x="623958" y="332823"/>
                    <a:pt x="829185" y="507303"/>
                    <a:pt x="1075164" y="507303"/>
                  </a:cubicBezTo>
                  <a:cubicBezTo>
                    <a:pt x="1321144" y="507303"/>
                    <a:pt x="1526371" y="332823"/>
                    <a:pt x="1573834" y="100875"/>
                  </a:cubicBezTo>
                  <a:lnTo>
                    <a:pt x="1584003" y="0"/>
                  </a:lnTo>
                  <a:lnTo>
                    <a:pt x="2150329" y="0"/>
                  </a:lnTo>
                  <a:lnTo>
                    <a:pt x="2144864" y="108229"/>
                  </a:lnTo>
                  <a:cubicBezTo>
                    <a:pt x="2089800" y="650432"/>
                    <a:pt x="1631893" y="1073543"/>
                    <a:pt x="1075164" y="1073543"/>
                  </a:cubicBezTo>
                  <a:cubicBezTo>
                    <a:pt x="518435" y="1073543"/>
                    <a:pt x="60528" y="650432"/>
                    <a:pt x="5465" y="108229"/>
                  </a:cubicBezTo>
                  <a:close/>
                </a:path>
              </a:pathLst>
            </a:custGeom>
            <a:gradFill>
              <a:gsLst>
                <a:gs pos="0">
                  <a:srgbClr val="62B5E5"/>
                </a:gs>
                <a:gs pos="100000">
                  <a:srgbClr val="00A3E0"/>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sp>
          <p:nvSpPr>
            <p:cNvPr id="26" name="Freeform: Shape 25">
              <a:extLst>
                <a:ext uri="{FF2B5EF4-FFF2-40B4-BE49-F238E27FC236}">
                  <a16:creationId xmlns:a16="http://schemas.microsoft.com/office/drawing/2014/main" id="{C96857E6-D163-72D9-223F-F450605EE0CA}"/>
                </a:ext>
              </a:extLst>
            </p:cNvPr>
            <p:cNvSpPr/>
            <p:nvPr/>
          </p:nvSpPr>
          <p:spPr>
            <a:xfrm>
              <a:off x="3604636" y="2368356"/>
              <a:ext cx="4973182" cy="1081335"/>
            </a:xfrm>
            <a:custGeom>
              <a:avLst/>
              <a:gdLst>
                <a:gd name="connsiteX0" fmla="*/ 866836 w 4009365"/>
                <a:gd name="connsiteY0" fmla="*/ 724294 h 871769"/>
                <a:gd name="connsiteX1" fmla="*/ 849304 w 4009365"/>
                <a:gd name="connsiteY1" fmla="*/ 748048 h 871769"/>
                <a:gd name="connsiteX2" fmla="*/ 866366 w 4009365"/>
                <a:gd name="connsiteY2" fmla="*/ 748048 h 871769"/>
                <a:gd name="connsiteX3" fmla="*/ 812000 w 4009365"/>
                <a:gd name="connsiteY3" fmla="*/ 724294 h 871769"/>
                <a:gd name="connsiteX4" fmla="*/ 812470 w 4009365"/>
                <a:gd name="connsiteY4" fmla="*/ 748048 h 871769"/>
                <a:gd name="connsiteX5" fmla="*/ 829532 w 4009365"/>
                <a:gd name="connsiteY5" fmla="*/ 748048 h 871769"/>
                <a:gd name="connsiteX6" fmla="*/ 99044 w 4009365"/>
                <a:gd name="connsiteY6" fmla="*/ 724294 h 871769"/>
                <a:gd name="connsiteX7" fmla="*/ 81511 w 4009365"/>
                <a:gd name="connsiteY7" fmla="*/ 748048 h 871769"/>
                <a:gd name="connsiteX8" fmla="*/ 98574 w 4009365"/>
                <a:gd name="connsiteY8" fmla="*/ 748048 h 871769"/>
                <a:gd name="connsiteX9" fmla="*/ 44207 w 4009365"/>
                <a:gd name="connsiteY9" fmla="*/ 724294 h 871769"/>
                <a:gd name="connsiteX10" fmla="*/ 44677 w 4009365"/>
                <a:gd name="connsiteY10" fmla="*/ 748048 h 871769"/>
                <a:gd name="connsiteX11" fmla="*/ 61739 w 4009365"/>
                <a:gd name="connsiteY11" fmla="*/ 748048 h 871769"/>
                <a:gd name="connsiteX12" fmla="*/ 870265 w 4009365"/>
                <a:gd name="connsiteY12" fmla="*/ 719648 h 871769"/>
                <a:gd name="connsiteX13" fmla="*/ 869159 w 4009365"/>
                <a:gd name="connsiteY13" fmla="*/ 721141 h 871769"/>
                <a:gd name="connsiteX14" fmla="*/ 868634 w 4009365"/>
                <a:gd name="connsiteY14" fmla="*/ 748048 h 871769"/>
                <a:gd name="connsiteX15" fmla="*/ 868606 w 4009365"/>
                <a:gd name="connsiteY15" fmla="*/ 748076 h 871769"/>
                <a:gd name="connsiteX16" fmla="*/ 888461 w 4009365"/>
                <a:gd name="connsiteY16" fmla="*/ 748076 h 871769"/>
                <a:gd name="connsiteX17" fmla="*/ 870265 w 4009365"/>
                <a:gd name="connsiteY17" fmla="*/ 719648 h 871769"/>
                <a:gd name="connsiteX18" fmla="*/ 808543 w 4009365"/>
                <a:gd name="connsiteY18" fmla="*/ 719648 h 871769"/>
                <a:gd name="connsiteX19" fmla="*/ 790348 w 4009365"/>
                <a:gd name="connsiteY19" fmla="*/ 748048 h 871769"/>
                <a:gd name="connsiteX20" fmla="*/ 810175 w 4009365"/>
                <a:gd name="connsiteY20" fmla="*/ 748048 h 871769"/>
                <a:gd name="connsiteX21" fmla="*/ 809649 w 4009365"/>
                <a:gd name="connsiteY21" fmla="*/ 721141 h 871769"/>
                <a:gd name="connsiteX22" fmla="*/ 808543 w 4009365"/>
                <a:gd name="connsiteY22" fmla="*/ 719648 h 871769"/>
                <a:gd name="connsiteX23" fmla="*/ 102500 w 4009365"/>
                <a:gd name="connsiteY23" fmla="*/ 719648 h 871769"/>
                <a:gd name="connsiteX24" fmla="*/ 101366 w 4009365"/>
                <a:gd name="connsiteY24" fmla="*/ 721141 h 871769"/>
                <a:gd name="connsiteX25" fmla="*/ 100841 w 4009365"/>
                <a:gd name="connsiteY25" fmla="*/ 748048 h 871769"/>
                <a:gd name="connsiteX26" fmla="*/ 100841 w 4009365"/>
                <a:gd name="connsiteY26" fmla="*/ 748076 h 871769"/>
                <a:gd name="connsiteX27" fmla="*/ 120696 w 4009365"/>
                <a:gd name="connsiteY27" fmla="*/ 748076 h 871769"/>
                <a:gd name="connsiteX28" fmla="*/ 102500 w 4009365"/>
                <a:gd name="connsiteY28" fmla="*/ 719648 h 871769"/>
                <a:gd name="connsiteX29" fmla="*/ 40751 w 4009365"/>
                <a:gd name="connsiteY29" fmla="*/ 719648 h 871769"/>
                <a:gd name="connsiteX30" fmla="*/ 22555 w 4009365"/>
                <a:gd name="connsiteY30" fmla="*/ 748048 h 871769"/>
                <a:gd name="connsiteX31" fmla="*/ 42382 w 4009365"/>
                <a:gd name="connsiteY31" fmla="*/ 748048 h 871769"/>
                <a:gd name="connsiteX32" fmla="*/ 41857 w 4009365"/>
                <a:gd name="connsiteY32" fmla="*/ 721141 h 871769"/>
                <a:gd name="connsiteX33" fmla="*/ 40751 w 4009365"/>
                <a:gd name="connsiteY33" fmla="*/ 719648 h 871769"/>
                <a:gd name="connsiteX34" fmla="*/ 925793 w 4009365"/>
                <a:gd name="connsiteY34" fmla="*/ 710661 h 871769"/>
                <a:gd name="connsiteX35" fmla="*/ 925434 w 4009365"/>
                <a:gd name="connsiteY35" fmla="*/ 748048 h 871769"/>
                <a:gd name="connsiteX36" fmla="*/ 953529 w 4009365"/>
                <a:gd name="connsiteY36" fmla="*/ 748048 h 871769"/>
                <a:gd name="connsiteX37" fmla="*/ 753016 w 4009365"/>
                <a:gd name="connsiteY37" fmla="*/ 710661 h 871769"/>
                <a:gd name="connsiteX38" fmla="*/ 725279 w 4009365"/>
                <a:gd name="connsiteY38" fmla="*/ 748048 h 871769"/>
                <a:gd name="connsiteX39" fmla="*/ 753375 w 4009365"/>
                <a:gd name="connsiteY39" fmla="*/ 748048 h 871769"/>
                <a:gd name="connsiteX40" fmla="*/ 157973 w 4009365"/>
                <a:gd name="connsiteY40" fmla="*/ 710661 h 871769"/>
                <a:gd name="connsiteX41" fmla="*/ 157613 w 4009365"/>
                <a:gd name="connsiteY41" fmla="*/ 748048 h 871769"/>
                <a:gd name="connsiteX42" fmla="*/ 185709 w 4009365"/>
                <a:gd name="connsiteY42" fmla="*/ 748048 h 871769"/>
                <a:gd name="connsiteX43" fmla="*/ 1192454 w 4009365"/>
                <a:gd name="connsiteY43" fmla="*/ 709250 h 871769"/>
                <a:gd name="connsiteX44" fmla="*/ 1172184 w 4009365"/>
                <a:gd name="connsiteY44" fmla="*/ 748020 h 871769"/>
                <a:gd name="connsiteX45" fmla="*/ 1172211 w 4009365"/>
                <a:gd name="connsiteY45" fmla="*/ 748020 h 871769"/>
                <a:gd name="connsiteX46" fmla="*/ 1192730 w 4009365"/>
                <a:gd name="connsiteY46" fmla="*/ 748020 h 871769"/>
                <a:gd name="connsiteX47" fmla="*/ 486383 w 4009365"/>
                <a:gd name="connsiteY47" fmla="*/ 709250 h 871769"/>
                <a:gd name="connsiteX48" fmla="*/ 486106 w 4009365"/>
                <a:gd name="connsiteY48" fmla="*/ 748020 h 871769"/>
                <a:gd name="connsiteX49" fmla="*/ 486134 w 4009365"/>
                <a:gd name="connsiteY49" fmla="*/ 748020 h 871769"/>
                <a:gd name="connsiteX50" fmla="*/ 506653 w 4009365"/>
                <a:gd name="connsiteY50" fmla="*/ 748020 h 871769"/>
                <a:gd name="connsiteX51" fmla="*/ 424633 w 4009365"/>
                <a:gd name="connsiteY51" fmla="*/ 709250 h 871769"/>
                <a:gd name="connsiteX52" fmla="*/ 404363 w 4009365"/>
                <a:gd name="connsiteY52" fmla="*/ 748020 h 871769"/>
                <a:gd name="connsiteX53" fmla="*/ 404391 w 4009365"/>
                <a:gd name="connsiteY53" fmla="*/ 748020 h 871769"/>
                <a:gd name="connsiteX54" fmla="*/ 424910 w 4009365"/>
                <a:gd name="connsiteY54" fmla="*/ 748020 h 871769"/>
                <a:gd name="connsiteX55" fmla="*/ 843193 w 4009365"/>
                <a:gd name="connsiteY55" fmla="*/ 707564 h 871769"/>
                <a:gd name="connsiteX56" fmla="*/ 843193 w 4009365"/>
                <a:gd name="connsiteY56" fmla="*/ 748048 h 871769"/>
                <a:gd name="connsiteX57" fmla="*/ 843469 w 4009365"/>
                <a:gd name="connsiteY57" fmla="*/ 748048 h 871769"/>
                <a:gd name="connsiteX58" fmla="*/ 865896 w 4009365"/>
                <a:gd name="connsiteY58" fmla="*/ 717685 h 871769"/>
                <a:gd name="connsiteX59" fmla="*/ 835643 w 4009365"/>
                <a:gd name="connsiteY59" fmla="*/ 707564 h 871769"/>
                <a:gd name="connsiteX60" fmla="*/ 812940 w 4009365"/>
                <a:gd name="connsiteY60" fmla="*/ 717685 h 871769"/>
                <a:gd name="connsiteX61" fmla="*/ 835339 w 4009365"/>
                <a:gd name="connsiteY61" fmla="*/ 748048 h 871769"/>
                <a:gd name="connsiteX62" fmla="*/ 835643 w 4009365"/>
                <a:gd name="connsiteY62" fmla="*/ 748048 h 871769"/>
                <a:gd name="connsiteX63" fmla="*/ 75372 w 4009365"/>
                <a:gd name="connsiteY63" fmla="*/ 707564 h 871769"/>
                <a:gd name="connsiteX64" fmla="*/ 75372 w 4009365"/>
                <a:gd name="connsiteY64" fmla="*/ 748048 h 871769"/>
                <a:gd name="connsiteX65" fmla="*/ 75649 w 4009365"/>
                <a:gd name="connsiteY65" fmla="*/ 748048 h 871769"/>
                <a:gd name="connsiteX66" fmla="*/ 98076 w 4009365"/>
                <a:gd name="connsiteY66" fmla="*/ 717685 h 871769"/>
                <a:gd name="connsiteX67" fmla="*/ 67851 w 4009365"/>
                <a:gd name="connsiteY67" fmla="*/ 707564 h 871769"/>
                <a:gd name="connsiteX68" fmla="*/ 45147 w 4009365"/>
                <a:gd name="connsiteY68" fmla="*/ 717685 h 871769"/>
                <a:gd name="connsiteX69" fmla="*/ 67547 w 4009365"/>
                <a:gd name="connsiteY69" fmla="*/ 748048 h 871769"/>
                <a:gd name="connsiteX70" fmla="*/ 67851 w 4009365"/>
                <a:gd name="connsiteY70" fmla="*/ 748048 h 871769"/>
                <a:gd name="connsiteX71" fmla="*/ 543017 w 4009365"/>
                <a:gd name="connsiteY71" fmla="*/ 706872 h 871769"/>
                <a:gd name="connsiteX72" fmla="*/ 543017 w 4009365"/>
                <a:gd name="connsiteY72" fmla="*/ 748020 h 871769"/>
                <a:gd name="connsiteX73" fmla="*/ 565858 w 4009365"/>
                <a:gd name="connsiteY73" fmla="*/ 748020 h 871769"/>
                <a:gd name="connsiteX74" fmla="*/ 1135820 w 4009365"/>
                <a:gd name="connsiteY74" fmla="*/ 706845 h 871769"/>
                <a:gd name="connsiteX75" fmla="*/ 1112978 w 4009365"/>
                <a:gd name="connsiteY75" fmla="*/ 747993 h 871769"/>
                <a:gd name="connsiteX76" fmla="*/ 1135820 w 4009365"/>
                <a:gd name="connsiteY76" fmla="*/ 747993 h 871769"/>
                <a:gd name="connsiteX77" fmla="*/ 367999 w 4009365"/>
                <a:gd name="connsiteY77" fmla="*/ 706845 h 871769"/>
                <a:gd name="connsiteX78" fmla="*/ 345158 w 4009365"/>
                <a:gd name="connsiteY78" fmla="*/ 747993 h 871769"/>
                <a:gd name="connsiteX79" fmla="*/ 367999 w 4009365"/>
                <a:gd name="connsiteY79" fmla="*/ 747993 h 871769"/>
                <a:gd name="connsiteX80" fmla="*/ 1194666 w 4009365"/>
                <a:gd name="connsiteY80" fmla="*/ 706070 h 871769"/>
                <a:gd name="connsiteX81" fmla="*/ 1194970 w 4009365"/>
                <a:gd name="connsiteY81" fmla="*/ 748020 h 871769"/>
                <a:gd name="connsiteX82" fmla="*/ 1215516 w 4009365"/>
                <a:gd name="connsiteY82" fmla="*/ 748020 h 871769"/>
                <a:gd name="connsiteX83" fmla="*/ 484143 w 4009365"/>
                <a:gd name="connsiteY83" fmla="*/ 706070 h 871769"/>
                <a:gd name="connsiteX84" fmla="*/ 463292 w 4009365"/>
                <a:gd name="connsiteY84" fmla="*/ 748020 h 871769"/>
                <a:gd name="connsiteX85" fmla="*/ 483839 w 4009365"/>
                <a:gd name="connsiteY85" fmla="*/ 748020 h 871769"/>
                <a:gd name="connsiteX86" fmla="*/ 426873 w 4009365"/>
                <a:gd name="connsiteY86" fmla="*/ 706070 h 871769"/>
                <a:gd name="connsiteX87" fmla="*/ 427150 w 4009365"/>
                <a:gd name="connsiteY87" fmla="*/ 748020 h 871769"/>
                <a:gd name="connsiteX88" fmla="*/ 427177 w 4009365"/>
                <a:gd name="connsiteY88" fmla="*/ 748020 h 871769"/>
                <a:gd name="connsiteX89" fmla="*/ 447724 w 4009365"/>
                <a:gd name="connsiteY89" fmla="*/ 748020 h 871769"/>
                <a:gd name="connsiteX90" fmla="*/ 601531 w 4009365"/>
                <a:gd name="connsiteY90" fmla="*/ 705932 h 871769"/>
                <a:gd name="connsiteX91" fmla="*/ 601807 w 4009365"/>
                <a:gd name="connsiteY91" fmla="*/ 748048 h 871769"/>
                <a:gd name="connsiteX92" fmla="*/ 623709 w 4009365"/>
                <a:gd name="connsiteY92" fmla="*/ 748048 h 871769"/>
                <a:gd name="connsiteX93" fmla="*/ 1077278 w 4009365"/>
                <a:gd name="connsiteY93" fmla="*/ 705904 h 871769"/>
                <a:gd name="connsiteX94" fmla="*/ 1055100 w 4009365"/>
                <a:gd name="connsiteY94" fmla="*/ 748020 h 871769"/>
                <a:gd name="connsiteX95" fmla="*/ 1077001 w 4009365"/>
                <a:gd name="connsiteY95" fmla="*/ 748020 h 871769"/>
                <a:gd name="connsiteX96" fmla="*/ 309485 w 4009365"/>
                <a:gd name="connsiteY96" fmla="*/ 705904 h 871769"/>
                <a:gd name="connsiteX97" fmla="*/ 287307 w 4009365"/>
                <a:gd name="connsiteY97" fmla="*/ 748020 h 871769"/>
                <a:gd name="connsiteX98" fmla="*/ 309208 w 4009365"/>
                <a:gd name="connsiteY98" fmla="*/ 748020 h 871769"/>
                <a:gd name="connsiteX99" fmla="*/ 540749 w 4009365"/>
                <a:gd name="connsiteY99" fmla="*/ 705407 h 871769"/>
                <a:gd name="connsiteX100" fmla="*/ 516635 w 4009365"/>
                <a:gd name="connsiteY100" fmla="*/ 748020 h 871769"/>
                <a:gd name="connsiteX101" fmla="*/ 540749 w 4009365"/>
                <a:gd name="connsiteY101" fmla="*/ 748020 h 871769"/>
                <a:gd name="connsiteX102" fmla="*/ 1138087 w 4009365"/>
                <a:gd name="connsiteY102" fmla="*/ 705379 h 871769"/>
                <a:gd name="connsiteX103" fmla="*/ 1138087 w 4009365"/>
                <a:gd name="connsiteY103" fmla="*/ 747993 h 871769"/>
                <a:gd name="connsiteX104" fmla="*/ 1162201 w 4009365"/>
                <a:gd name="connsiteY104" fmla="*/ 747993 h 871769"/>
                <a:gd name="connsiteX105" fmla="*/ 370267 w 4009365"/>
                <a:gd name="connsiteY105" fmla="*/ 705379 h 871769"/>
                <a:gd name="connsiteX106" fmla="*/ 370267 w 4009365"/>
                <a:gd name="connsiteY106" fmla="*/ 747993 h 871769"/>
                <a:gd name="connsiteX107" fmla="*/ 394353 w 4009365"/>
                <a:gd name="connsiteY107" fmla="*/ 747993 h 871769"/>
                <a:gd name="connsiteX108" fmla="*/ 630871 w 4009365"/>
                <a:gd name="connsiteY108" fmla="*/ 704854 h 871769"/>
                <a:gd name="connsiteX109" fmla="*/ 630871 w 4009365"/>
                <a:gd name="connsiteY109" fmla="*/ 748048 h 871769"/>
                <a:gd name="connsiteX110" fmla="*/ 654183 w 4009365"/>
                <a:gd name="connsiteY110" fmla="*/ 748048 h 871769"/>
                <a:gd name="connsiteX111" fmla="*/ 1047938 w 4009365"/>
                <a:gd name="connsiteY111" fmla="*/ 704826 h 871769"/>
                <a:gd name="connsiteX112" fmla="*/ 1024626 w 4009365"/>
                <a:gd name="connsiteY112" fmla="*/ 748020 h 871769"/>
                <a:gd name="connsiteX113" fmla="*/ 1047938 w 4009365"/>
                <a:gd name="connsiteY113" fmla="*/ 748020 h 871769"/>
                <a:gd name="connsiteX114" fmla="*/ 280117 w 4009365"/>
                <a:gd name="connsiteY114" fmla="*/ 704826 h 871769"/>
                <a:gd name="connsiteX115" fmla="*/ 256805 w 4009365"/>
                <a:gd name="connsiteY115" fmla="*/ 748020 h 871769"/>
                <a:gd name="connsiteX116" fmla="*/ 280117 w 4009365"/>
                <a:gd name="connsiteY116" fmla="*/ 748020 h 871769"/>
                <a:gd name="connsiteX117" fmla="*/ 599236 w 4009365"/>
                <a:gd name="connsiteY117" fmla="*/ 703554 h 871769"/>
                <a:gd name="connsiteX118" fmla="*/ 575813 w 4009365"/>
                <a:gd name="connsiteY118" fmla="*/ 748048 h 871769"/>
                <a:gd name="connsiteX119" fmla="*/ 599540 w 4009365"/>
                <a:gd name="connsiteY119" fmla="*/ 748048 h 871769"/>
                <a:gd name="connsiteX120" fmla="*/ 1079573 w 4009365"/>
                <a:gd name="connsiteY120" fmla="*/ 703526 h 871769"/>
                <a:gd name="connsiteX121" fmla="*/ 1079269 w 4009365"/>
                <a:gd name="connsiteY121" fmla="*/ 748020 h 871769"/>
                <a:gd name="connsiteX122" fmla="*/ 1102995 w 4009365"/>
                <a:gd name="connsiteY122" fmla="*/ 748020 h 871769"/>
                <a:gd name="connsiteX123" fmla="*/ 311780 w 4009365"/>
                <a:gd name="connsiteY123" fmla="*/ 703526 h 871769"/>
                <a:gd name="connsiteX124" fmla="*/ 311476 w 4009365"/>
                <a:gd name="connsiteY124" fmla="*/ 748020 h 871769"/>
                <a:gd name="connsiteX125" fmla="*/ 335202 w 4009365"/>
                <a:gd name="connsiteY125" fmla="*/ 748020 h 871769"/>
                <a:gd name="connsiteX126" fmla="*/ 511298 w 4009365"/>
                <a:gd name="connsiteY126" fmla="*/ 700318 h 871769"/>
                <a:gd name="connsiteX127" fmla="*/ 486964 w 4009365"/>
                <a:gd name="connsiteY127" fmla="*/ 700429 h 871769"/>
                <a:gd name="connsiteX128" fmla="*/ 510386 w 4009365"/>
                <a:gd name="connsiteY128" fmla="*/ 745200 h 871769"/>
                <a:gd name="connsiteX129" fmla="*/ 510386 w 4009365"/>
                <a:gd name="connsiteY129" fmla="*/ 745227 h 871769"/>
                <a:gd name="connsiteX130" fmla="*/ 399690 w 4009365"/>
                <a:gd name="connsiteY130" fmla="*/ 700291 h 871769"/>
                <a:gd name="connsiteX131" fmla="*/ 400630 w 4009365"/>
                <a:gd name="connsiteY131" fmla="*/ 745172 h 871769"/>
                <a:gd name="connsiteX132" fmla="*/ 424025 w 4009365"/>
                <a:gd name="connsiteY132" fmla="*/ 700401 h 871769"/>
                <a:gd name="connsiteX133" fmla="*/ 1167538 w 4009365"/>
                <a:gd name="connsiteY133" fmla="*/ 700263 h 871769"/>
                <a:gd name="connsiteX134" fmla="*/ 1167510 w 4009365"/>
                <a:gd name="connsiteY134" fmla="*/ 700291 h 871769"/>
                <a:gd name="connsiteX135" fmla="*/ 1167538 w 4009365"/>
                <a:gd name="connsiteY135" fmla="*/ 700291 h 871769"/>
                <a:gd name="connsiteX136" fmla="*/ 1168451 w 4009365"/>
                <a:gd name="connsiteY136" fmla="*/ 745172 h 871769"/>
                <a:gd name="connsiteX137" fmla="*/ 1191845 w 4009365"/>
                <a:gd name="connsiteY137" fmla="*/ 700401 h 871769"/>
                <a:gd name="connsiteX138" fmla="*/ 1167538 w 4009365"/>
                <a:gd name="connsiteY138" fmla="*/ 700291 h 871769"/>
                <a:gd name="connsiteX139" fmla="*/ 457789 w 4009365"/>
                <a:gd name="connsiteY139" fmla="*/ 700263 h 871769"/>
                <a:gd name="connsiteX140" fmla="*/ 457789 w 4009365"/>
                <a:gd name="connsiteY140" fmla="*/ 748020 h 871769"/>
                <a:gd name="connsiteX141" fmla="*/ 458149 w 4009365"/>
                <a:gd name="connsiteY141" fmla="*/ 748020 h 871769"/>
                <a:gd name="connsiteX142" fmla="*/ 481792 w 4009365"/>
                <a:gd name="connsiteY142" fmla="*/ 700401 h 871769"/>
                <a:gd name="connsiteX143" fmla="*/ 457789 w 4009365"/>
                <a:gd name="connsiteY143" fmla="*/ 700263 h 871769"/>
                <a:gd name="connsiteX144" fmla="*/ 453199 w 4009365"/>
                <a:gd name="connsiteY144" fmla="*/ 700263 h 871769"/>
                <a:gd name="connsiteX145" fmla="*/ 429196 w 4009365"/>
                <a:gd name="connsiteY145" fmla="*/ 700401 h 871769"/>
                <a:gd name="connsiteX146" fmla="*/ 452839 w 4009365"/>
                <a:gd name="connsiteY146" fmla="*/ 748020 h 871769"/>
                <a:gd name="connsiteX147" fmla="*/ 453199 w 4009365"/>
                <a:gd name="connsiteY147" fmla="*/ 748020 h 871769"/>
                <a:gd name="connsiteX148" fmla="*/ 1140272 w 4009365"/>
                <a:gd name="connsiteY148" fmla="*/ 699848 h 871769"/>
                <a:gd name="connsiteX149" fmla="*/ 1166183 w 4009365"/>
                <a:gd name="connsiteY149" fmla="*/ 745670 h 871769"/>
                <a:gd name="connsiteX150" fmla="*/ 1165243 w 4009365"/>
                <a:gd name="connsiteY150" fmla="*/ 700263 h 871769"/>
                <a:gd name="connsiteX151" fmla="*/ 1140272 w 4009365"/>
                <a:gd name="connsiteY151" fmla="*/ 699848 h 871769"/>
                <a:gd name="connsiteX152" fmla="*/ 538537 w 4009365"/>
                <a:gd name="connsiteY152" fmla="*/ 699848 h 871769"/>
                <a:gd name="connsiteX153" fmla="*/ 513566 w 4009365"/>
                <a:gd name="connsiteY153" fmla="*/ 700263 h 871769"/>
                <a:gd name="connsiteX154" fmla="*/ 512626 w 4009365"/>
                <a:gd name="connsiteY154" fmla="*/ 745670 h 871769"/>
                <a:gd name="connsiteX155" fmla="*/ 372424 w 4009365"/>
                <a:gd name="connsiteY155" fmla="*/ 699848 h 871769"/>
                <a:gd name="connsiteX156" fmla="*/ 398363 w 4009365"/>
                <a:gd name="connsiteY156" fmla="*/ 745670 h 871769"/>
                <a:gd name="connsiteX157" fmla="*/ 397422 w 4009365"/>
                <a:gd name="connsiteY157" fmla="*/ 700263 h 871769"/>
                <a:gd name="connsiteX158" fmla="*/ 372451 w 4009365"/>
                <a:gd name="connsiteY158" fmla="*/ 699848 h 871769"/>
                <a:gd name="connsiteX159" fmla="*/ 570504 w 4009365"/>
                <a:gd name="connsiteY159" fmla="*/ 698936 h 871769"/>
                <a:gd name="connsiteX160" fmla="*/ 544344 w 4009365"/>
                <a:gd name="connsiteY160" fmla="*/ 699738 h 871769"/>
                <a:gd name="connsiteX161" fmla="*/ 570172 w 4009365"/>
                <a:gd name="connsiteY161" fmla="*/ 746256 h 871769"/>
                <a:gd name="connsiteX162" fmla="*/ 570172 w 4009365"/>
                <a:gd name="connsiteY162" fmla="*/ 746306 h 871769"/>
                <a:gd name="connsiteX163" fmla="*/ 570200 w 4009365"/>
                <a:gd name="connsiteY163" fmla="*/ 746306 h 871769"/>
                <a:gd name="connsiteX164" fmla="*/ 570172 w 4009365"/>
                <a:gd name="connsiteY164" fmla="*/ 746256 h 871769"/>
                <a:gd name="connsiteX165" fmla="*/ 1108305 w 4009365"/>
                <a:gd name="connsiteY165" fmla="*/ 698908 h 871769"/>
                <a:gd name="connsiteX166" fmla="*/ 1108637 w 4009365"/>
                <a:gd name="connsiteY166" fmla="*/ 746278 h 871769"/>
                <a:gd name="connsiteX167" fmla="*/ 1134465 w 4009365"/>
                <a:gd name="connsiteY167" fmla="*/ 699710 h 871769"/>
                <a:gd name="connsiteX168" fmla="*/ 1108305 w 4009365"/>
                <a:gd name="connsiteY168" fmla="*/ 698908 h 871769"/>
                <a:gd name="connsiteX169" fmla="*/ 340484 w 4009365"/>
                <a:gd name="connsiteY169" fmla="*/ 698908 h 871769"/>
                <a:gd name="connsiteX170" fmla="*/ 340816 w 4009365"/>
                <a:gd name="connsiteY170" fmla="*/ 746278 h 871769"/>
                <a:gd name="connsiteX171" fmla="*/ 366644 w 4009365"/>
                <a:gd name="connsiteY171" fmla="*/ 699710 h 871769"/>
                <a:gd name="connsiteX172" fmla="*/ 340484 w 4009365"/>
                <a:gd name="connsiteY172" fmla="*/ 698908 h 871769"/>
                <a:gd name="connsiteX173" fmla="*/ 989783 w 4009365"/>
                <a:gd name="connsiteY173" fmla="*/ 698272 h 871769"/>
                <a:gd name="connsiteX174" fmla="*/ 964508 w 4009365"/>
                <a:gd name="connsiteY174" fmla="*/ 748048 h 871769"/>
                <a:gd name="connsiteX175" fmla="*/ 989202 w 4009365"/>
                <a:gd name="connsiteY175" fmla="*/ 748048 h 871769"/>
                <a:gd name="connsiteX176" fmla="*/ 689054 w 4009365"/>
                <a:gd name="connsiteY176" fmla="*/ 698272 h 871769"/>
                <a:gd name="connsiteX177" fmla="*/ 689634 w 4009365"/>
                <a:gd name="connsiteY177" fmla="*/ 748048 h 871769"/>
                <a:gd name="connsiteX178" fmla="*/ 714329 w 4009365"/>
                <a:gd name="connsiteY178" fmla="*/ 748048 h 871769"/>
                <a:gd name="connsiteX179" fmla="*/ 221962 w 4009365"/>
                <a:gd name="connsiteY179" fmla="*/ 698272 h 871769"/>
                <a:gd name="connsiteX180" fmla="*/ 196687 w 4009365"/>
                <a:gd name="connsiteY180" fmla="*/ 748048 h 871769"/>
                <a:gd name="connsiteX181" fmla="*/ 221354 w 4009365"/>
                <a:gd name="connsiteY181" fmla="*/ 748048 h 871769"/>
                <a:gd name="connsiteX182" fmla="*/ 597079 w 4009365"/>
                <a:gd name="connsiteY182" fmla="*/ 697747 h 871769"/>
                <a:gd name="connsiteX183" fmla="*/ 572799 w 4009365"/>
                <a:gd name="connsiteY183" fmla="*/ 698853 h 871769"/>
                <a:gd name="connsiteX184" fmla="*/ 572495 w 4009365"/>
                <a:gd name="connsiteY184" fmla="*/ 744453 h 871769"/>
                <a:gd name="connsiteX185" fmla="*/ 1081757 w 4009365"/>
                <a:gd name="connsiteY185" fmla="*/ 697719 h 871769"/>
                <a:gd name="connsiteX186" fmla="*/ 1106341 w 4009365"/>
                <a:gd name="connsiteY186" fmla="*/ 744425 h 871769"/>
                <a:gd name="connsiteX187" fmla="*/ 1106037 w 4009365"/>
                <a:gd name="connsiteY187" fmla="*/ 698825 h 871769"/>
                <a:gd name="connsiteX188" fmla="*/ 1081757 w 4009365"/>
                <a:gd name="connsiteY188" fmla="*/ 697719 h 871769"/>
                <a:gd name="connsiteX189" fmla="*/ 313937 w 4009365"/>
                <a:gd name="connsiteY189" fmla="*/ 697719 h 871769"/>
                <a:gd name="connsiteX190" fmla="*/ 338549 w 4009365"/>
                <a:gd name="connsiteY190" fmla="*/ 744425 h 871769"/>
                <a:gd name="connsiteX191" fmla="*/ 338217 w 4009365"/>
                <a:gd name="connsiteY191" fmla="*/ 698825 h 871769"/>
                <a:gd name="connsiteX192" fmla="*/ 313937 w 4009365"/>
                <a:gd name="connsiteY192" fmla="*/ 697719 h 871769"/>
                <a:gd name="connsiteX193" fmla="*/ 992050 w 4009365"/>
                <a:gd name="connsiteY193" fmla="*/ 697276 h 871769"/>
                <a:gd name="connsiteX194" fmla="*/ 991442 w 4009365"/>
                <a:gd name="connsiteY194" fmla="*/ 748048 h 871769"/>
                <a:gd name="connsiteX195" fmla="*/ 1015168 w 4009365"/>
                <a:gd name="connsiteY195" fmla="*/ 748048 h 871769"/>
                <a:gd name="connsiteX196" fmla="*/ 686758 w 4009365"/>
                <a:gd name="connsiteY196" fmla="*/ 697276 h 871769"/>
                <a:gd name="connsiteX197" fmla="*/ 663668 w 4009365"/>
                <a:gd name="connsiteY197" fmla="*/ 748048 h 871769"/>
                <a:gd name="connsiteX198" fmla="*/ 687367 w 4009365"/>
                <a:gd name="connsiteY198" fmla="*/ 748048 h 871769"/>
                <a:gd name="connsiteX199" fmla="*/ 224258 w 4009365"/>
                <a:gd name="connsiteY199" fmla="*/ 697276 h 871769"/>
                <a:gd name="connsiteX200" fmla="*/ 223649 w 4009365"/>
                <a:gd name="connsiteY200" fmla="*/ 748048 h 871769"/>
                <a:gd name="connsiteX201" fmla="*/ 223677 w 4009365"/>
                <a:gd name="connsiteY201" fmla="*/ 748048 h 871769"/>
                <a:gd name="connsiteX202" fmla="*/ 247376 w 4009365"/>
                <a:gd name="connsiteY202" fmla="*/ 748048 h 871769"/>
                <a:gd name="connsiteX203" fmla="*/ 626364 w 4009365"/>
                <a:gd name="connsiteY203" fmla="*/ 695949 h 871769"/>
                <a:gd name="connsiteX204" fmla="*/ 602305 w 4009365"/>
                <a:gd name="connsiteY204" fmla="*/ 697470 h 871769"/>
                <a:gd name="connsiteX205" fmla="*/ 626364 w 4009365"/>
                <a:gd name="connsiteY205" fmla="*/ 743126 h 871769"/>
                <a:gd name="connsiteX206" fmla="*/ 1052473 w 4009365"/>
                <a:gd name="connsiteY206" fmla="*/ 695922 h 871769"/>
                <a:gd name="connsiteX207" fmla="*/ 1052473 w 4009365"/>
                <a:gd name="connsiteY207" fmla="*/ 743098 h 871769"/>
                <a:gd name="connsiteX208" fmla="*/ 1076531 w 4009365"/>
                <a:gd name="connsiteY208" fmla="*/ 697442 h 871769"/>
                <a:gd name="connsiteX209" fmla="*/ 1052473 w 4009365"/>
                <a:gd name="connsiteY209" fmla="*/ 695922 h 871769"/>
                <a:gd name="connsiteX210" fmla="*/ 284652 w 4009365"/>
                <a:gd name="connsiteY210" fmla="*/ 695922 h 871769"/>
                <a:gd name="connsiteX211" fmla="*/ 284652 w 4009365"/>
                <a:gd name="connsiteY211" fmla="*/ 743098 h 871769"/>
                <a:gd name="connsiteX212" fmla="*/ 308711 w 4009365"/>
                <a:gd name="connsiteY212" fmla="*/ 697442 h 871769"/>
                <a:gd name="connsiteX213" fmla="*/ 284652 w 4009365"/>
                <a:gd name="connsiteY213" fmla="*/ 695922 h 871769"/>
                <a:gd name="connsiteX214" fmla="*/ 658801 w 4009365"/>
                <a:gd name="connsiteY214" fmla="*/ 693239 h 871769"/>
                <a:gd name="connsiteX215" fmla="*/ 631120 w 4009365"/>
                <a:gd name="connsiteY215" fmla="*/ 695590 h 871769"/>
                <a:gd name="connsiteX216" fmla="*/ 658441 w 4009365"/>
                <a:gd name="connsiteY216" fmla="*/ 746195 h 871769"/>
                <a:gd name="connsiteX217" fmla="*/ 1020008 w 4009365"/>
                <a:gd name="connsiteY217" fmla="*/ 693211 h 871769"/>
                <a:gd name="connsiteX218" fmla="*/ 1020367 w 4009365"/>
                <a:gd name="connsiteY218" fmla="*/ 746167 h 871769"/>
                <a:gd name="connsiteX219" fmla="*/ 1047689 w 4009365"/>
                <a:gd name="connsiteY219" fmla="*/ 695562 h 871769"/>
                <a:gd name="connsiteX220" fmla="*/ 1020008 w 4009365"/>
                <a:gd name="connsiteY220" fmla="*/ 693211 h 871769"/>
                <a:gd name="connsiteX221" fmla="*/ 252187 w 4009365"/>
                <a:gd name="connsiteY221" fmla="*/ 693211 h 871769"/>
                <a:gd name="connsiteX222" fmla="*/ 252215 w 4009365"/>
                <a:gd name="connsiteY222" fmla="*/ 693214 h 871769"/>
                <a:gd name="connsiteX223" fmla="*/ 252574 w 4009365"/>
                <a:gd name="connsiteY223" fmla="*/ 746167 h 871769"/>
                <a:gd name="connsiteX224" fmla="*/ 279868 w 4009365"/>
                <a:gd name="connsiteY224" fmla="*/ 695562 h 871769"/>
                <a:gd name="connsiteX225" fmla="*/ 252215 w 4009365"/>
                <a:gd name="connsiteY225" fmla="*/ 693214 h 871769"/>
                <a:gd name="connsiteX226" fmla="*/ 252215 w 4009365"/>
                <a:gd name="connsiteY226" fmla="*/ 693211 h 871769"/>
                <a:gd name="connsiteX227" fmla="*/ 684795 w 4009365"/>
                <a:gd name="connsiteY227" fmla="*/ 690446 h 871769"/>
                <a:gd name="connsiteX228" fmla="*/ 659935 w 4009365"/>
                <a:gd name="connsiteY228" fmla="*/ 693128 h 871769"/>
                <a:gd name="connsiteX229" fmla="*/ 659907 w 4009365"/>
                <a:gd name="connsiteY229" fmla="*/ 693156 h 871769"/>
                <a:gd name="connsiteX230" fmla="*/ 661041 w 4009365"/>
                <a:gd name="connsiteY230" fmla="*/ 693156 h 871769"/>
                <a:gd name="connsiteX231" fmla="*/ 660709 w 4009365"/>
                <a:gd name="connsiteY231" fmla="*/ 743402 h 871769"/>
                <a:gd name="connsiteX232" fmla="*/ 993986 w 4009365"/>
                <a:gd name="connsiteY232" fmla="*/ 690418 h 871769"/>
                <a:gd name="connsiteX233" fmla="*/ 1018044 w 4009365"/>
                <a:gd name="connsiteY233" fmla="*/ 743313 h 871769"/>
                <a:gd name="connsiteX234" fmla="*/ 1018044 w 4009365"/>
                <a:gd name="connsiteY234" fmla="*/ 743347 h 871769"/>
                <a:gd name="connsiteX235" fmla="*/ 1018072 w 4009365"/>
                <a:gd name="connsiteY235" fmla="*/ 743375 h 871769"/>
                <a:gd name="connsiteX236" fmla="*/ 1018044 w 4009365"/>
                <a:gd name="connsiteY236" fmla="*/ 743313 h 871769"/>
                <a:gd name="connsiteX237" fmla="*/ 1017992 w 4009365"/>
                <a:gd name="connsiteY237" fmla="*/ 735496 h 871769"/>
                <a:gd name="connsiteX238" fmla="*/ 1017713 w 4009365"/>
                <a:gd name="connsiteY238" fmla="*/ 693101 h 871769"/>
                <a:gd name="connsiteX239" fmla="*/ 1018846 w 4009365"/>
                <a:gd name="connsiteY239" fmla="*/ 693101 h 871769"/>
                <a:gd name="connsiteX240" fmla="*/ 993986 w 4009365"/>
                <a:gd name="connsiteY240" fmla="*/ 690418 h 871769"/>
                <a:gd name="connsiteX241" fmla="*/ 226193 w 4009365"/>
                <a:gd name="connsiteY241" fmla="*/ 690418 h 871769"/>
                <a:gd name="connsiteX242" fmla="*/ 250279 w 4009365"/>
                <a:gd name="connsiteY242" fmla="*/ 743375 h 871769"/>
                <a:gd name="connsiteX243" fmla="*/ 250279 w 4009365"/>
                <a:gd name="connsiteY243" fmla="*/ 743347 h 871769"/>
                <a:gd name="connsiteX244" fmla="*/ 249947 w 4009365"/>
                <a:gd name="connsiteY244" fmla="*/ 693101 h 871769"/>
                <a:gd name="connsiteX245" fmla="*/ 251081 w 4009365"/>
                <a:gd name="connsiteY245" fmla="*/ 693101 h 871769"/>
                <a:gd name="connsiteX246" fmla="*/ 226193 w 4009365"/>
                <a:gd name="connsiteY246" fmla="*/ 690418 h 871769"/>
                <a:gd name="connsiteX247" fmla="*/ 960747 w 4009365"/>
                <a:gd name="connsiteY247" fmla="*/ 685856 h 871769"/>
                <a:gd name="connsiteX248" fmla="*/ 960830 w 4009365"/>
                <a:gd name="connsiteY248" fmla="*/ 745089 h 871769"/>
                <a:gd name="connsiteX249" fmla="*/ 988898 w 4009365"/>
                <a:gd name="connsiteY249" fmla="*/ 689810 h 871769"/>
                <a:gd name="connsiteX250" fmla="*/ 960747 w 4009365"/>
                <a:gd name="connsiteY250" fmla="*/ 685856 h 871769"/>
                <a:gd name="connsiteX251" fmla="*/ 718089 w 4009365"/>
                <a:gd name="connsiteY251" fmla="*/ 685856 h 871769"/>
                <a:gd name="connsiteX252" fmla="*/ 689938 w 4009365"/>
                <a:gd name="connsiteY252" fmla="*/ 689810 h 871769"/>
                <a:gd name="connsiteX253" fmla="*/ 718007 w 4009365"/>
                <a:gd name="connsiteY253" fmla="*/ 745089 h 871769"/>
                <a:gd name="connsiteX254" fmla="*/ 192926 w 4009365"/>
                <a:gd name="connsiteY254" fmla="*/ 685856 h 871769"/>
                <a:gd name="connsiteX255" fmla="*/ 193009 w 4009365"/>
                <a:gd name="connsiteY255" fmla="*/ 745089 h 871769"/>
                <a:gd name="connsiteX256" fmla="*/ 221077 w 4009365"/>
                <a:gd name="connsiteY256" fmla="*/ 689810 h 871769"/>
                <a:gd name="connsiteX257" fmla="*/ 192926 w 4009365"/>
                <a:gd name="connsiteY257" fmla="*/ 685856 h 871769"/>
                <a:gd name="connsiteX258" fmla="*/ 752711 w 4009365"/>
                <a:gd name="connsiteY258" fmla="*/ 679551 h 871769"/>
                <a:gd name="connsiteX259" fmla="*/ 719223 w 4009365"/>
                <a:gd name="connsiteY259" fmla="*/ 685690 h 871769"/>
                <a:gd name="connsiteX260" fmla="*/ 720357 w 4009365"/>
                <a:gd name="connsiteY260" fmla="*/ 685690 h 871769"/>
                <a:gd name="connsiteX261" fmla="*/ 720274 w 4009365"/>
                <a:gd name="connsiteY261" fmla="*/ 746942 h 871769"/>
                <a:gd name="connsiteX262" fmla="*/ 752960 w 4009365"/>
                <a:gd name="connsiteY262" fmla="*/ 702918 h 871769"/>
                <a:gd name="connsiteX263" fmla="*/ 926097 w 4009365"/>
                <a:gd name="connsiteY263" fmla="*/ 679523 h 871769"/>
                <a:gd name="connsiteX264" fmla="*/ 925876 w 4009365"/>
                <a:gd name="connsiteY264" fmla="*/ 702890 h 871769"/>
                <a:gd name="connsiteX265" fmla="*/ 958535 w 4009365"/>
                <a:gd name="connsiteY265" fmla="*/ 746878 h 871769"/>
                <a:gd name="connsiteX266" fmla="*/ 958535 w 4009365"/>
                <a:gd name="connsiteY266" fmla="*/ 746914 h 871769"/>
                <a:gd name="connsiteX267" fmla="*/ 958562 w 4009365"/>
                <a:gd name="connsiteY267" fmla="*/ 746914 h 871769"/>
                <a:gd name="connsiteX268" fmla="*/ 958535 w 4009365"/>
                <a:gd name="connsiteY268" fmla="*/ 746878 h 871769"/>
                <a:gd name="connsiteX269" fmla="*/ 958452 w 4009365"/>
                <a:gd name="connsiteY269" fmla="*/ 685662 h 871769"/>
                <a:gd name="connsiteX270" fmla="*/ 959585 w 4009365"/>
                <a:gd name="connsiteY270" fmla="*/ 685662 h 871769"/>
                <a:gd name="connsiteX271" fmla="*/ 926097 w 4009365"/>
                <a:gd name="connsiteY271" fmla="*/ 679523 h 871769"/>
                <a:gd name="connsiteX272" fmla="*/ 158305 w 4009365"/>
                <a:gd name="connsiteY272" fmla="*/ 679523 h 871769"/>
                <a:gd name="connsiteX273" fmla="*/ 158056 w 4009365"/>
                <a:gd name="connsiteY273" fmla="*/ 702890 h 871769"/>
                <a:gd name="connsiteX274" fmla="*/ 190714 w 4009365"/>
                <a:gd name="connsiteY274" fmla="*/ 746876 h 871769"/>
                <a:gd name="connsiteX275" fmla="*/ 190714 w 4009365"/>
                <a:gd name="connsiteY275" fmla="*/ 746914 h 871769"/>
                <a:gd name="connsiteX276" fmla="*/ 190742 w 4009365"/>
                <a:gd name="connsiteY276" fmla="*/ 746914 h 871769"/>
                <a:gd name="connsiteX277" fmla="*/ 190714 w 4009365"/>
                <a:gd name="connsiteY277" fmla="*/ 746876 h 871769"/>
                <a:gd name="connsiteX278" fmla="*/ 190631 w 4009365"/>
                <a:gd name="connsiteY278" fmla="*/ 685662 h 871769"/>
                <a:gd name="connsiteX279" fmla="*/ 191793 w 4009365"/>
                <a:gd name="connsiteY279" fmla="*/ 685662 h 871769"/>
                <a:gd name="connsiteX280" fmla="*/ 158305 w 4009365"/>
                <a:gd name="connsiteY280" fmla="*/ 679523 h 871769"/>
                <a:gd name="connsiteX281" fmla="*/ 900159 w 4009365"/>
                <a:gd name="connsiteY281" fmla="*/ 679191 h 871769"/>
                <a:gd name="connsiteX282" fmla="*/ 871040 w 4009365"/>
                <a:gd name="connsiteY282" fmla="*/ 718625 h 871769"/>
                <a:gd name="connsiteX283" fmla="*/ 871952 w 4009365"/>
                <a:gd name="connsiteY283" fmla="*/ 717906 h 871769"/>
                <a:gd name="connsiteX284" fmla="*/ 891254 w 4009365"/>
                <a:gd name="connsiteY284" fmla="*/ 748048 h 871769"/>
                <a:gd name="connsiteX285" fmla="*/ 899052 w 4009365"/>
                <a:gd name="connsiteY285" fmla="*/ 748048 h 871769"/>
                <a:gd name="connsiteX286" fmla="*/ 899080 w 4009365"/>
                <a:gd name="connsiteY286" fmla="*/ 748048 h 871769"/>
                <a:gd name="connsiteX287" fmla="*/ 778733 w 4009365"/>
                <a:gd name="connsiteY287" fmla="*/ 679191 h 871769"/>
                <a:gd name="connsiteX288" fmla="*/ 779784 w 4009365"/>
                <a:gd name="connsiteY288" fmla="*/ 748048 h 871769"/>
                <a:gd name="connsiteX289" fmla="*/ 779812 w 4009365"/>
                <a:gd name="connsiteY289" fmla="*/ 748048 h 871769"/>
                <a:gd name="connsiteX290" fmla="*/ 787610 w 4009365"/>
                <a:gd name="connsiteY290" fmla="*/ 748048 h 871769"/>
                <a:gd name="connsiteX291" fmla="*/ 806939 w 4009365"/>
                <a:gd name="connsiteY291" fmla="*/ 717906 h 871769"/>
                <a:gd name="connsiteX292" fmla="*/ 807852 w 4009365"/>
                <a:gd name="connsiteY292" fmla="*/ 718625 h 871769"/>
                <a:gd name="connsiteX293" fmla="*/ 132338 w 4009365"/>
                <a:gd name="connsiteY293" fmla="*/ 679191 h 871769"/>
                <a:gd name="connsiteX294" fmla="*/ 103247 w 4009365"/>
                <a:gd name="connsiteY294" fmla="*/ 718625 h 871769"/>
                <a:gd name="connsiteX295" fmla="*/ 104159 w 4009365"/>
                <a:gd name="connsiteY295" fmla="*/ 717906 h 871769"/>
                <a:gd name="connsiteX296" fmla="*/ 123461 w 4009365"/>
                <a:gd name="connsiteY296" fmla="*/ 748048 h 871769"/>
                <a:gd name="connsiteX297" fmla="*/ 131260 w 4009365"/>
                <a:gd name="connsiteY297" fmla="*/ 748048 h 871769"/>
                <a:gd name="connsiteX298" fmla="*/ 131287 w 4009365"/>
                <a:gd name="connsiteY298" fmla="*/ 748048 h 871769"/>
                <a:gd name="connsiteX299" fmla="*/ 10913 w 4009365"/>
                <a:gd name="connsiteY299" fmla="*/ 679191 h 871769"/>
                <a:gd name="connsiteX300" fmla="*/ 11991 w 4009365"/>
                <a:gd name="connsiteY300" fmla="*/ 748048 h 871769"/>
                <a:gd name="connsiteX301" fmla="*/ 12019 w 4009365"/>
                <a:gd name="connsiteY301" fmla="*/ 748048 h 871769"/>
                <a:gd name="connsiteX302" fmla="*/ 19817 w 4009365"/>
                <a:gd name="connsiteY302" fmla="*/ 748048 h 871769"/>
                <a:gd name="connsiteX303" fmla="*/ 39119 w 4009365"/>
                <a:gd name="connsiteY303" fmla="*/ 717906 h 871769"/>
                <a:gd name="connsiteX304" fmla="*/ 40032 w 4009365"/>
                <a:gd name="connsiteY304" fmla="*/ 718625 h 871769"/>
                <a:gd name="connsiteX305" fmla="*/ 776493 w 4009365"/>
                <a:gd name="connsiteY305" fmla="*/ 679136 h 871769"/>
                <a:gd name="connsiteX306" fmla="*/ 755283 w 4009365"/>
                <a:gd name="connsiteY306" fmla="*/ 707674 h 871769"/>
                <a:gd name="connsiteX307" fmla="*/ 755670 w 4009365"/>
                <a:gd name="connsiteY307" fmla="*/ 748048 h 871769"/>
                <a:gd name="connsiteX308" fmla="*/ 755670 w 4009365"/>
                <a:gd name="connsiteY308" fmla="*/ 748076 h 871769"/>
                <a:gd name="connsiteX309" fmla="*/ 777544 w 4009365"/>
                <a:gd name="connsiteY309" fmla="*/ 748076 h 871769"/>
                <a:gd name="connsiteX310" fmla="*/ 902371 w 4009365"/>
                <a:gd name="connsiteY310" fmla="*/ 679108 h 871769"/>
                <a:gd name="connsiteX311" fmla="*/ 901320 w 4009365"/>
                <a:gd name="connsiteY311" fmla="*/ 748048 h 871769"/>
                <a:gd name="connsiteX312" fmla="*/ 923166 w 4009365"/>
                <a:gd name="connsiteY312" fmla="*/ 748048 h 871769"/>
                <a:gd name="connsiteX313" fmla="*/ 923166 w 4009365"/>
                <a:gd name="connsiteY313" fmla="*/ 748020 h 871769"/>
                <a:gd name="connsiteX314" fmla="*/ 923553 w 4009365"/>
                <a:gd name="connsiteY314" fmla="*/ 707646 h 871769"/>
                <a:gd name="connsiteX315" fmla="*/ 134578 w 4009365"/>
                <a:gd name="connsiteY315" fmla="*/ 679108 h 871769"/>
                <a:gd name="connsiteX316" fmla="*/ 133527 w 4009365"/>
                <a:gd name="connsiteY316" fmla="*/ 748048 h 871769"/>
                <a:gd name="connsiteX317" fmla="*/ 155373 w 4009365"/>
                <a:gd name="connsiteY317" fmla="*/ 748048 h 871769"/>
                <a:gd name="connsiteX318" fmla="*/ 155373 w 4009365"/>
                <a:gd name="connsiteY318" fmla="*/ 748020 h 871769"/>
                <a:gd name="connsiteX319" fmla="*/ 155788 w 4009365"/>
                <a:gd name="connsiteY319" fmla="*/ 707646 h 871769"/>
                <a:gd name="connsiteX320" fmla="*/ 904860 w 4009365"/>
                <a:gd name="connsiteY320" fmla="*/ 674628 h 871769"/>
                <a:gd name="connsiteX321" fmla="*/ 923636 w 4009365"/>
                <a:gd name="connsiteY321" fmla="*/ 699904 h 871769"/>
                <a:gd name="connsiteX322" fmla="*/ 923636 w 4009365"/>
                <a:gd name="connsiteY322" fmla="*/ 699931 h 871769"/>
                <a:gd name="connsiteX323" fmla="*/ 923830 w 4009365"/>
                <a:gd name="connsiteY323" fmla="*/ 679081 h 871769"/>
                <a:gd name="connsiteX324" fmla="*/ 904860 w 4009365"/>
                <a:gd name="connsiteY324" fmla="*/ 674628 h 871769"/>
                <a:gd name="connsiteX325" fmla="*/ 137067 w 4009365"/>
                <a:gd name="connsiteY325" fmla="*/ 674628 h 871769"/>
                <a:gd name="connsiteX326" fmla="*/ 155843 w 4009365"/>
                <a:gd name="connsiteY326" fmla="*/ 699904 h 871769"/>
                <a:gd name="connsiteX327" fmla="*/ 155843 w 4009365"/>
                <a:gd name="connsiteY327" fmla="*/ 699931 h 871769"/>
                <a:gd name="connsiteX328" fmla="*/ 156037 w 4009365"/>
                <a:gd name="connsiteY328" fmla="*/ 679081 h 871769"/>
                <a:gd name="connsiteX329" fmla="*/ 137067 w 4009365"/>
                <a:gd name="connsiteY329" fmla="*/ 674628 h 871769"/>
                <a:gd name="connsiteX330" fmla="*/ 773949 w 4009365"/>
                <a:gd name="connsiteY330" fmla="*/ 674601 h 871769"/>
                <a:gd name="connsiteX331" fmla="*/ 754979 w 4009365"/>
                <a:gd name="connsiteY331" fmla="*/ 679053 h 871769"/>
                <a:gd name="connsiteX332" fmla="*/ 755173 w 4009365"/>
                <a:gd name="connsiteY332" fmla="*/ 699876 h 871769"/>
                <a:gd name="connsiteX333" fmla="*/ 870293 w 4009365"/>
                <a:gd name="connsiteY333" fmla="*/ 663927 h 871769"/>
                <a:gd name="connsiteX334" fmla="*/ 869325 w 4009365"/>
                <a:gd name="connsiteY334" fmla="*/ 713066 h 871769"/>
                <a:gd name="connsiteX335" fmla="*/ 898859 w 4009365"/>
                <a:gd name="connsiteY335" fmla="*/ 673052 h 871769"/>
                <a:gd name="connsiteX336" fmla="*/ 870293 w 4009365"/>
                <a:gd name="connsiteY336" fmla="*/ 663927 h 871769"/>
                <a:gd name="connsiteX337" fmla="*/ 102473 w 4009365"/>
                <a:gd name="connsiteY337" fmla="*/ 663927 h 871769"/>
                <a:gd name="connsiteX338" fmla="*/ 101505 w 4009365"/>
                <a:gd name="connsiteY338" fmla="*/ 713066 h 871769"/>
                <a:gd name="connsiteX339" fmla="*/ 131038 w 4009365"/>
                <a:gd name="connsiteY339" fmla="*/ 673052 h 871769"/>
                <a:gd name="connsiteX340" fmla="*/ 102473 w 4009365"/>
                <a:gd name="connsiteY340" fmla="*/ 663927 h 871769"/>
                <a:gd name="connsiteX341" fmla="*/ 808543 w 4009365"/>
                <a:gd name="connsiteY341" fmla="*/ 663899 h 871769"/>
                <a:gd name="connsiteX342" fmla="*/ 779978 w 4009365"/>
                <a:gd name="connsiteY342" fmla="*/ 673025 h 871769"/>
                <a:gd name="connsiteX343" fmla="*/ 809511 w 4009365"/>
                <a:gd name="connsiteY343" fmla="*/ 713039 h 871769"/>
                <a:gd name="connsiteX344" fmla="*/ 40723 w 4009365"/>
                <a:gd name="connsiteY344" fmla="*/ 663899 h 871769"/>
                <a:gd name="connsiteX345" fmla="*/ 12157 w 4009365"/>
                <a:gd name="connsiteY345" fmla="*/ 673025 h 871769"/>
                <a:gd name="connsiteX346" fmla="*/ 41691 w 4009365"/>
                <a:gd name="connsiteY346" fmla="*/ 713039 h 871769"/>
                <a:gd name="connsiteX347" fmla="*/ 843193 w 4009365"/>
                <a:gd name="connsiteY347" fmla="*/ 650957 h 871769"/>
                <a:gd name="connsiteX348" fmla="*/ 843193 w 4009365"/>
                <a:gd name="connsiteY348" fmla="*/ 704881 h 871769"/>
                <a:gd name="connsiteX349" fmla="*/ 867002 w 4009365"/>
                <a:gd name="connsiteY349" fmla="*/ 715500 h 871769"/>
                <a:gd name="connsiteX350" fmla="*/ 868025 w 4009365"/>
                <a:gd name="connsiteY350" fmla="*/ 663042 h 871769"/>
                <a:gd name="connsiteX351" fmla="*/ 843193 w 4009365"/>
                <a:gd name="connsiteY351" fmla="*/ 650957 h 871769"/>
                <a:gd name="connsiteX352" fmla="*/ 835643 w 4009365"/>
                <a:gd name="connsiteY352" fmla="*/ 650957 h 871769"/>
                <a:gd name="connsiteX353" fmla="*/ 810811 w 4009365"/>
                <a:gd name="connsiteY353" fmla="*/ 663042 h 871769"/>
                <a:gd name="connsiteX354" fmla="*/ 811834 w 4009365"/>
                <a:gd name="connsiteY354" fmla="*/ 715500 h 871769"/>
                <a:gd name="connsiteX355" fmla="*/ 835643 w 4009365"/>
                <a:gd name="connsiteY355" fmla="*/ 704881 h 871769"/>
                <a:gd name="connsiteX356" fmla="*/ 75400 w 4009365"/>
                <a:gd name="connsiteY356" fmla="*/ 650957 h 871769"/>
                <a:gd name="connsiteX357" fmla="*/ 75400 w 4009365"/>
                <a:gd name="connsiteY357" fmla="*/ 704881 h 871769"/>
                <a:gd name="connsiteX358" fmla="*/ 99210 w 4009365"/>
                <a:gd name="connsiteY358" fmla="*/ 715500 h 871769"/>
                <a:gd name="connsiteX359" fmla="*/ 100233 w 4009365"/>
                <a:gd name="connsiteY359" fmla="*/ 663042 h 871769"/>
                <a:gd name="connsiteX360" fmla="*/ 75400 w 4009365"/>
                <a:gd name="connsiteY360" fmla="*/ 650957 h 871769"/>
                <a:gd name="connsiteX361" fmla="*/ 67878 w 4009365"/>
                <a:gd name="connsiteY361" fmla="*/ 650957 h 871769"/>
                <a:gd name="connsiteX362" fmla="*/ 43018 w 4009365"/>
                <a:gd name="connsiteY362" fmla="*/ 663042 h 871769"/>
                <a:gd name="connsiteX363" fmla="*/ 44041 w 4009365"/>
                <a:gd name="connsiteY363" fmla="*/ 715500 h 871769"/>
                <a:gd name="connsiteX364" fmla="*/ 67851 w 4009365"/>
                <a:gd name="connsiteY364" fmla="*/ 704881 h 871769"/>
                <a:gd name="connsiteX365" fmla="*/ 67878 w 4009365"/>
                <a:gd name="connsiteY365" fmla="*/ 704881 h 871769"/>
                <a:gd name="connsiteX366" fmla="*/ 2635484 w 4009365"/>
                <a:gd name="connsiteY366" fmla="*/ 605412 h 871769"/>
                <a:gd name="connsiteX367" fmla="*/ 2633161 w 4009365"/>
                <a:gd name="connsiteY367" fmla="*/ 613625 h 871769"/>
                <a:gd name="connsiteX368" fmla="*/ 2637779 w 4009365"/>
                <a:gd name="connsiteY368" fmla="*/ 613625 h 871769"/>
                <a:gd name="connsiteX369" fmla="*/ 2668087 w 4009365"/>
                <a:gd name="connsiteY369" fmla="*/ 604472 h 871769"/>
                <a:gd name="connsiteX370" fmla="*/ 2665073 w 4009365"/>
                <a:gd name="connsiteY370" fmla="*/ 613625 h 871769"/>
                <a:gd name="connsiteX371" fmla="*/ 2671129 w 4009365"/>
                <a:gd name="connsiteY371" fmla="*/ 613625 h 871769"/>
                <a:gd name="connsiteX372" fmla="*/ 2603544 w 4009365"/>
                <a:gd name="connsiteY372" fmla="*/ 603919 h 871769"/>
                <a:gd name="connsiteX373" fmla="*/ 2599977 w 4009365"/>
                <a:gd name="connsiteY373" fmla="*/ 613625 h 871769"/>
                <a:gd name="connsiteX374" fmla="*/ 2607111 w 4009365"/>
                <a:gd name="connsiteY374" fmla="*/ 613625 h 871769"/>
                <a:gd name="connsiteX375" fmla="*/ 2587450 w 4009365"/>
                <a:gd name="connsiteY375" fmla="*/ 602730 h 871769"/>
                <a:gd name="connsiteX376" fmla="*/ 2582113 w 4009365"/>
                <a:gd name="connsiteY376" fmla="*/ 613625 h 871769"/>
                <a:gd name="connsiteX377" fmla="*/ 2592787 w 4009365"/>
                <a:gd name="connsiteY377" fmla="*/ 613625 h 871769"/>
                <a:gd name="connsiteX378" fmla="*/ 2620413 w 4009365"/>
                <a:gd name="connsiteY378" fmla="*/ 602536 h 871769"/>
                <a:gd name="connsiteX379" fmla="*/ 2614633 w 4009365"/>
                <a:gd name="connsiteY379" fmla="*/ 613625 h 871769"/>
                <a:gd name="connsiteX380" fmla="*/ 2614661 w 4009365"/>
                <a:gd name="connsiteY380" fmla="*/ 613625 h 871769"/>
                <a:gd name="connsiteX381" fmla="*/ 2626192 w 4009365"/>
                <a:gd name="connsiteY381" fmla="*/ 613625 h 871769"/>
                <a:gd name="connsiteX382" fmla="*/ 2651412 w 4009365"/>
                <a:gd name="connsiteY382" fmla="*/ 602315 h 871769"/>
                <a:gd name="connsiteX383" fmla="*/ 2645107 w 4009365"/>
                <a:gd name="connsiteY383" fmla="*/ 613625 h 871769"/>
                <a:gd name="connsiteX384" fmla="*/ 2645135 w 4009365"/>
                <a:gd name="connsiteY384" fmla="*/ 613625 h 871769"/>
                <a:gd name="connsiteX385" fmla="*/ 2657717 w 4009365"/>
                <a:gd name="connsiteY385" fmla="*/ 613625 h 871769"/>
                <a:gd name="connsiteX386" fmla="*/ 2580039 w 4009365"/>
                <a:gd name="connsiteY386" fmla="*/ 587631 h 871769"/>
                <a:gd name="connsiteX387" fmla="*/ 2580039 w 4009365"/>
                <a:gd name="connsiteY387" fmla="*/ 609201 h 871769"/>
                <a:gd name="connsiteX388" fmla="*/ 2585320 w 4009365"/>
                <a:gd name="connsiteY388" fmla="*/ 598416 h 871769"/>
                <a:gd name="connsiteX389" fmla="*/ 2673756 w 4009365"/>
                <a:gd name="connsiteY389" fmla="*/ 587410 h 871769"/>
                <a:gd name="connsiteX390" fmla="*/ 2670105 w 4009365"/>
                <a:gd name="connsiteY390" fmla="*/ 598416 h 871769"/>
                <a:gd name="connsiteX391" fmla="*/ 2673756 w 4009365"/>
                <a:gd name="connsiteY391" fmla="*/ 609422 h 871769"/>
                <a:gd name="connsiteX392" fmla="*/ 2629649 w 4009365"/>
                <a:gd name="connsiteY392" fmla="*/ 584755 h 871769"/>
                <a:gd name="connsiteX393" fmla="*/ 2622542 w 4009365"/>
                <a:gd name="connsiteY393" fmla="*/ 598416 h 871769"/>
                <a:gd name="connsiteX394" fmla="*/ 2629649 w 4009365"/>
                <a:gd name="connsiteY394" fmla="*/ 612077 h 871769"/>
                <a:gd name="connsiteX395" fmla="*/ 2633493 w 4009365"/>
                <a:gd name="connsiteY395" fmla="*/ 598416 h 871769"/>
                <a:gd name="connsiteX396" fmla="*/ 2596409 w 4009365"/>
                <a:gd name="connsiteY396" fmla="*/ 584451 h 871769"/>
                <a:gd name="connsiteX397" fmla="*/ 2589552 w 4009365"/>
                <a:gd name="connsiteY397" fmla="*/ 598416 h 871769"/>
                <a:gd name="connsiteX398" fmla="*/ 2596409 w 4009365"/>
                <a:gd name="connsiteY398" fmla="*/ 612381 h 871769"/>
                <a:gd name="connsiteX399" fmla="*/ 2601553 w 4009365"/>
                <a:gd name="connsiteY399" fmla="*/ 598416 h 871769"/>
                <a:gd name="connsiteX400" fmla="*/ 2641401 w 4009365"/>
                <a:gd name="connsiteY400" fmla="*/ 584396 h 871769"/>
                <a:gd name="connsiteX401" fmla="*/ 2637447 w 4009365"/>
                <a:gd name="connsiteY401" fmla="*/ 598416 h 871769"/>
                <a:gd name="connsiteX402" fmla="*/ 2641401 w 4009365"/>
                <a:gd name="connsiteY402" fmla="*/ 612436 h 871769"/>
                <a:gd name="connsiteX403" fmla="*/ 2649227 w 4009365"/>
                <a:gd name="connsiteY403" fmla="*/ 598416 h 871769"/>
                <a:gd name="connsiteX404" fmla="*/ 2661422 w 4009365"/>
                <a:gd name="connsiteY404" fmla="*/ 584313 h 871769"/>
                <a:gd name="connsiteX405" fmla="*/ 2653569 w 4009365"/>
                <a:gd name="connsiteY405" fmla="*/ 598416 h 871769"/>
                <a:gd name="connsiteX406" fmla="*/ 2661422 w 4009365"/>
                <a:gd name="connsiteY406" fmla="*/ 612492 h 871769"/>
                <a:gd name="connsiteX407" fmla="*/ 2666096 w 4009365"/>
                <a:gd name="connsiteY407" fmla="*/ 598416 h 871769"/>
                <a:gd name="connsiteX408" fmla="*/ 2610817 w 4009365"/>
                <a:gd name="connsiteY408" fmla="*/ 584119 h 871769"/>
                <a:gd name="connsiteX409" fmla="*/ 2605563 w 4009365"/>
                <a:gd name="connsiteY409" fmla="*/ 598416 h 871769"/>
                <a:gd name="connsiteX410" fmla="*/ 2610817 w 4009365"/>
                <a:gd name="connsiteY410" fmla="*/ 612685 h 871769"/>
                <a:gd name="connsiteX411" fmla="*/ 2618256 w 4009365"/>
                <a:gd name="connsiteY411" fmla="*/ 598416 h 871769"/>
                <a:gd name="connsiteX412" fmla="*/ 2665073 w 4009365"/>
                <a:gd name="connsiteY412" fmla="*/ 583234 h 871769"/>
                <a:gd name="connsiteX413" fmla="*/ 2668087 w 4009365"/>
                <a:gd name="connsiteY413" fmla="*/ 592360 h 871769"/>
                <a:gd name="connsiteX414" fmla="*/ 2671101 w 4009365"/>
                <a:gd name="connsiteY414" fmla="*/ 583234 h 871769"/>
                <a:gd name="connsiteX415" fmla="*/ 2645135 w 4009365"/>
                <a:gd name="connsiteY415" fmla="*/ 583234 h 871769"/>
                <a:gd name="connsiteX416" fmla="*/ 2651412 w 4009365"/>
                <a:gd name="connsiteY416" fmla="*/ 594517 h 871769"/>
                <a:gd name="connsiteX417" fmla="*/ 2657689 w 4009365"/>
                <a:gd name="connsiteY417" fmla="*/ 583234 h 871769"/>
                <a:gd name="connsiteX418" fmla="*/ 2633188 w 4009365"/>
                <a:gd name="connsiteY418" fmla="*/ 583234 h 871769"/>
                <a:gd name="connsiteX419" fmla="*/ 2635484 w 4009365"/>
                <a:gd name="connsiteY419" fmla="*/ 591420 h 871769"/>
                <a:gd name="connsiteX420" fmla="*/ 2637779 w 4009365"/>
                <a:gd name="connsiteY420" fmla="*/ 583234 h 871769"/>
                <a:gd name="connsiteX421" fmla="*/ 2614661 w 4009365"/>
                <a:gd name="connsiteY421" fmla="*/ 583234 h 871769"/>
                <a:gd name="connsiteX422" fmla="*/ 2620413 w 4009365"/>
                <a:gd name="connsiteY422" fmla="*/ 594296 h 871769"/>
                <a:gd name="connsiteX423" fmla="*/ 2626164 w 4009365"/>
                <a:gd name="connsiteY423" fmla="*/ 583234 h 871769"/>
                <a:gd name="connsiteX424" fmla="*/ 2600005 w 4009365"/>
                <a:gd name="connsiteY424" fmla="*/ 583234 h 871769"/>
                <a:gd name="connsiteX425" fmla="*/ 2603572 w 4009365"/>
                <a:gd name="connsiteY425" fmla="*/ 592913 h 871769"/>
                <a:gd name="connsiteX426" fmla="*/ 2607111 w 4009365"/>
                <a:gd name="connsiteY426" fmla="*/ 583234 h 871769"/>
                <a:gd name="connsiteX427" fmla="*/ 2582141 w 4009365"/>
                <a:gd name="connsiteY427" fmla="*/ 583234 h 871769"/>
                <a:gd name="connsiteX428" fmla="*/ 2587450 w 4009365"/>
                <a:gd name="connsiteY428" fmla="*/ 594102 h 871769"/>
                <a:gd name="connsiteX429" fmla="*/ 2592759 w 4009365"/>
                <a:gd name="connsiteY429" fmla="*/ 583234 h 871769"/>
                <a:gd name="connsiteX430" fmla="*/ 2660121 w 4009365"/>
                <a:gd name="connsiteY430" fmla="*/ 553147 h 871769"/>
                <a:gd name="connsiteX431" fmla="*/ 2660150 w 4009365"/>
                <a:gd name="connsiteY431" fmla="*/ 553147 h 871769"/>
                <a:gd name="connsiteX432" fmla="*/ 2660122 w 4009365"/>
                <a:gd name="connsiteY432" fmla="*/ 553175 h 871769"/>
                <a:gd name="connsiteX433" fmla="*/ 3285638 w 4009365"/>
                <a:gd name="connsiteY433" fmla="*/ 534288 h 871769"/>
                <a:gd name="connsiteX434" fmla="*/ 3285638 w 4009365"/>
                <a:gd name="connsiteY434" fmla="*/ 547506 h 871769"/>
                <a:gd name="connsiteX435" fmla="*/ 3249993 w 4009365"/>
                <a:gd name="connsiteY435" fmla="*/ 586138 h 871769"/>
                <a:gd name="connsiteX436" fmla="*/ 3249993 w 4009365"/>
                <a:gd name="connsiteY436" fmla="*/ 581962 h 871769"/>
                <a:gd name="connsiteX437" fmla="*/ 3248224 w 4009365"/>
                <a:gd name="connsiteY437" fmla="*/ 581077 h 871769"/>
                <a:gd name="connsiteX438" fmla="*/ 3248224 w 4009365"/>
                <a:gd name="connsiteY438" fmla="*/ 573639 h 871769"/>
                <a:gd name="connsiteX439" fmla="*/ 3246260 w 4009365"/>
                <a:gd name="connsiteY439" fmla="*/ 572975 h 871769"/>
                <a:gd name="connsiteX440" fmla="*/ 3244325 w 4009365"/>
                <a:gd name="connsiteY440" fmla="*/ 567997 h 871769"/>
                <a:gd name="connsiteX441" fmla="*/ 3240619 w 4009365"/>
                <a:gd name="connsiteY441" fmla="*/ 558429 h 871769"/>
                <a:gd name="connsiteX442" fmla="*/ 3240647 w 4009365"/>
                <a:gd name="connsiteY442" fmla="*/ 558429 h 871769"/>
                <a:gd name="connsiteX443" fmla="*/ 3245375 w 4009365"/>
                <a:gd name="connsiteY443" fmla="*/ 550852 h 871769"/>
                <a:gd name="connsiteX444" fmla="*/ 3238158 w 4009365"/>
                <a:gd name="connsiteY444" fmla="*/ 547866 h 871769"/>
                <a:gd name="connsiteX445" fmla="*/ 3285638 w 4009365"/>
                <a:gd name="connsiteY445" fmla="*/ 534288 h 871769"/>
                <a:gd name="connsiteX446" fmla="*/ 3444949 w 4009365"/>
                <a:gd name="connsiteY446" fmla="*/ 507382 h 871769"/>
                <a:gd name="connsiteX447" fmla="*/ 3444949 w 4009365"/>
                <a:gd name="connsiteY447" fmla="*/ 563242 h 871769"/>
                <a:gd name="connsiteX448" fmla="*/ 3441465 w 4009365"/>
                <a:gd name="connsiteY448" fmla="*/ 563242 h 871769"/>
                <a:gd name="connsiteX449" fmla="*/ 3441465 w 4009365"/>
                <a:gd name="connsiteY449" fmla="*/ 572423 h 871769"/>
                <a:gd name="connsiteX450" fmla="*/ 3383255 w 4009365"/>
                <a:gd name="connsiteY450" fmla="*/ 514240 h 871769"/>
                <a:gd name="connsiteX451" fmla="*/ 3444949 w 4009365"/>
                <a:gd name="connsiteY451" fmla="*/ 507382 h 871769"/>
                <a:gd name="connsiteX452" fmla="*/ 3503686 w 4009365"/>
                <a:gd name="connsiteY452" fmla="*/ 502736 h 871769"/>
                <a:gd name="connsiteX453" fmla="*/ 3497464 w 4009365"/>
                <a:gd name="connsiteY453" fmla="*/ 515429 h 871769"/>
                <a:gd name="connsiteX454" fmla="*/ 3497464 w 4009365"/>
                <a:gd name="connsiteY454" fmla="*/ 570431 h 871769"/>
                <a:gd name="connsiteX455" fmla="*/ 3509907 w 4009365"/>
                <a:gd name="connsiteY455" fmla="*/ 570431 h 871769"/>
                <a:gd name="connsiteX456" fmla="*/ 3509907 w 4009365"/>
                <a:gd name="connsiteY456" fmla="*/ 515429 h 871769"/>
                <a:gd name="connsiteX457" fmla="*/ 3503686 w 4009365"/>
                <a:gd name="connsiteY457" fmla="*/ 502736 h 871769"/>
                <a:gd name="connsiteX458" fmla="*/ 3481176 w 4009365"/>
                <a:gd name="connsiteY458" fmla="*/ 502736 h 871769"/>
                <a:gd name="connsiteX459" fmla="*/ 3475313 w 4009365"/>
                <a:gd name="connsiteY459" fmla="*/ 515429 h 871769"/>
                <a:gd name="connsiteX460" fmla="*/ 3475313 w 4009365"/>
                <a:gd name="connsiteY460" fmla="*/ 570431 h 871769"/>
                <a:gd name="connsiteX461" fmla="*/ 3487011 w 4009365"/>
                <a:gd name="connsiteY461" fmla="*/ 570431 h 871769"/>
                <a:gd name="connsiteX462" fmla="*/ 3487038 w 4009365"/>
                <a:gd name="connsiteY462" fmla="*/ 570431 h 871769"/>
                <a:gd name="connsiteX463" fmla="*/ 3487038 w 4009365"/>
                <a:gd name="connsiteY463" fmla="*/ 515429 h 871769"/>
                <a:gd name="connsiteX464" fmla="*/ 3481176 w 4009365"/>
                <a:gd name="connsiteY464" fmla="*/ 502736 h 871769"/>
                <a:gd name="connsiteX465" fmla="*/ 1183797 w 4009365"/>
                <a:gd name="connsiteY465" fmla="*/ 377909 h 871769"/>
                <a:gd name="connsiteX466" fmla="*/ 1185843 w 4009365"/>
                <a:gd name="connsiteY466" fmla="*/ 377909 h 871769"/>
                <a:gd name="connsiteX467" fmla="*/ 1185843 w 4009365"/>
                <a:gd name="connsiteY467" fmla="*/ 382499 h 871769"/>
                <a:gd name="connsiteX468" fmla="*/ 1188747 w 4009365"/>
                <a:gd name="connsiteY468" fmla="*/ 382499 h 871769"/>
                <a:gd name="connsiteX469" fmla="*/ 1188747 w 4009365"/>
                <a:gd name="connsiteY469" fmla="*/ 384435 h 871769"/>
                <a:gd name="connsiteX470" fmla="*/ 1185843 w 4009365"/>
                <a:gd name="connsiteY470" fmla="*/ 384435 h 871769"/>
                <a:gd name="connsiteX471" fmla="*/ 1185843 w 4009365"/>
                <a:gd name="connsiteY471" fmla="*/ 393367 h 871769"/>
                <a:gd name="connsiteX472" fmla="*/ 1186092 w 4009365"/>
                <a:gd name="connsiteY472" fmla="*/ 393367 h 871769"/>
                <a:gd name="connsiteX473" fmla="*/ 1208934 w 4009365"/>
                <a:gd name="connsiteY473" fmla="*/ 448259 h 871769"/>
                <a:gd name="connsiteX474" fmla="*/ 1211340 w 4009365"/>
                <a:gd name="connsiteY474" fmla="*/ 448259 h 871769"/>
                <a:gd name="connsiteX475" fmla="*/ 1210261 w 4009365"/>
                <a:gd name="connsiteY475" fmla="*/ 450554 h 871769"/>
                <a:gd name="connsiteX476" fmla="*/ 1210151 w 4009365"/>
                <a:gd name="connsiteY476" fmla="*/ 460482 h 871769"/>
                <a:gd name="connsiteX477" fmla="*/ 1208823 w 4009365"/>
                <a:gd name="connsiteY477" fmla="*/ 462307 h 871769"/>
                <a:gd name="connsiteX478" fmla="*/ 1209045 w 4009365"/>
                <a:gd name="connsiteY478" fmla="*/ 462307 h 871769"/>
                <a:gd name="connsiteX479" fmla="*/ 1209045 w 4009365"/>
                <a:gd name="connsiteY479" fmla="*/ 464851 h 871769"/>
                <a:gd name="connsiteX480" fmla="*/ 1212308 w 4009365"/>
                <a:gd name="connsiteY480" fmla="*/ 464851 h 871769"/>
                <a:gd name="connsiteX481" fmla="*/ 1209045 w 4009365"/>
                <a:gd name="connsiteY481" fmla="*/ 469386 h 871769"/>
                <a:gd name="connsiteX482" fmla="*/ 1209045 w 4009365"/>
                <a:gd name="connsiteY482" fmla="*/ 548281 h 871769"/>
                <a:gd name="connsiteX483" fmla="*/ 1217340 w 4009365"/>
                <a:gd name="connsiteY483" fmla="*/ 548281 h 871769"/>
                <a:gd name="connsiteX484" fmla="*/ 1217340 w 4009365"/>
                <a:gd name="connsiteY484" fmla="*/ 546649 h 871769"/>
                <a:gd name="connsiteX485" fmla="*/ 1216787 w 4009365"/>
                <a:gd name="connsiteY485" fmla="*/ 545571 h 871769"/>
                <a:gd name="connsiteX486" fmla="*/ 1218004 w 4009365"/>
                <a:gd name="connsiteY486" fmla="*/ 544603 h 871769"/>
                <a:gd name="connsiteX487" fmla="*/ 1218004 w 4009365"/>
                <a:gd name="connsiteY487" fmla="*/ 540234 h 871769"/>
                <a:gd name="connsiteX488" fmla="*/ 1219276 w 4009365"/>
                <a:gd name="connsiteY488" fmla="*/ 539266 h 871769"/>
                <a:gd name="connsiteX489" fmla="*/ 1219276 w 4009365"/>
                <a:gd name="connsiteY489" fmla="*/ 529283 h 871769"/>
                <a:gd name="connsiteX490" fmla="*/ 1223452 w 4009365"/>
                <a:gd name="connsiteY490" fmla="*/ 529283 h 871769"/>
                <a:gd name="connsiteX491" fmla="*/ 1223452 w 4009365"/>
                <a:gd name="connsiteY491" fmla="*/ 539266 h 871769"/>
                <a:gd name="connsiteX492" fmla="*/ 1224669 w 4009365"/>
                <a:gd name="connsiteY492" fmla="*/ 540234 h 871769"/>
                <a:gd name="connsiteX493" fmla="*/ 1224669 w 4009365"/>
                <a:gd name="connsiteY493" fmla="*/ 544465 h 871769"/>
                <a:gd name="connsiteX494" fmla="*/ 1225581 w 4009365"/>
                <a:gd name="connsiteY494" fmla="*/ 545903 h 871769"/>
                <a:gd name="connsiteX495" fmla="*/ 1224669 w 4009365"/>
                <a:gd name="connsiteY495" fmla="*/ 546926 h 871769"/>
                <a:gd name="connsiteX496" fmla="*/ 1224669 w 4009365"/>
                <a:gd name="connsiteY496" fmla="*/ 548613 h 871769"/>
                <a:gd name="connsiteX497" fmla="*/ 1233158 w 4009365"/>
                <a:gd name="connsiteY497" fmla="*/ 750288 h 871769"/>
                <a:gd name="connsiteX498" fmla="*/ 1207081 w 4009365"/>
                <a:gd name="connsiteY498" fmla="*/ 689644 h 871769"/>
                <a:gd name="connsiteX499" fmla="*/ 1203237 w 4009365"/>
                <a:gd name="connsiteY499" fmla="*/ 681929 h 871769"/>
                <a:gd name="connsiteX500" fmla="*/ 1194609 w 4009365"/>
                <a:gd name="connsiteY500" fmla="*/ 681929 h 871769"/>
                <a:gd name="connsiteX501" fmla="*/ 1005157 w 4009365"/>
                <a:gd name="connsiteY501" fmla="*/ 672665 h 871769"/>
                <a:gd name="connsiteX502" fmla="*/ 1005157 w 4009365"/>
                <a:gd name="connsiteY502" fmla="*/ 543884 h 871769"/>
                <a:gd name="connsiteX503" fmla="*/ 1006623 w 4009365"/>
                <a:gd name="connsiteY503" fmla="*/ 542695 h 871769"/>
                <a:gd name="connsiteX504" fmla="*/ 1006623 w 4009365"/>
                <a:gd name="connsiteY504" fmla="*/ 538879 h 871769"/>
                <a:gd name="connsiteX505" fmla="*/ 1007535 w 4009365"/>
                <a:gd name="connsiteY505" fmla="*/ 537883 h 871769"/>
                <a:gd name="connsiteX506" fmla="*/ 1007535 w 4009365"/>
                <a:gd name="connsiteY506" fmla="*/ 527817 h 871769"/>
                <a:gd name="connsiteX507" fmla="*/ 1011711 w 4009365"/>
                <a:gd name="connsiteY507" fmla="*/ 527817 h 871769"/>
                <a:gd name="connsiteX508" fmla="*/ 1011711 w 4009365"/>
                <a:gd name="connsiteY508" fmla="*/ 537524 h 871769"/>
                <a:gd name="connsiteX509" fmla="*/ 1012706 w 4009365"/>
                <a:gd name="connsiteY509" fmla="*/ 538796 h 871769"/>
                <a:gd name="connsiteX510" fmla="*/ 1012706 w 4009365"/>
                <a:gd name="connsiteY510" fmla="*/ 542335 h 871769"/>
                <a:gd name="connsiteX511" fmla="*/ 1013895 w 4009365"/>
                <a:gd name="connsiteY511" fmla="*/ 543884 h 871769"/>
                <a:gd name="connsiteX512" fmla="*/ 1013895 w 4009365"/>
                <a:gd name="connsiteY512" fmla="*/ 547147 h 871769"/>
                <a:gd name="connsiteX513" fmla="*/ 1104598 w 4009365"/>
                <a:gd name="connsiteY513" fmla="*/ 547507 h 871769"/>
                <a:gd name="connsiteX514" fmla="*/ 1041106 w 4009365"/>
                <a:gd name="connsiteY514" fmla="*/ 669015 h 871769"/>
                <a:gd name="connsiteX515" fmla="*/ 1113558 w 4009365"/>
                <a:gd name="connsiteY515" fmla="*/ 545377 h 871769"/>
                <a:gd name="connsiteX516" fmla="*/ 1112756 w 4009365"/>
                <a:gd name="connsiteY516" fmla="*/ 543801 h 871769"/>
                <a:gd name="connsiteX517" fmla="*/ 1114304 w 4009365"/>
                <a:gd name="connsiteY517" fmla="*/ 541533 h 871769"/>
                <a:gd name="connsiteX518" fmla="*/ 1114304 w 4009365"/>
                <a:gd name="connsiteY518" fmla="*/ 539266 h 871769"/>
                <a:gd name="connsiteX519" fmla="*/ 1115023 w 4009365"/>
                <a:gd name="connsiteY519" fmla="*/ 538436 h 871769"/>
                <a:gd name="connsiteX520" fmla="*/ 1115023 w 4009365"/>
                <a:gd name="connsiteY520" fmla="*/ 532352 h 871769"/>
                <a:gd name="connsiteX521" fmla="*/ 1112756 w 4009365"/>
                <a:gd name="connsiteY521" fmla="*/ 532352 h 871769"/>
                <a:gd name="connsiteX522" fmla="*/ 1112756 w 4009365"/>
                <a:gd name="connsiteY522" fmla="*/ 530998 h 871769"/>
                <a:gd name="connsiteX523" fmla="*/ 1115023 w 4009365"/>
                <a:gd name="connsiteY523" fmla="*/ 530998 h 871769"/>
                <a:gd name="connsiteX524" fmla="*/ 1115023 w 4009365"/>
                <a:gd name="connsiteY524" fmla="*/ 528564 h 871769"/>
                <a:gd name="connsiteX525" fmla="*/ 1116378 w 4009365"/>
                <a:gd name="connsiteY525" fmla="*/ 528564 h 871769"/>
                <a:gd name="connsiteX526" fmla="*/ 1116378 w 4009365"/>
                <a:gd name="connsiteY526" fmla="*/ 530998 h 871769"/>
                <a:gd name="connsiteX527" fmla="*/ 1118563 w 4009365"/>
                <a:gd name="connsiteY527" fmla="*/ 530998 h 871769"/>
                <a:gd name="connsiteX528" fmla="*/ 1118563 w 4009365"/>
                <a:gd name="connsiteY528" fmla="*/ 532352 h 871769"/>
                <a:gd name="connsiteX529" fmla="*/ 1116378 w 4009365"/>
                <a:gd name="connsiteY529" fmla="*/ 532352 h 871769"/>
                <a:gd name="connsiteX530" fmla="*/ 1116378 w 4009365"/>
                <a:gd name="connsiteY530" fmla="*/ 538353 h 871769"/>
                <a:gd name="connsiteX531" fmla="*/ 1117291 w 4009365"/>
                <a:gd name="connsiteY531" fmla="*/ 539432 h 871769"/>
                <a:gd name="connsiteX532" fmla="*/ 1117291 w 4009365"/>
                <a:gd name="connsiteY532" fmla="*/ 541976 h 871769"/>
                <a:gd name="connsiteX533" fmla="*/ 1118563 w 4009365"/>
                <a:gd name="connsiteY533" fmla="*/ 543607 h 871769"/>
                <a:gd name="connsiteX534" fmla="*/ 1117706 w 4009365"/>
                <a:gd name="connsiteY534" fmla="*/ 545211 h 871769"/>
                <a:gd name="connsiteX535" fmla="*/ 1158660 w 4009365"/>
                <a:gd name="connsiteY535" fmla="*/ 613515 h 871769"/>
                <a:gd name="connsiteX536" fmla="*/ 1128905 w 4009365"/>
                <a:gd name="connsiteY536" fmla="*/ 547866 h 871769"/>
                <a:gd name="connsiteX537" fmla="*/ 1160458 w 4009365"/>
                <a:gd name="connsiteY537" fmla="*/ 547866 h 871769"/>
                <a:gd name="connsiteX538" fmla="*/ 1160458 w 4009365"/>
                <a:gd name="connsiteY538" fmla="*/ 469303 h 871769"/>
                <a:gd name="connsiteX539" fmla="*/ 1157554 w 4009365"/>
                <a:gd name="connsiteY539" fmla="*/ 464823 h 871769"/>
                <a:gd name="connsiteX540" fmla="*/ 1160458 w 4009365"/>
                <a:gd name="connsiteY540" fmla="*/ 464823 h 871769"/>
                <a:gd name="connsiteX541" fmla="*/ 1160458 w 4009365"/>
                <a:gd name="connsiteY541" fmla="*/ 462307 h 871769"/>
                <a:gd name="connsiteX542" fmla="*/ 1159241 w 4009365"/>
                <a:gd name="connsiteY542" fmla="*/ 460592 h 871769"/>
                <a:gd name="connsiteX543" fmla="*/ 1159241 w 4009365"/>
                <a:gd name="connsiteY543" fmla="*/ 450195 h 871769"/>
                <a:gd name="connsiteX544" fmla="*/ 1157554 w 4009365"/>
                <a:gd name="connsiteY544" fmla="*/ 448259 h 871769"/>
                <a:gd name="connsiteX545" fmla="*/ 1161066 w 4009365"/>
                <a:gd name="connsiteY545" fmla="*/ 448259 h 871769"/>
                <a:gd name="connsiteX546" fmla="*/ 1183548 w 4009365"/>
                <a:gd name="connsiteY546" fmla="*/ 393367 h 871769"/>
                <a:gd name="connsiteX547" fmla="*/ 1183797 w 4009365"/>
                <a:gd name="connsiteY547" fmla="*/ 393367 h 871769"/>
                <a:gd name="connsiteX548" fmla="*/ 1183797 w 4009365"/>
                <a:gd name="connsiteY548" fmla="*/ 384435 h 871769"/>
                <a:gd name="connsiteX549" fmla="*/ 1180645 w 4009365"/>
                <a:gd name="connsiteY549" fmla="*/ 384435 h 871769"/>
                <a:gd name="connsiteX550" fmla="*/ 1180645 w 4009365"/>
                <a:gd name="connsiteY550" fmla="*/ 382499 h 871769"/>
                <a:gd name="connsiteX551" fmla="*/ 1183797 w 4009365"/>
                <a:gd name="connsiteY551" fmla="*/ 382499 h 871769"/>
                <a:gd name="connsiteX552" fmla="*/ 2634543 w 4009365"/>
                <a:gd name="connsiteY552" fmla="*/ 348043 h 871769"/>
                <a:gd name="connsiteX553" fmla="*/ 2629952 w 4009365"/>
                <a:gd name="connsiteY553" fmla="*/ 352606 h 871769"/>
                <a:gd name="connsiteX554" fmla="*/ 2629952 w 4009365"/>
                <a:gd name="connsiteY554" fmla="*/ 379236 h 871769"/>
                <a:gd name="connsiteX555" fmla="*/ 2639106 w 4009365"/>
                <a:gd name="connsiteY555" fmla="*/ 379236 h 871769"/>
                <a:gd name="connsiteX556" fmla="*/ 2639106 w 4009365"/>
                <a:gd name="connsiteY556" fmla="*/ 352606 h 871769"/>
                <a:gd name="connsiteX557" fmla="*/ 2634543 w 4009365"/>
                <a:gd name="connsiteY557" fmla="*/ 348043 h 871769"/>
                <a:gd name="connsiteX558" fmla="*/ 2622597 w 4009365"/>
                <a:gd name="connsiteY558" fmla="*/ 348015 h 871769"/>
                <a:gd name="connsiteX559" fmla="*/ 2618034 w 4009365"/>
                <a:gd name="connsiteY559" fmla="*/ 352578 h 871769"/>
                <a:gd name="connsiteX560" fmla="*/ 2618034 w 4009365"/>
                <a:gd name="connsiteY560" fmla="*/ 379208 h 871769"/>
                <a:gd name="connsiteX561" fmla="*/ 2627187 w 4009365"/>
                <a:gd name="connsiteY561" fmla="*/ 379208 h 871769"/>
                <a:gd name="connsiteX562" fmla="*/ 2627187 w 4009365"/>
                <a:gd name="connsiteY562" fmla="*/ 352578 h 871769"/>
                <a:gd name="connsiteX563" fmla="*/ 2627159 w 4009365"/>
                <a:gd name="connsiteY563" fmla="*/ 352578 h 871769"/>
                <a:gd name="connsiteX564" fmla="*/ 2622597 w 4009365"/>
                <a:gd name="connsiteY564" fmla="*/ 348015 h 871769"/>
                <a:gd name="connsiteX565" fmla="*/ 2623592 w 4009365"/>
                <a:gd name="connsiteY565" fmla="*/ 303908 h 871769"/>
                <a:gd name="connsiteX566" fmla="*/ 2623592 w 4009365"/>
                <a:gd name="connsiteY566" fmla="*/ 309467 h 871769"/>
                <a:gd name="connsiteX567" fmla="*/ 2633741 w 4009365"/>
                <a:gd name="connsiteY567" fmla="*/ 309467 h 871769"/>
                <a:gd name="connsiteX568" fmla="*/ 2633741 w 4009365"/>
                <a:gd name="connsiteY568" fmla="*/ 303908 h 871769"/>
                <a:gd name="connsiteX569" fmla="*/ 2628653 w 4009365"/>
                <a:gd name="connsiteY569" fmla="*/ 292571 h 871769"/>
                <a:gd name="connsiteX570" fmla="*/ 2623592 w 4009365"/>
                <a:gd name="connsiteY570" fmla="*/ 297631 h 871769"/>
                <a:gd name="connsiteX571" fmla="*/ 2623592 w 4009365"/>
                <a:gd name="connsiteY571" fmla="*/ 299318 h 871769"/>
                <a:gd name="connsiteX572" fmla="*/ 2633741 w 4009365"/>
                <a:gd name="connsiteY572" fmla="*/ 299318 h 871769"/>
                <a:gd name="connsiteX573" fmla="*/ 2633741 w 4009365"/>
                <a:gd name="connsiteY573" fmla="*/ 297631 h 871769"/>
                <a:gd name="connsiteX574" fmla="*/ 2633713 w 4009365"/>
                <a:gd name="connsiteY574" fmla="*/ 297631 h 871769"/>
                <a:gd name="connsiteX575" fmla="*/ 2628653 w 4009365"/>
                <a:gd name="connsiteY575" fmla="*/ 292571 h 871769"/>
                <a:gd name="connsiteX576" fmla="*/ 2636340 w 4009365"/>
                <a:gd name="connsiteY576" fmla="*/ 270780 h 871769"/>
                <a:gd name="connsiteX577" fmla="*/ 2636340 w 4009365"/>
                <a:gd name="connsiteY577" fmla="*/ 280458 h 871769"/>
                <a:gd name="connsiteX578" fmla="*/ 2640737 w 4009365"/>
                <a:gd name="connsiteY578" fmla="*/ 280458 h 871769"/>
                <a:gd name="connsiteX579" fmla="*/ 2640737 w 4009365"/>
                <a:gd name="connsiteY579" fmla="*/ 270780 h 871769"/>
                <a:gd name="connsiteX580" fmla="*/ 2630174 w 4009365"/>
                <a:gd name="connsiteY580" fmla="*/ 270752 h 871769"/>
                <a:gd name="connsiteX581" fmla="*/ 2630174 w 4009365"/>
                <a:gd name="connsiteY581" fmla="*/ 280431 h 871769"/>
                <a:gd name="connsiteX582" fmla="*/ 2634183 w 4009365"/>
                <a:gd name="connsiteY582" fmla="*/ 280431 h 871769"/>
                <a:gd name="connsiteX583" fmla="*/ 2634183 w 4009365"/>
                <a:gd name="connsiteY583" fmla="*/ 270752 h 871769"/>
                <a:gd name="connsiteX584" fmla="*/ 2623177 w 4009365"/>
                <a:gd name="connsiteY584" fmla="*/ 270752 h 871769"/>
                <a:gd name="connsiteX585" fmla="*/ 2623177 w 4009365"/>
                <a:gd name="connsiteY585" fmla="*/ 280431 h 871769"/>
                <a:gd name="connsiteX586" fmla="*/ 2628542 w 4009365"/>
                <a:gd name="connsiteY586" fmla="*/ 280431 h 871769"/>
                <a:gd name="connsiteX587" fmla="*/ 2628542 w 4009365"/>
                <a:gd name="connsiteY587" fmla="*/ 270752 h 871769"/>
                <a:gd name="connsiteX588" fmla="*/ 2616596 w 4009365"/>
                <a:gd name="connsiteY588" fmla="*/ 270752 h 871769"/>
                <a:gd name="connsiteX589" fmla="*/ 2616596 w 4009365"/>
                <a:gd name="connsiteY589" fmla="*/ 280431 h 871769"/>
                <a:gd name="connsiteX590" fmla="*/ 2620993 w 4009365"/>
                <a:gd name="connsiteY590" fmla="*/ 280431 h 871769"/>
                <a:gd name="connsiteX591" fmla="*/ 2620993 w 4009365"/>
                <a:gd name="connsiteY591" fmla="*/ 270752 h 871769"/>
                <a:gd name="connsiteX592" fmla="*/ 1661231 w 4009365"/>
                <a:gd name="connsiteY592" fmla="*/ 265028 h 871769"/>
                <a:gd name="connsiteX593" fmla="*/ 1691622 w 4009365"/>
                <a:gd name="connsiteY593" fmla="*/ 265028 h 871769"/>
                <a:gd name="connsiteX594" fmla="*/ 1746099 w 4009365"/>
                <a:gd name="connsiteY594" fmla="*/ 265028 h 871769"/>
                <a:gd name="connsiteX595" fmla="*/ 1776490 w 4009365"/>
                <a:gd name="connsiteY595" fmla="*/ 265028 h 871769"/>
                <a:gd name="connsiteX596" fmla="*/ 1776490 w 4009365"/>
                <a:gd name="connsiteY596" fmla="*/ 273960 h 871769"/>
                <a:gd name="connsiteX597" fmla="*/ 1786307 w 4009365"/>
                <a:gd name="connsiteY597" fmla="*/ 273960 h 871769"/>
                <a:gd name="connsiteX598" fmla="*/ 1786307 w 4009365"/>
                <a:gd name="connsiteY598" fmla="*/ 298074 h 871769"/>
                <a:gd name="connsiteX599" fmla="*/ 1795239 w 4009365"/>
                <a:gd name="connsiteY599" fmla="*/ 298074 h 871769"/>
                <a:gd name="connsiteX600" fmla="*/ 1795239 w 4009365"/>
                <a:gd name="connsiteY600" fmla="*/ 307006 h 871769"/>
                <a:gd name="connsiteX601" fmla="*/ 1866695 w 4009365"/>
                <a:gd name="connsiteY601" fmla="*/ 307006 h 871769"/>
                <a:gd name="connsiteX602" fmla="*/ 1866695 w 4009365"/>
                <a:gd name="connsiteY602" fmla="*/ 298074 h 871769"/>
                <a:gd name="connsiteX603" fmla="*/ 1899768 w 4009365"/>
                <a:gd name="connsiteY603" fmla="*/ 298074 h 871769"/>
                <a:gd name="connsiteX604" fmla="*/ 1902174 w 4009365"/>
                <a:gd name="connsiteY604" fmla="*/ 619930 h 871769"/>
                <a:gd name="connsiteX605" fmla="*/ 1857044 w 4009365"/>
                <a:gd name="connsiteY605" fmla="*/ 619930 h 871769"/>
                <a:gd name="connsiteX606" fmla="*/ 1843107 w 4009365"/>
                <a:gd name="connsiteY606" fmla="*/ 619930 h 871769"/>
                <a:gd name="connsiteX607" fmla="*/ 1843107 w 4009365"/>
                <a:gd name="connsiteY607" fmla="*/ 633840 h 871769"/>
                <a:gd name="connsiteX608" fmla="*/ 1843107 w 4009365"/>
                <a:gd name="connsiteY608" fmla="*/ 649132 h 871769"/>
                <a:gd name="connsiteX609" fmla="*/ 1731830 w 4009365"/>
                <a:gd name="connsiteY609" fmla="*/ 649132 h 871769"/>
                <a:gd name="connsiteX610" fmla="*/ 1723451 w 4009365"/>
                <a:gd name="connsiteY610" fmla="*/ 649132 h 871769"/>
                <a:gd name="connsiteX611" fmla="*/ 1723451 w 4009365"/>
                <a:gd name="connsiteY611" fmla="*/ 456416 h 871769"/>
                <a:gd name="connsiteX612" fmla="*/ 1724613 w 4009365"/>
                <a:gd name="connsiteY612" fmla="*/ 455061 h 871769"/>
                <a:gd name="connsiteX613" fmla="*/ 1737112 w 4009365"/>
                <a:gd name="connsiteY613" fmla="*/ 440682 h 871769"/>
                <a:gd name="connsiteX614" fmla="*/ 1727958 w 4009365"/>
                <a:gd name="connsiteY614" fmla="*/ 435787 h 871769"/>
                <a:gd name="connsiteX615" fmla="*/ 1732134 w 4009365"/>
                <a:gd name="connsiteY615" fmla="*/ 430865 h 871769"/>
                <a:gd name="connsiteX616" fmla="*/ 1723700 w 4009365"/>
                <a:gd name="connsiteY616" fmla="*/ 421048 h 871769"/>
                <a:gd name="connsiteX617" fmla="*/ 1719801 w 4009365"/>
                <a:gd name="connsiteY617" fmla="*/ 416485 h 871769"/>
                <a:gd name="connsiteX618" fmla="*/ 1715238 w 4009365"/>
                <a:gd name="connsiteY618" fmla="*/ 411176 h 871769"/>
                <a:gd name="connsiteX619" fmla="*/ 1711394 w 4009365"/>
                <a:gd name="connsiteY619" fmla="*/ 411176 h 871769"/>
                <a:gd name="connsiteX620" fmla="*/ 1696185 w 4009365"/>
                <a:gd name="connsiteY620" fmla="*/ 411176 h 871769"/>
                <a:gd name="connsiteX621" fmla="*/ 1695577 w 4009365"/>
                <a:gd name="connsiteY621" fmla="*/ 411176 h 871769"/>
                <a:gd name="connsiteX622" fmla="*/ 1680727 w 4009365"/>
                <a:gd name="connsiteY622" fmla="*/ 411176 h 871769"/>
                <a:gd name="connsiteX623" fmla="*/ 1665573 w 4009365"/>
                <a:gd name="connsiteY623" fmla="*/ 411176 h 871769"/>
                <a:gd name="connsiteX624" fmla="*/ 1651525 w 4009365"/>
                <a:gd name="connsiteY624" fmla="*/ 411176 h 871769"/>
                <a:gd name="connsiteX625" fmla="*/ 1636343 w 4009365"/>
                <a:gd name="connsiteY625" fmla="*/ 411176 h 871769"/>
                <a:gd name="connsiteX626" fmla="*/ 1629762 w 4009365"/>
                <a:gd name="connsiteY626" fmla="*/ 411176 h 871769"/>
                <a:gd name="connsiteX627" fmla="*/ 1629762 w 4009365"/>
                <a:gd name="connsiteY627" fmla="*/ 407470 h 871769"/>
                <a:gd name="connsiteX628" fmla="*/ 1635403 w 4009365"/>
                <a:gd name="connsiteY628" fmla="*/ 400225 h 871769"/>
                <a:gd name="connsiteX629" fmla="*/ 1628434 w 4009365"/>
                <a:gd name="connsiteY629" fmla="*/ 390933 h 871769"/>
                <a:gd name="connsiteX630" fmla="*/ 1625144 w 4009365"/>
                <a:gd name="connsiteY630" fmla="*/ 386536 h 871769"/>
                <a:gd name="connsiteX631" fmla="*/ 1622655 w 4009365"/>
                <a:gd name="connsiteY631" fmla="*/ 383218 h 871769"/>
                <a:gd name="connsiteX632" fmla="*/ 1618866 w 4009365"/>
                <a:gd name="connsiteY632" fmla="*/ 381642 h 871769"/>
                <a:gd name="connsiteX633" fmla="*/ 1615078 w 4009365"/>
                <a:gd name="connsiteY633" fmla="*/ 380038 h 871769"/>
                <a:gd name="connsiteX634" fmla="*/ 1606975 w 4009365"/>
                <a:gd name="connsiteY634" fmla="*/ 376664 h 871769"/>
                <a:gd name="connsiteX635" fmla="*/ 1605897 w 4009365"/>
                <a:gd name="connsiteY635" fmla="*/ 377466 h 871769"/>
                <a:gd name="connsiteX636" fmla="*/ 1601694 w 4009365"/>
                <a:gd name="connsiteY636" fmla="*/ 376415 h 871769"/>
                <a:gd name="connsiteX637" fmla="*/ 1593730 w 4009365"/>
                <a:gd name="connsiteY637" fmla="*/ 374369 h 871769"/>
                <a:gd name="connsiteX638" fmla="*/ 1593619 w 4009365"/>
                <a:gd name="connsiteY638" fmla="*/ 374452 h 871769"/>
                <a:gd name="connsiteX639" fmla="*/ 1591849 w 4009365"/>
                <a:gd name="connsiteY639" fmla="*/ 373844 h 871769"/>
                <a:gd name="connsiteX640" fmla="*/ 1590632 w 4009365"/>
                <a:gd name="connsiteY640" fmla="*/ 373844 h 871769"/>
                <a:gd name="connsiteX641" fmla="*/ 1589416 w 4009365"/>
                <a:gd name="connsiteY641" fmla="*/ 373844 h 871769"/>
                <a:gd name="connsiteX642" fmla="*/ 1577967 w 4009365"/>
                <a:gd name="connsiteY642" fmla="*/ 360045 h 871769"/>
                <a:gd name="connsiteX643" fmla="*/ 1575036 w 4009365"/>
                <a:gd name="connsiteY643" fmla="*/ 356477 h 871769"/>
                <a:gd name="connsiteX644" fmla="*/ 1570473 w 4009365"/>
                <a:gd name="connsiteY644" fmla="*/ 351002 h 871769"/>
                <a:gd name="connsiteX645" fmla="*/ 1563339 w 4009365"/>
                <a:gd name="connsiteY645" fmla="*/ 351002 h 871769"/>
                <a:gd name="connsiteX646" fmla="*/ 1558084 w 4009365"/>
                <a:gd name="connsiteY646" fmla="*/ 351002 h 871769"/>
                <a:gd name="connsiteX647" fmla="*/ 1542875 w 4009365"/>
                <a:gd name="connsiteY647" fmla="*/ 351002 h 871769"/>
                <a:gd name="connsiteX648" fmla="*/ 1542875 w 4009365"/>
                <a:gd name="connsiteY648" fmla="*/ 351362 h 871769"/>
                <a:gd name="connsiteX649" fmla="*/ 1537953 w 4009365"/>
                <a:gd name="connsiteY649" fmla="*/ 351362 h 871769"/>
                <a:gd name="connsiteX650" fmla="*/ 1537953 w 4009365"/>
                <a:gd name="connsiteY650" fmla="*/ 298074 h 871769"/>
                <a:gd name="connsiteX651" fmla="*/ 1570999 w 4009365"/>
                <a:gd name="connsiteY651" fmla="*/ 298074 h 871769"/>
                <a:gd name="connsiteX652" fmla="*/ 1570999 w 4009365"/>
                <a:gd name="connsiteY652" fmla="*/ 307006 h 871769"/>
                <a:gd name="connsiteX653" fmla="*/ 1642482 w 4009365"/>
                <a:gd name="connsiteY653" fmla="*/ 307006 h 871769"/>
                <a:gd name="connsiteX654" fmla="*/ 1642482 w 4009365"/>
                <a:gd name="connsiteY654" fmla="*/ 298074 h 871769"/>
                <a:gd name="connsiteX655" fmla="*/ 1651414 w 4009365"/>
                <a:gd name="connsiteY655" fmla="*/ 298074 h 871769"/>
                <a:gd name="connsiteX656" fmla="*/ 1651414 w 4009365"/>
                <a:gd name="connsiteY656" fmla="*/ 273960 h 871769"/>
                <a:gd name="connsiteX657" fmla="*/ 1661231 w 4009365"/>
                <a:gd name="connsiteY657" fmla="*/ 273960 h 871769"/>
                <a:gd name="connsiteX658" fmla="*/ 2628653 w 4009365"/>
                <a:gd name="connsiteY658" fmla="*/ 238149 h 871769"/>
                <a:gd name="connsiteX659" fmla="*/ 2630754 w 4009365"/>
                <a:gd name="connsiteY659" fmla="*/ 240334 h 871769"/>
                <a:gd name="connsiteX660" fmla="*/ 2629399 w 4009365"/>
                <a:gd name="connsiteY660" fmla="*/ 242380 h 871769"/>
                <a:gd name="connsiteX661" fmla="*/ 2629399 w 4009365"/>
                <a:gd name="connsiteY661" fmla="*/ 244675 h 871769"/>
                <a:gd name="connsiteX662" fmla="*/ 2630893 w 4009365"/>
                <a:gd name="connsiteY662" fmla="*/ 244675 h 871769"/>
                <a:gd name="connsiteX663" fmla="*/ 2630893 w 4009365"/>
                <a:gd name="connsiteY663" fmla="*/ 254354 h 871769"/>
                <a:gd name="connsiteX664" fmla="*/ 2643419 w 4009365"/>
                <a:gd name="connsiteY664" fmla="*/ 267932 h 871769"/>
                <a:gd name="connsiteX665" fmla="*/ 2644774 w 4009365"/>
                <a:gd name="connsiteY665" fmla="*/ 267932 h 871769"/>
                <a:gd name="connsiteX666" fmla="*/ 2644774 w 4009365"/>
                <a:gd name="connsiteY666" fmla="*/ 270752 h 871769"/>
                <a:gd name="connsiteX667" fmla="*/ 2642231 w 4009365"/>
                <a:gd name="connsiteY667" fmla="*/ 270752 h 871769"/>
                <a:gd name="connsiteX668" fmla="*/ 2642231 w 4009365"/>
                <a:gd name="connsiteY668" fmla="*/ 280431 h 871769"/>
                <a:gd name="connsiteX669" fmla="*/ 2643558 w 4009365"/>
                <a:gd name="connsiteY669" fmla="*/ 280431 h 871769"/>
                <a:gd name="connsiteX670" fmla="*/ 2643558 w 4009365"/>
                <a:gd name="connsiteY670" fmla="*/ 283860 h 871769"/>
                <a:gd name="connsiteX671" fmla="*/ 2649061 w 4009365"/>
                <a:gd name="connsiteY671" fmla="*/ 283860 h 871769"/>
                <a:gd name="connsiteX672" fmla="*/ 2651605 w 4009365"/>
                <a:gd name="connsiteY672" fmla="*/ 286985 h 871769"/>
                <a:gd name="connsiteX673" fmla="*/ 2651605 w 4009365"/>
                <a:gd name="connsiteY673" fmla="*/ 290718 h 871769"/>
                <a:gd name="connsiteX674" fmla="*/ 2649061 w 4009365"/>
                <a:gd name="connsiteY674" fmla="*/ 292654 h 871769"/>
                <a:gd name="connsiteX675" fmla="*/ 2649061 w 4009365"/>
                <a:gd name="connsiteY675" fmla="*/ 302802 h 871769"/>
                <a:gd name="connsiteX676" fmla="*/ 2652434 w 4009365"/>
                <a:gd name="connsiteY676" fmla="*/ 307863 h 871769"/>
                <a:gd name="connsiteX677" fmla="*/ 2652434 w 4009365"/>
                <a:gd name="connsiteY677" fmla="*/ 312923 h 871769"/>
                <a:gd name="connsiteX678" fmla="*/ 2650720 w 4009365"/>
                <a:gd name="connsiteY678" fmla="*/ 316214 h 871769"/>
                <a:gd name="connsiteX679" fmla="*/ 2654149 w 4009365"/>
                <a:gd name="connsiteY679" fmla="*/ 320086 h 871769"/>
                <a:gd name="connsiteX680" fmla="*/ 2654149 w 4009365"/>
                <a:gd name="connsiteY680" fmla="*/ 330373 h 871769"/>
                <a:gd name="connsiteX681" fmla="*/ 2657661 w 4009365"/>
                <a:gd name="connsiteY681" fmla="*/ 330373 h 871769"/>
                <a:gd name="connsiteX682" fmla="*/ 2657301 w 4009365"/>
                <a:gd name="connsiteY682" fmla="*/ 336484 h 871769"/>
                <a:gd name="connsiteX683" fmla="*/ 2655200 w 4009365"/>
                <a:gd name="connsiteY683" fmla="*/ 337535 h 871769"/>
                <a:gd name="connsiteX684" fmla="*/ 2655200 w 4009365"/>
                <a:gd name="connsiteY684" fmla="*/ 387034 h 871769"/>
                <a:gd name="connsiteX685" fmla="*/ 2660122 w 4009365"/>
                <a:gd name="connsiteY685" fmla="*/ 389108 h 871769"/>
                <a:gd name="connsiteX686" fmla="*/ 2660122 w 4009365"/>
                <a:gd name="connsiteY686" fmla="*/ 395220 h 871769"/>
                <a:gd name="connsiteX687" fmla="*/ 2657301 w 4009365"/>
                <a:gd name="connsiteY687" fmla="*/ 397294 h 871769"/>
                <a:gd name="connsiteX688" fmla="*/ 2660121 w 4009365"/>
                <a:gd name="connsiteY688" fmla="*/ 553147 h 871769"/>
                <a:gd name="connsiteX689" fmla="*/ 2597211 w 4009365"/>
                <a:gd name="connsiteY689" fmla="*/ 553147 h 871769"/>
                <a:gd name="connsiteX690" fmla="*/ 2600059 w 4009365"/>
                <a:gd name="connsiteY690" fmla="*/ 397266 h 871769"/>
                <a:gd name="connsiteX691" fmla="*/ 2597211 w 4009365"/>
                <a:gd name="connsiteY691" fmla="*/ 395192 h 871769"/>
                <a:gd name="connsiteX692" fmla="*/ 2597211 w 4009365"/>
                <a:gd name="connsiteY692" fmla="*/ 389081 h 871769"/>
                <a:gd name="connsiteX693" fmla="*/ 2602133 w 4009365"/>
                <a:gd name="connsiteY693" fmla="*/ 387007 h 871769"/>
                <a:gd name="connsiteX694" fmla="*/ 2602133 w 4009365"/>
                <a:gd name="connsiteY694" fmla="*/ 337507 h 871769"/>
                <a:gd name="connsiteX695" fmla="*/ 2600059 w 4009365"/>
                <a:gd name="connsiteY695" fmla="*/ 336456 h 871769"/>
                <a:gd name="connsiteX696" fmla="*/ 2599700 w 4009365"/>
                <a:gd name="connsiteY696" fmla="*/ 330345 h 871769"/>
                <a:gd name="connsiteX697" fmla="*/ 2603212 w 4009365"/>
                <a:gd name="connsiteY697" fmla="*/ 330345 h 871769"/>
                <a:gd name="connsiteX698" fmla="*/ 2603212 w 4009365"/>
                <a:gd name="connsiteY698" fmla="*/ 320058 h 871769"/>
                <a:gd name="connsiteX699" fmla="*/ 2606641 w 4009365"/>
                <a:gd name="connsiteY699" fmla="*/ 316187 h 871769"/>
                <a:gd name="connsiteX700" fmla="*/ 2604926 w 4009365"/>
                <a:gd name="connsiteY700" fmla="*/ 312896 h 871769"/>
                <a:gd name="connsiteX701" fmla="*/ 2604926 w 4009365"/>
                <a:gd name="connsiteY701" fmla="*/ 307835 h 871769"/>
                <a:gd name="connsiteX702" fmla="*/ 2608272 w 4009365"/>
                <a:gd name="connsiteY702" fmla="*/ 302775 h 871769"/>
                <a:gd name="connsiteX703" fmla="*/ 2608272 w 4009365"/>
                <a:gd name="connsiteY703" fmla="*/ 292626 h 871769"/>
                <a:gd name="connsiteX704" fmla="*/ 2605728 w 4009365"/>
                <a:gd name="connsiteY704" fmla="*/ 290690 h 871769"/>
                <a:gd name="connsiteX705" fmla="*/ 2605728 w 4009365"/>
                <a:gd name="connsiteY705" fmla="*/ 286957 h 871769"/>
                <a:gd name="connsiteX706" fmla="*/ 2608272 w 4009365"/>
                <a:gd name="connsiteY706" fmla="*/ 283832 h 871769"/>
                <a:gd name="connsiteX707" fmla="*/ 2613775 w 4009365"/>
                <a:gd name="connsiteY707" fmla="*/ 283832 h 871769"/>
                <a:gd name="connsiteX708" fmla="*/ 2613775 w 4009365"/>
                <a:gd name="connsiteY708" fmla="*/ 280403 h 871769"/>
                <a:gd name="connsiteX709" fmla="*/ 2615130 w 4009365"/>
                <a:gd name="connsiteY709" fmla="*/ 280403 h 871769"/>
                <a:gd name="connsiteX710" fmla="*/ 2615130 w 4009365"/>
                <a:gd name="connsiteY710" fmla="*/ 270725 h 871769"/>
                <a:gd name="connsiteX711" fmla="*/ 2612586 w 4009365"/>
                <a:gd name="connsiteY711" fmla="*/ 270725 h 871769"/>
                <a:gd name="connsiteX712" fmla="*/ 2612586 w 4009365"/>
                <a:gd name="connsiteY712" fmla="*/ 267904 h 871769"/>
                <a:gd name="connsiteX713" fmla="*/ 2613914 w 4009365"/>
                <a:gd name="connsiteY713" fmla="*/ 267904 h 871769"/>
                <a:gd name="connsiteX714" fmla="*/ 2626440 w 4009365"/>
                <a:gd name="connsiteY714" fmla="*/ 254326 h 871769"/>
                <a:gd name="connsiteX715" fmla="*/ 2626440 w 4009365"/>
                <a:gd name="connsiteY715" fmla="*/ 244648 h 871769"/>
                <a:gd name="connsiteX716" fmla="*/ 2627768 w 4009365"/>
                <a:gd name="connsiteY716" fmla="*/ 244648 h 871769"/>
                <a:gd name="connsiteX717" fmla="*/ 2627768 w 4009365"/>
                <a:gd name="connsiteY717" fmla="*/ 242297 h 871769"/>
                <a:gd name="connsiteX718" fmla="*/ 2626579 w 4009365"/>
                <a:gd name="connsiteY718" fmla="*/ 240334 h 871769"/>
                <a:gd name="connsiteX719" fmla="*/ 2628653 w 4009365"/>
                <a:gd name="connsiteY719" fmla="*/ 238149 h 871769"/>
                <a:gd name="connsiteX720" fmla="*/ 1976562 w 4009365"/>
                <a:gd name="connsiteY720" fmla="*/ 214589 h 871769"/>
                <a:gd name="connsiteX721" fmla="*/ 1976562 w 4009365"/>
                <a:gd name="connsiteY721" fmla="*/ 220866 h 871769"/>
                <a:gd name="connsiteX722" fmla="*/ 1977834 w 4009365"/>
                <a:gd name="connsiteY722" fmla="*/ 220866 h 871769"/>
                <a:gd name="connsiteX723" fmla="*/ 1977834 w 4009365"/>
                <a:gd name="connsiteY723" fmla="*/ 222968 h 871769"/>
                <a:gd name="connsiteX724" fmla="*/ 1978829 w 4009365"/>
                <a:gd name="connsiteY724" fmla="*/ 223963 h 871769"/>
                <a:gd name="connsiteX725" fmla="*/ 1978829 w 4009365"/>
                <a:gd name="connsiteY725" fmla="*/ 214589 h 871769"/>
                <a:gd name="connsiteX726" fmla="*/ 1965003 w 4009365"/>
                <a:gd name="connsiteY726" fmla="*/ 214533 h 871769"/>
                <a:gd name="connsiteX727" fmla="*/ 1965003 w 4009365"/>
                <a:gd name="connsiteY727" fmla="*/ 223935 h 871769"/>
                <a:gd name="connsiteX728" fmla="*/ 1965998 w 4009365"/>
                <a:gd name="connsiteY728" fmla="*/ 222940 h 871769"/>
                <a:gd name="connsiteX729" fmla="*/ 1965998 w 4009365"/>
                <a:gd name="connsiteY729" fmla="*/ 220838 h 871769"/>
                <a:gd name="connsiteX730" fmla="*/ 1967270 w 4009365"/>
                <a:gd name="connsiteY730" fmla="*/ 220838 h 871769"/>
                <a:gd name="connsiteX731" fmla="*/ 1967270 w 4009365"/>
                <a:gd name="connsiteY731" fmla="*/ 214533 h 871769"/>
                <a:gd name="connsiteX732" fmla="*/ 2526143 w 4009365"/>
                <a:gd name="connsiteY732" fmla="*/ 138874 h 871769"/>
                <a:gd name="connsiteX733" fmla="*/ 2533526 w 4009365"/>
                <a:gd name="connsiteY733" fmla="*/ 138874 h 871769"/>
                <a:gd name="connsiteX734" fmla="*/ 2533526 w 4009365"/>
                <a:gd name="connsiteY734" fmla="*/ 160112 h 871769"/>
                <a:gd name="connsiteX735" fmla="*/ 2576001 w 4009365"/>
                <a:gd name="connsiteY735" fmla="*/ 160112 h 871769"/>
                <a:gd name="connsiteX736" fmla="*/ 2579596 w 4009365"/>
                <a:gd name="connsiteY736" fmla="*/ 570873 h 871769"/>
                <a:gd name="connsiteX737" fmla="*/ 2675719 w 4009365"/>
                <a:gd name="connsiteY737" fmla="*/ 570873 h 871769"/>
                <a:gd name="connsiteX738" fmla="*/ 2680337 w 4009365"/>
                <a:gd name="connsiteY738" fmla="*/ 275481 h 871769"/>
                <a:gd name="connsiteX739" fmla="*/ 2686808 w 4009365"/>
                <a:gd name="connsiteY739" fmla="*/ 275481 h 871769"/>
                <a:gd name="connsiteX740" fmla="*/ 2686808 w 4009365"/>
                <a:gd name="connsiteY740" fmla="*/ 257949 h 871769"/>
                <a:gd name="connsiteX741" fmla="*/ 2680337 w 4009365"/>
                <a:gd name="connsiteY741" fmla="*/ 257949 h 871769"/>
                <a:gd name="connsiteX742" fmla="*/ 2680337 w 4009365"/>
                <a:gd name="connsiteY742" fmla="*/ 241329 h 871769"/>
                <a:gd name="connsiteX743" fmla="*/ 2764375 w 4009365"/>
                <a:gd name="connsiteY743" fmla="*/ 241329 h 871769"/>
                <a:gd name="connsiteX744" fmla="*/ 2764375 w 4009365"/>
                <a:gd name="connsiteY744" fmla="*/ 213648 h 871769"/>
                <a:gd name="connsiteX745" fmla="*/ 2865006 w 4009365"/>
                <a:gd name="connsiteY745" fmla="*/ 213648 h 871769"/>
                <a:gd name="connsiteX746" fmla="*/ 2865006 w 4009365"/>
                <a:gd name="connsiteY746" fmla="*/ 241329 h 871769"/>
                <a:gd name="connsiteX747" fmla="*/ 2949044 w 4009365"/>
                <a:gd name="connsiteY747" fmla="*/ 241329 h 871769"/>
                <a:gd name="connsiteX748" fmla="*/ 2949044 w 4009365"/>
                <a:gd name="connsiteY748" fmla="*/ 257949 h 871769"/>
                <a:gd name="connsiteX749" fmla="*/ 2943513 w 4009365"/>
                <a:gd name="connsiteY749" fmla="*/ 257949 h 871769"/>
                <a:gd name="connsiteX750" fmla="*/ 2943513 w 4009365"/>
                <a:gd name="connsiteY750" fmla="*/ 275481 h 871769"/>
                <a:gd name="connsiteX751" fmla="*/ 2949044 w 4009365"/>
                <a:gd name="connsiteY751" fmla="*/ 275481 h 871769"/>
                <a:gd name="connsiteX752" fmla="*/ 2954243 w 4009365"/>
                <a:gd name="connsiteY752" fmla="*/ 840272 h 871769"/>
                <a:gd name="connsiteX753" fmla="*/ 2962981 w 4009365"/>
                <a:gd name="connsiteY753" fmla="*/ 666028 h 871769"/>
                <a:gd name="connsiteX754" fmla="*/ 2967406 w 4009365"/>
                <a:gd name="connsiteY754" fmla="*/ 660276 h 871769"/>
                <a:gd name="connsiteX755" fmla="*/ 2967406 w 4009365"/>
                <a:gd name="connsiteY755" fmla="*/ 590756 h 871769"/>
                <a:gd name="connsiteX756" fmla="*/ 2970614 w 4009365"/>
                <a:gd name="connsiteY756" fmla="*/ 589180 h 871769"/>
                <a:gd name="connsiteX757" fmla="*/ 2969176 w 4009365"/>
                <a:gd name="connsiteY757" fmla="*/ 587355 h 871769"/>
                <a:gd name="connsiteX758" fmla="*/ 2969176 w 4009365"/>
                <a:gd name="connsiteY758" fmla="*/ 583815 h 871769"/>
                <a:gd name="connsiteX759" fmla="*/ 2973600 w 4009365"/>
                <a:gd name="connsiteY759" fmla="*/ 582349 h 871769"/>
                <a:gd name="connsiteX760" fmla="*/ 2973600 w 4009365"/>
                <a:gd name="connsiteY760" fmla="*/ 574828 h 871769"/>
                <a:gd name="connsiteX761" fmla="*/ 2972107 w 4009365"/>
                <a:gd name="connsiteY761" fmla="*/ 573224 h 871769"/>
                <a:gd name="connsiteX762" fmla="*/ 2975950 w 4009365"/>
                <a:gd name="connsiteY762" fmla="*/ 563324 h 871769"/>
                <a:gd name="connsiteX763" fmla="*/ 2977278 w 4009365"/>
                <a:gd name="connsiteY763" fmla="*/ 563324 h 871769"/>
                <a:gd name="connsiteX764" fmla="*/ 2979352 w 4009365"/>
                <a:gd name="connsiteY764" fmla="*/ 558734 h 871769"/>
                <a:gd name="connsiteX765" fmla="*/ 2978633 w 4009365"/>
                <a:gd name="connsiteY765" fmla="*/ 557545 h 871769"/>
                <a:gd name="connsiteX766" fmla="*/ 2980403 w 4009365"/>
                <a:gd name="connsiteY766" fmla="*/ 556798 h 871769"/>
                <a:gd name="connsiteX767" fmla="*/ 2979214 w 4009365"/>
                <a:gd name="connsiteY767" fmla="*/ 554724 h 871769"/>
                <a:gd name="connsiteX768" fmla="*/ 2981426 w 4009365"/>
                <a:gd name="connsiteY768" fmla="*/ 550880 h 871769"/>
                <a:gd name="connsiteX769" fmla="*/ 2983334 w 4009365"/>
                <a:gd name="connsiteY769" fmla="*/ 554724 h 871769"/>
                <a:gd name="connsiteX770" fmla="*/ 2982145 w 4009365"/>
                <a:gd name="connsiteY770" fmla="*/ 556494 h 871769"/>
                <a:gd name="connsiteX771" fmla="*/ 2984496 w 4009365"/>
                <a:gd name="connsiteY771" fmla="*/ 557379 h 871769"/>
                <a:gd name="connsiteX772" fmla="*/ 2983168 w 4009365"/>
                <a:gd name="connsiteY772" fmla="*/ 559010 h 871769"/>
                <a:gd name="connsiteX773" fmla="*/ 2989528 w 4009365"/>
                <a:gd name="connsiteY773" fmla="*/ 573196 h 871769"/>
                <a:gd name="connsiteX774" fmla="*/ 2987758 w 4009365"/>
                <a:gd name="connsiteY774" fmla="*/ 575409 h 871769"/>
                <a:gd name="connsiteX775" fmla="*/ 2988007 w 4009365"/>
                <a:gd name="connsiteY775" fmla="*/ 580552 h 871769"/>
                <a:gd name="connsiteX776" fmla="*/ 3031312 w 4009365"/>
                <a:gd name="connsiteY776" fmla="*/ 559121 h 871769"/>
                <a:gd name="connsiteX777" fmla="*/ 3031312 w 4009365"/>
                <a:gd name="connsiteY777" fmla="*/ 542778 h 871769"/>
                <a:gd name="connsiteX778" fmla="*/ 3033386 w 4009365"/>
                <a:gd name="connsiteY778" fmla="*/ 542778 h 871769"/>
                <a:gd name="connsiteX779" fmla="*/ 3034852 w 4009365"/>
                <a:gd name="connsiteY779" fmla="*/ 537164 h 871769"/>
                <a:gd name="connsiteX780" fmla="*/ 3034271 w 4009365"/>
                <a:gd name="connsiteY780" fmla="*/ 536583 h 871769"/>
                <a:gd name="connsiteX781" fmla="*/ 3035156 w 4009365"/>
                <a:gd name="connsiteY781" fmla="*/ 535118 h 871769"/>
                <a:gd name="connsiteX782" fmla="*/ 3034409 w 4009365"/>
                <a:gd name="connsiteY782" fmla="*/ 533210 h 871769"/>
                <a:gd name="connsiteX783" fmla="*/ 3036318 w 4009365"/>
                <a:gd name="connsiteY783" fmla="*/ 530859 h 871769"/>
                <a:gd name="connsiteX784" fmla="*/ 3038088 w 4009365"/>
                <a:gd name="connsiteY784" fmla="*/ 533071 h 871769"/>
                <a:gd name="connsiteX785" fmla="*/ 3037202 w 4009365"/>
                <a:gd name="connsiteY785" fmla="*/ 534979 h 871769"/>
                <a:gd name="connsiteX786" fmla="*/ 3038088 w 4009365"/>
                <a:gd name="connsiteY786" fmla="*/ 536307 h 871769"/>
                <a:gd name="connsiteX787" fmla="*/ 3037341 w 4009365"/>
                <a:gd name="connsiteY787" fmla="*/ 537772 h 871769"/>
                <a:gd name="connsiteX788" fmla="*/ 3039249 w 4009365"/>
                <a:gd name="connsiteY788" fmla="*/ 543386 h 871769"/>
                <a:gd name="connsiteX789" fmla="*/ 3041323 w 4009365"/>
                <a:gd name="connsiteY789" fmla="*/ 543524 h 871769"/>
                <a:gd name="connsiteX790" fmla="*/ 3041323 w 4009365"/>
                <a:gd name="connsiteY790" fmla="*/ 554143 h 871769"/>
                <a:gd name="connsiteX791" fmla="*/ 3054762 w 4009365"/>
                <a:gd name="connsiteY791" fmla="*/ 547506 h 871769"/>
                <a:gd name="connsiteX792" fmla="*/ 3054762 w 4009365"/>
                <a:gd name="connsiteY792" fmla="*/ 533486 h 871769"/>
                <a:gd name="connsiteX793" fmla="*/ 3057417 w 4009365"/>
                <a:gd name="connsiteY793" fmla="*/ 533486 h 871769"/>
                <a:gd name="connsiteX794" fmla="*/ 3060376 w 4009365"/>
                <a:gd name="connsiteY794" fmla="*/ 525356 h 871769"/>
                <a:gd name="connsiteX795" fmla="*/ 3058744 w 4009365"/>
                <a:gd name="connsiteY795" fmla="*/ 525356 h 871769"/>
                <a:gd name="connsiteX796" fmla="*/ 3057583 w 4009365"/>
                <a:gd name="connsiteY796" fmla="*/ 520932 h 871769"/>
                <a:gd name="connsiteX797" fmla="*/ 3066432 w 4009365"/>
                <a:gd name="connsiteY797" fmla="*/ 515760 h 871769"/>
                <a:gd name="connsiteX798" fmla="*/ 3067483 w 4009365"/>
                <a:gd name="connsiteY798" fmla="*/ 450360 h 871769"/>
                <a:gd name="connsiteX799" fmla="*/ 3065851 w 4009365"/>
                <a:gd name="connsiteY799" fmla="*/ 448286 h 871769"/>
                <a:gd name="connsiteX800" fmla="*/ 3065851 w 4009365"/>
                <a:gd name="connsiteY800" fmla="*/ 445466 h 871769"/>
                <a:gd name="connsiteX801" fmla="*/ 3067483 w 4009365"/>
                <a:gd name="connsiteY801" fmla="*/ 444138 h 871769"/>
                <a:gd name="connsiteX802" fmla="*/ 3068064 w 4009365"/>
                <a:gd name="connsiteY802" fmla="*/ 425251 h 871769"/>
                <a:gd name="connsiteX803" fmla="*/ 3065713 w 4009365"/>
                <a:gd name="connsiteY803" fmla="*/ 423177 h 871769"/>
                <a:gd name="connsiteX804" fmla="*/ 3065713 w 4009365"/>
                <a:gd name="connsiteY804" fmla="*/ 420523 h 871769"/>
                <a:gd name="connsiteX805" fmla="*/ 3068064 w 4009365"/>
                <a:gd name="connsiteY805" fmla="*/ 419333 h 871769"/>
                <a:gd name="connsiteX806" fmla="*/ 3068064 w 4009365"/>
                <a:gd name="connsiteY806" fmla="*/ 411950 h 871769"/>
                <a:gd name="connsiteX807" fmla="*/ 3067179 w 4009365"/>
                <a:gd name="connsiteY807" fmla="*/ 410623 h 871769"/>
                <a:gd name="connsiteX808" fmla="*/ 3067013 w 4009365"/>
                <a:gd name="connsiteY808" fmla="*/ 408410 h 871769"/>
                <a:gd name="connsiteX809" fmla="*/ 3071161 w 4009365"/>
                <a:gd name="connsiteY809" fmla="*/ 402852 h 871769"/>
                <a:gd name="connsiteX810" fmla="*/ 3071161 w 4009365"/>
                <a:gd name="connsiteY810" fmla="*/ 397653 h 871769"/>
                <a:gd name="connsiteX811" fmla="*/ 3069972 w 4009365"/>
                <a:gd name="connsiteY811" fmla="*/ 395137 h 871769"/>
                <a:gd name="connsiteX812" fmla="*/ 3076166 w 4009365"/>
                <a:gd name="connsiteY812" fmla="*/ 383025 h 871769"/>
                <a:gd name="connsiteX813" fmla="*/ 3075585 w 4009365"/>
                <a:gd name="connsiteY813" fmla="*/ 379928 h 871769"/>
                <a:gd name="connsiteX814" fmla="*/ 3077659 w 4009365"/>
                <a:gd name="connsiteY814" fmla="*/ 376969 h 871769"/>
                <a:gd name="connsiteX815" fmla="*/ 3079125 w 4009365"/>
                <a:gd name="connsiteY815" fmla="*/ 379623 h 871769"/>
                <a:gd name="connsiteX816" fmla="*/ 3078240 w 4009365"/>
                <a:gd name="connsiteY816" fmla="*/ 382859 h 871769"/>
                <a:gd name="connsiteX817" fmla="*/ 3080010 w 4009365"/>
                <a:gd name="connsiteY817" fmla="*/ 385209 h 871769"/>
                <a:gd name="connsiteX818" fmla="*/ 3099007 w 4009365"/>
                <a:gd name="connsiteY818" fmla="*/ 257285 h 871769"/>
                <a:gd name="connsiteX819" fmla="*/ 3097127 w 4009365"/>
                <a:gd name="connsiteY819" fmla="*/ 254078 h 871769"/>
                <a:gd name="connsiteX820" fmla="*/ 3100280 w 4009365"/>
                <a:gd name="connsiteY820" fmla="*/ 250289 h 871769"/>
                <a:gd name="connsiteX821" fmla="*/ 3100280 w 4009365"/>
                <a:gd name="connsiteY821" fmla="*/ 237430 h 871769"/>
                <a:gd name="connsiteX822" fmla="*/ 3094445 w 4009365"/>
                <a:gd name="connsiteY822" fmla="*/ 237458 h 871769"/>
                <a:gd name="connsiteX823" fmla="*/ 3093145 w 4009365"/>
                <a:gd name="connsiteY823" fmla="*/ 238758 h 871769"/>
                <a:gd name="connsiteX824" fmla="*/ 3091845 w 4009365"/>
                <a:gd name="connsiteY824" fmla="*/ 237458 h 871769"/>
                <a:gd name="connsiteX825" fmla="*/ 3091845 w 4009365"/>
                <a:gd name="connsiteY825" fmla="*/ 237403 h 871769"/>
                <a:gd name="connsiteX826" fmla="*/ 3090573 w 4009365"/>
                <a:gd name="connsiteY826" fmla="*/ 235854 h 871769"/>
                <a:gd name="connsiteX827" fmla="*/ 3091873 w 4009365"/>
                <a:gd name="connsiteY827" fmla="*/ 234305 h 871769"/>
                <a:gd name="connsiteX828" fmla="*/ 3093145 w 4009365"/>
                <a:gd name="connsiteY828" fmla="*/ 233227 h 871769"/>
                <a:gd name="connsiteX829" fmla="*/ 3094417 w 4009365"/>
                <a:gd name="connsiteY829" fmla="*/ 234278 h 871769"/>
                <a:gd name="connsiteX830" fmla="*/ 3100280 w 4009365"/>
                <a:gd name="connsiteY830" fmla="*/ 234278 h 871769"/>
                <a:gd name="connsiteX831" fmla="*/ 3100280 w 4009365"/>
                <a:gd name="connsiteY831" fmla="*/ 228526 h 871769"/>
                <a:gd name="connsiteX832" fmla="*/ 3100141 w 4009365"/>
                <a:gd name="connsiteY832" fmla="*/ 228526 h 871769"/>
                <a:gd name="connsiteX833" fmla="*/ 3099007 w 4009365"/>
                <a:gd name="connsiteY833" fmla="*/ 227392 h 871769"/>
                <a:gd name="connsiteX834" fmla="*/ 3100141 w 4009365"/>
                <a:gd name="connsiteY834" fmla="*/ 226258 h 871769"/>
                <a:gd name="connsiteX835" fmla="*/ 3100280 w 4009365"/>
                <a:gd name="connsiteY835" fmla="*/ 226258 h 871769"/>
                <a:gd name="connsiteX836" fmla="*/ 3100280 w 4009365"/>
                <a:gd name="connsiteY836" fmla="*/ 225954 h 871769"/>
                <a:gd name="connsiteX837" fmla="*/ 3101911 w 4009365"/>
                <a:gd name="connsiteY837" fmla="*/ 224323 h 871769"/>
                <a:gd name="connsiteX838" fmla="*/ 3103543 w 4009365"/>
                <a:gd name="connsiteY838" fmla="*/ 225954 h 871769"/>
                <a:gd name="connsiteX839" fmla="*/ 3103543 w 4009365"/>
                <a:gd name="connsiteY839" fmla="*/ 226258 h 871769"/>
                <a:gd name="connsiteX840" fmla="*/ 3104677 w 4009365"/>
                <a:gd name="connsiteY840" fmla="*/ 227392 h 871769"/>
                <a:gd name="connsiteX841" fmla="*/ 3103543 w 4009365"/>
                <a:gd name="connsiteY841" fmla="*/ 228526 h 871769"/>
                <a:gd name="connsiteX842" fmla="*/ 3103543 w 4009365"/>
                <a:gd name="connsiteY842" fmla="*/ 234278 h 871769"/>
                <a:gd name="connsiteX843" fmla="*/ 3109516 w 4009365"/>
                <a:gd name="connsiteY843" fmla="*/ 234278 h 871769"/>
                <a:gd name="connsiteX844" fmla="*/ 3110622 w 4009365"/>
                <a:gd name="connsiteY844" fmla="*/ 233227 h 871769"/>
                <a:gd name="connsiteX845" fmla="*/ 3111728 w 4009365"/>
                <a:gd name="connsiteY845" fmla="*/ 234278 h 871769"/>
                <a:gd name="connsiteX846" fmla="*/ 3113221 w 4009365"/>
                <a:gd name="connsiteY846" fmla="*/ 235826 h 871769"/>
                <a:gd name="connsiteX847" fmla="*/ 3111728 w 4009365"/>
                <a:gd name="connsiteY847" fmla="*/ 237403 h 871769"/>
                <a:gd name="connsiteX848" fmla="*/ 3111728 w 4009365"/>
                <a:gd name="connsiteY848" fmla="*/ 237956 h 871769"/>
                <a:gd name="connsiteX849" fmla="*/ 3110622 w 4009365"/>
                <a:gd name="connsiteY849" fmla="*/ 239062 h 871769"/>
                <a:gd name="connsiteX850" fmla="*/ 3109516 w 4009365"/>
                <a:gd name="connsiteY850" fmla="*/ 237956 h 871769"/>
                <a:gd name="connsiteX851" fmla="*/ 3109516 w 4009365"/>
                <a:gd name="connsiteY851" fmla="*/ 237403 h 871769"/>
                <a:gd name="connsiteX852" fmla="*/ 3103543 w 4009365"/>
                <a:gd name="connsiteY852" fmla="*/ 237403 h 871769"/>
                <a:gd name="connsiteX853" fmla="*/ 3103543 w 4009365"/>
                <a:gd name="connsiteY853" fmla="*/ 250289 h 871769"/>
                <a:gd name="connsiteX854" fmla="*/ 3106584 w 4009365"/>
                <a:gd name="connsiteY854" fmla="*/ 254022 h 871769"/>
                <a:gd name="connsiteX855" fmla="*/ 3104455 w 4009365"/>
                <a:gd name="connsiteY855" fmla="*/ 257368 h 871769"/>
                <a:gd name="connsiteX856" fmla="*/ 3123426 w 4009365"/>
                <a:gd name="connsiteY856" fmla="*/ 385126 h 871769"/>
                <a:gd name="connsiteX857" fmla="*/ 3125195 w 4009365"/>
                <a:gd name="connsiteY857" fmla="*/ 382776 h 871769"/>
                <a:gd name="connsiteX858" fmla="*/ 3124310 w 4009365"/>
                <a:gd name="connsiteY858" fmla="*/ 379540 h 871769"/>
                <a:gd name="connsiteX859" fmla="*/ 3125776 w 4009365"/>
                <a:gd name="connsiteY859" fmla="*/ 376886 h 871769"/>
                <a:gd name="connsiteX860" fmla="*/ 3127850 w 4009365"/>
                <a:gd name="connsiteY860" fmla="*/ 379845 h 871769"/>
                <a:gd name="connsiteX861" fmla="*/ 3127269 w 4009365"/>
                <a:gd name="connsiteY861" fmla="*/ 382942 h 871769"/>
                <a:gd name="connsiteX862" fmla="*/ 3133464 w 4009365"/>
                <a:gd name="connsiteY862" fmla="*/ 395054 h 871769"/>
                <a:gd name="connsiteX863" fmla="*/ 3132302 w 4009365"/>
                <a:gd name="connsiteY863" fmla="*/ 397570 h 871769"/>
                <a:gd name="connsiteX864" fmla="*/ 3132302 w 4009365"/>
                <a:gd name="connsiteY864" fmla="*/ 402769 h 871769"/>
                <a:gd name="connsiteX865" fmla="*/ 3136422 w 4009365"/>
                <a:gd name="connsiteY865" fmla="*/ 408327 h 871769"/>
                <a:gd name="connsiteX866" fmla="*/ 3136284 w 4009365"/>
                <a:gd name="connsiteY866" fmla="*/ 410540 h 871769"/>
                <a:gd name="connsiteX867" fmla="*/ 3135399 w 4009365"/>
                <a:gd name="connsiteY867" fmla="*/ 411867 h 871769"/>
                <a:gd name="connsiteX868" fmla="*/ 3135399 w 4009365"/>
                <a:gd name="connsiteY868" fmla="*/ 419251 h 871769"/>
                <a:gd name="connsiteX869" fmla="*/ 3137750 w 4009365"/>
                <a:gd name="connsiteY869" fmla="*/ 420440 h 871769"/>
                <a:gd name="connsiteX870" fmla="*/ 3137750 w 4009365"/>
                <a:gd name="connsiteY870" fmla="*/ 423094 h 871769"/>
                <a:gd name="connsiteX871" fmla="*/ 3135399 w 4009365"/>
                <a:gd name="connsiteY871" fmla="*/ 425168 h 871769"/>
                <a:gd name="connsiteX872" fmla="*/ 3135980 w 4009365"/>
                <a:gd name="connsiteY872" fmla="*/ 444056 h 871769"/>
                <a:gd name="connsiteX873" fmla="*/ 3137612 w 4009365"/>
                <a:gd name="connsiteY873" fmla="*/ 445383 h 871769"/>
                <a:gd name="connsiteX874" fmla="*/ 3137612 w 4009365"/>
                <a:gd name="connsiteY874" fmla="*/ 448203 h 871769"/>
                <a:gd name="connsiteX875" fmla="*/ 3135980 w 4009365"/>
                <a:gd name="connsiteY875" fmla="*/ 450277 h 871769"/>
                <a:gd name="connsiteX876" fmla="*/ 3137003 w 4009365"/>
                <a:gd name="connsiteY876" fmla="*/ 515677 h 871769"/>
                <a:gd name="connsiteX877" fmla="*/ 3145852 w 4009365"/>
                <a:gd name="connsiteY877" fmla="*/ 520849 h 871769"/>
                <a:gd name="connsiteX878" fmla="*/ 3144691 w 4009365"/>
                <a:gd name="connsiteY878" fmla="*/ 525273 h 871769"/>
                <a:gd name="connsiteX879" fmla="*/ 3143059 w 4009365"/>
                <a:gd name="connsiteY879" fmla="*/ 525273 h 871769"/>
                <a:gd name="connsiteX880" fmla="*/ 3146018 w 4009365"/>
                <a:gd name="connsiteY880" fmla="*/ 533403 h 871769"/>
                <a:gd name="connsiteX881" fmla="*/ 3148673 w 4009365"/>
                <a:gd name="connsiteY881" fmla="*/ 533403 h 871769"/>
                <a:gd name="connsiteX882" fmla="*/ 3148673 w 4009365"/>
                <a:gd name="connsiteY882" fmla="*/ 547423 h 871769"/>
                <a:gd name="connsiteX883" fmla="*/ 3162112 w 4009365"/>
                <a:gd name="connsiteY883" fmla="*/ 554060 h 871769"/>
                <a:gd name="connsiteX884" fmla="*/ 3162112 w 4009365"/>
                <a:gd name="connsiteY884" fmla="*/ 543441 h 871769"/>
                <a:gd name="connsiteX885" fmla="*/ 3164186 w 4009365"/>
                <a:gd name="connsiteY885" fmla="*/ 543303 h 871769"/>
                <a:gd name="connsiteX886" fmla="*/ 3166122 w 4009365"/>
                <a:gd name="connsiteY886" fmla="*/ 537689 h 871769"/>
                <a:gd name="connsiteX887" fmla="*/ 3165375 w 4009365"/>
                <a:gd name="connsiteY887" fmla="*/ 536224 h 871769"/>
                <a:gd name="connsiteX888" fmla="*/ 3166260 w 4009365"/>
                <a:gd name="connsiteY888" fmla="*/ 534896 h 871769"/>
                <a:gd name="connsiteX889" fmla="*/ 3165375 w 4009365"/>
                <a:gd name="connsiteY889" fmla="*/ 532988 h 871769"/>
                <a:gd name="connsiteX890" fmla="*/ 3167145 w 4009365"/>
                <a:gd name="connsiteY890" fmla="*/ 530776 h 871769"/>
                <a:gd name="connsiteX891" fmla="*/ 3169053 w 4009365"/>
                <a:gd name="connsiteY891" fmla="*/ 533127 h 871769"/>
                <a:gd name="connsiteX892" fmla="*/ 3168307 w 4009365"/>
                <a:gd name="connsiteY892" fmla="*/ 535035 h 871769"/>
                <a:gd name="connsiteX893" fmla="*/ 3169191 w 4009365"/>
                <a:gd name="connsiteY893" fmla="*/ 536500 h 871769"/>
                <a:gd name="connsiteX894" fmla="*/ 3168611 w 4009365"/>
                <a:gd name="connsiteY894" fmla="*/ 537081 h 871769"/>
                <a:gd name="connsiteX895" fmla="*/ 3170077 w 4009365"/>
                <a:gd name="connsiteY895" fmla="*/ 542695 h 871769"/>
                <a:gd name="connsiteX896" fmla="*/ 3172151 w 4009365"/>
                <a:gd name="connsiteY896" fmla="*/ 542695 h 871769"/>
                <a:gd name="connsiteX897" fmla="*/ 3172151 w 4009365"/>
                <a:gd name="connsiteY897" fmla="*/ 559038 h 871769"/>
                <a:gd name="connsiteX898" fmla="*/ 3215455 w 4009365"/>
                <a:gd name="connsiteY898" fmla="*/ 580469 h 871769"/>
                <a:gd name="connsiteX899" fmla="*/ 3215704 w 4009365"/>
                <a:gd name="connsiteY899" fmla="*/ 575326 h 871769"/>
                <a:gd name="connsiteX900" fmla="*/ 3213935 w 4009365"/>
                <a:gd name="connsiteY900" fmla="*/ 573113 h 871769"/>
                <a:gd name="connsiteX901" fmla="*/ 3220267 w 4009365"/>
                <a:gd name="connsiteY901" fmla="*/ 558927 h 871769"/>
                <a:gd name="connsiteX902" fmla="*/ 3218940 w 4009365"/>
                <a:gd name="connsiteY902" fmla="*/ 557296 h 871769"/>
                <a:gd name="connsiteX903" fmla="*/ 3221290 w 4009365"/>
                <a:gd name="connsiteY903" fmla="*/ 556411 h 871769"/>
                <a:gd name="connsiteX904" fmla="*/ 3220129 w 4009365"/>
                <a:gd name="connsiteY904" fmla="*/ 554641 h 871769"/>
                <a:gd name="connsiteX905" fmla="*/ 3222037 w 4009365"/>
                <a:gd name="connsiteY905" fmla="*/ 550797 h 871769"/>
                <a:gd name="connsiteX906" fmla="*/ 3224249 w 4009365"/>
                <a:gd name="connsiteY906" fmla="*/ 554641 h 871769"/>
                <a:gd name="connsiteX907" fmla="*/ 3223060 w 4009365"/>
                <a:gd name="connsiteY907" fmla="*/ 556715 h 871769"/>
                <a:gd name="connsiteX908" fmla="*/ 3224830 w 4009365"/>
                <a:gd name="connsiteY908" fmla="*/ 557462 h 871769"/>
                <a:gd name="connsiteX909" fmla="*/ 3224083 w 4009365"/>
                <a:gd name="connsiteY909" fmla="*/ 558651 h 871769"/>
                <a:gd name="connsiteX910" fmla="*/ 3226157 w 4009365"/>
                <a:gd name="connsiteY910" fmla="*/ 563241 h 871769"/>
                <a:gd name="connsiteX911" fmla="*/ 3227485 w 4009365"/>
                <a:gd name="connsiteY911" fmla="*/ 563241 h 871769"/>
                <a:gd name="connsiteX912" fmla="*/ 3231328 w 4009365"/>
                <a:gd name="connsiteY912" fmla="*/ 573141 h 871769"/>
                <a:gd name="connsiteX913" fmla="*/ 3229863 w 4009365"/>
                <a:gd name="connsiteY913" fmla="*/ 574745 h 871769"/>
                <a:gd name="connsiteX914" fmla="*/ 3229863 w 4009365"/>
                <a:gd name="connsiteY914" fmla="*/ 582267 h 871769"/>
                <a:gd name="connsiteX915" fmla="*/ 3234287 w 4009365"/>
                <a:gd name="connsiteY915" fmla="*/ 583732 h 871769"/>
                <a:gd name="connsiteX916" fmla="*/ 3234287 w 4009365"/>
                <a:gd name="connsiteY916" fmla="*/ 587272 h 871769"/>
                <a:gd name="connsiteX917" fmla="*/ 3232849 w 4009365"/>
                <a:gd name="connsiteY917" fmla="*/ 589097 h 871769"/>
                <a:gd name="connsiteX918" fmla="*/ 3236057 w 4009365"/>
                <a:gd name="connsiteY918" fmla="*/ 590673 h 871769"/>
                <a:gd name="connsiteX919" fmla="*/ 3236057 w 4009365"/>
                <a:gd name="connsiteY919" fmla="*/ 660193 h 871769"/>
                <a:gd name="connsiteX920" fmla="*/ 3240482 w 4009365"/>
                <a:gd name="connsiteY920" fmla="*/ 665945 h 871769"/>
                <a:gd name="connsiteX921" fmla="*/ 3249082 w 4009365"/>
                <a:gd name="connsiteY921" fmla="*/ 840189 h 871769"/>
                <a:gd name="connsiteX922" fmla="*/ 3253755 w 4009365"/>
                <a:gd name="connsiteY922" fmla="*/ 602619 h 871769"/>
                <a:gd name="connsiteX923" fmla="*/ 3299549 w 4009365"/>
                <a:gd name="connsiteY923" fmla="*/ 553009 h 871769"/>
                <a:gd name="connsiteX924" fmla="*/ 3299549 w 4009365"/>
                <a:gd name="connsiteY924" fmla="*/ 518028 h 871769"/>
                <a:gd name="connsiteX925" fmla="*/ 3314979 w 4009365"/>
                <a:gd name="connsiteY925" fmla="*/ 518028 h 871769"/>
                <a:gd name="connsiteX926" fmla="*/ 3314979 w 4009365"/>
                <a:gd name="connsiteY926" fmla="*/ 536279 h 871769"/>
                <a:gd name="connsiteX927" fmla="*/ 3348827 w 4009365"/>
                <a:gd name="connsiteY927" fmla="*/ 499611 h 871769"/>
                <a:gd name="connsiteX928" fmla="*/ 3451863 w 4009365"/>
                <a:gd name="connsiteY928" fmla="*/ 602619 h 871769"/>
                <a:gd name="connsiteX929" fmla="*/ 3458832 w 4009365"/>
                <a:gd name="connsiteY929" fmla="*/ 602619 h 871769"/>
                <a:gd name="connsiteX930" fmla="*/ 3458832 w 4009365"/>
                <a:gd name="connsiteY930" fmla="*/ 580469 h 871769"/>
                <a:gd name="connsiteX931" fmla="*/ 3455347 w 4009365"/>
                <a:gd name="connsiteY931" fmla="*/ 580469 h 871769"/>
                <a:gd name="connsiteX932" fmla="*/ 3455347 w 4009365"/>
                <a:gd name="connsiteY932" fmla="*/ 577234 h 871769"/>
                <a:gd name="connsiteX933" fmla="*/ 3458832 w 4009365"/>
                <a:gd name="connsiteY933" fmla="*/ 577234 h 871769"/>
                <a:gd name="connsiteX934" fmla="*/ 3458832 w 4009365"/>
                <a:gd name="connsiteY934" fmla="*/ 485812 h 871769"/>
                <a:gd name="connsiteX935" fmla="*/ 3454103 w 4009365"/>
                <a:gd name="connsiteY935" fmla="*/ 477184 h 871769"/>
                <a:gd name="connsiteX936" fmla="*/ 3458832 w 4009365"/>
                <a:gd name="connsiteY936" fmla="*/ 477184 h 871769"/>
                <a:gd name="connsiteX937" fmla="*/ 3458832 w 4009365"/>
                <a:gd name="connsiteY937" fmla="*/ 455283 h 871769"/>
                <a:gd name="connsiteX938" fmla="*/ 3460187 w 4009365"/>
                <a:gd name="connsiteY938" fmla="*/ 455283 h 871769"/>
                <a:gd name="connsiteX939" fmla="*/ 3460187 w 4009365"/>
                <a:gd name="connsiteY939" fmla="*/ 450056 h 871769"/>
                <a:gd name="connsiteX940" fmla="*/ 3461321 w 4009365"/>
                <a:gd name="connsiteY940" fmla="*/ 450056 h 871769"/>
                <a:gd name="connsiteX941" fmla="*/ 3461321 w 4009365"/>
                <a:gd name="connsiteY941" fmla="*/ 445189 h 871769"/>
                <a:gd name="connsiteX942" fmla="*/ 3462067 w 4009365"/>
                <a:gd name="connsiteY942" fmla="*/ 445189 h 871769"/>
                <a:gd name="connsiteX943" fmla="*/ 3462067 w 4009365"/>
                <a:gd name="connsiteY943" fmla="*/ 439714 h 871769"/>
                <a:gd name="connsiteX944" fmla="*/ 3463173 w 4009365"/>
                <a:gd name="connsiteY944" fmla="*/ 439714 h 871769"/>
                <a:gd name="connsiteX945" fmla="*/ 3463173 w 4009365"/>
                <a:gd name="connsiteY945" fmla="*/ 434736 h 871769"/>
                <a:gd name="connsiteX946" fmla="*/ 3464418 w 4009365"/>
                <a:gd name="connsiteY946" fmla="*/ 434736 h 871769"/>
                <a:gd name="connsiteX947" fmla="*/ 3466492 w 4009365"/>
                <a:gd name="connsiteY947" fmla="*/ 422928 h 871769"/>
                <a:gd name="connsiteX948" fmla="*/ 3468676 w 4009365"/>
                <a:gd name="connsiteY948" fmla="*/ 434736 h 871769"/>
                <a:gd name="connsiteX949" fmla="*/ 3469783 w 4009365"/>
                <a:gd name="connsiteY949" fmla="*/ 434736 h 871769"/>
                <a:gd name="connsiteX950" fmla="*/ 3469783 w 4009365"/>
                <a:gd name="connsiteY950" fmla="*/ 439714 h 871769"/>
                <a:gd name="connsiteX951" fmla="*/ 3470888 w 4009365"/>
                <a:gd name="connsiteY951" fmla="*/ 439714 h 871769"/>
                <a:gd name="connsiteX952" fmla="*/ 3470888 w 4009365"/>
                <a:gd name="connsiteY952" fmla="*/ 445189 h 871769"/>
                <a:gd name="connsiteX953" fmla="*/ 3471884 w 4009365"/>
                <a:gd name="connsiteY953" fmla="*/ 445189 h 871769"/>
                <a:gd name="connsiteX954" fmla="*/ 3471884 w 4009365"/>
                <a:gd name="connsiteY954" fmla="*/ 450056 h 871769"/>
                <a:gd name="connsiteX955" fmla="*/ 3473018 w 4009365"/>
                <a:gd name="connsiteY955" fmla="*/ 450056 h 871769"/>
                <a:gd name="connsiteX956" fmla="*/ 3473018 w 4009365"/>
                <a:gd name="connsiteY956" fmla="*/ 455283 h 871769"/>
                <a:gd name="connsiteX957" fmla="*/ 3475258 w 4009365"/>
                <a:gd name="connsiteY957" fmla="*/ 455283 h 871769"/>
                <a:gd name="connsiteX958" fmla="*/ 3475258 w 4009365"/>
                <a:gd name="connsiteY958" fmla="*/ 458905 h 871769"/>
                <a:gd name="connsiteX959" fmla="*/ 3477996 w 4009365"/>
                <a:gd name="connsiteY959" fmla="*/ 458905 h 871769"/>
                <a:gd name="connsiteX960" fmla="*/ 3477996 w 4009365"/>
                <a:gd name="connsiteY960" fmla="*/ 465127 h 871769"/>
                <a:gd name="connsiteX961" fmla="*/ 3482835 w 4009365"/>
                <a:gd name="connsiteY961" fmla="*/ 465127 h 871769"/>
                <a:gd name="connsiteX962" fmla="*/ 3482835 w 4009365"/>
                <a:gd name="connsiteY962" fmla="*/ 455310 h 871769"/>
                <a:gd name="connsiteX963" fmla="*/ 3490550 w 4009365"/>
                <a:gd name="connsiteY963" fmla="*/ 455310 h 871769"/>
                <a:gd name="connsiteX964" fmla="*/ 3490550 w 4009365"/>
                <a:gd name="connsiteY964" fmla="*/ 448840 h 871769"/>
                <a:gd name="connsiteX965" fmla="*/ 3494726 w 4009365"/>
                <a:gd name="connsiteY965" fmla="*/ 448840 h 871769"/>
                <a:gd name="connsiteX966" fmla="*/ 3494726 w 4009365"/>
                <a:gd name="connsiteY966" fmla="*/ 455310 h 871769"/>
                <a:gd name="connsiteX967" fmla="*/ 3502137 w 4009365"/>
                <a:gd name="connsiteY967" fmla="*/ 455310 h 871769"/>
                <a:gd name="connsiteX968" fmla="*/ 3502137 w 4009365"/>
                <a:gd name="connsiteY968" fmla="*/ 465127 h 871769"/>
                <a:gd name="connsiteX969" fmla="*/ 3506976 w 4009365"/>
                <a:gd name="connsiteY969" fmla="*/ 465127 h 871769"/>
                <a:gd name="connsiteX970" fmla="*/ 3506976 w 4009365"/>
                <a:gd name="connsiteY970" fmla="*/ 458905 h 871769"/>
                <a:gd name="connsiteX971" fmla="*/ 3509852 w 4009365"/>
                <a:gd name="connsiteY971" fmla="*/ 458905 h 871769"/>
                <a:gd name="connsiteX972" fmla="*/ 3509852 w 4009365"/>
                <a:gd name="connsiteY972" fmla="*/ 455283 h 871769"/>
                <a:gd name="connsiteX973" fmla="*/ 3510958 w 4009365"/>
                <a:gd name="connsiteY973" fmla="*/ 455283 h 871769"/>
                <a:gd name="connsiteX974" fmla="*/ 3510958 w 4009365"/>
                <a:gd name="connsiteY974" fmla="*/ 450056 h 871769"/>
                <a:gd name="connsiteX975" fmla="*/ 3512064 w 4009365"/>
                <a:gd name="connsiteY975" fmla="*/ 450056 h 871769"/>
                <a:gd name="connsiteX976" fmla="*/ 3512064 w 4009365"/>
                <a:gd name="connsiteY976" fmla="*/ 445189 h 871769"/>
                <a:gd name="connsiteX977" fmla="*/ 3512811 w 4009365"/>
                <a:gd name="connsiteY977" fmla="*/ 445189 h 871769"/>
                <a:gd name="connsiteX978" fmla="*/ 3512811 w 4009365"/>
                <a:gd name="connsiteY978" fmla="*/ 439714 h 871769"/>
                <a:gd name="connsiteX979" fmla="*/ 3513917 w 4009365"/>
                <a:gd name="connsiteY979" fmla="*/ 439714 h 871769"/>
                <a:gd name="connsiteX980" fmla="*/ 3513917 w 4009365"/>
                <a:gd name="connsiteY980" fmla="*/ 434736 h 871769"/>
                <a:gd name="connsiteX981" fmla="*/ 3515134 w 4009365"/>
                <a:gd name="connsiteY981" fmla="*/ 434736 h 871769"/>
                <a:gd name="connsiteX982" fmla="*/ 3517208 w 4009365"/>
                <a:gd name="connsiteY982" fmla="*/ 422928 h 871769"/>
                <a:gd name="connsiteX983" fmla="*/ 3519392 w 4009365"/>
                <a:gd name="connsiteY983" fmla="*/ 434736 h 871769"/>
                <a:gd name="connsiteX984" fmla="*/ 3520499 w 4009365"/>
                <a:gd name="connsiteY984" fmla="*/ 434736 h 871769"/>
                <a:gd name="connsiteX985" fmla="*/ 3520499 w 4009365"/>
                <a:gd name="connsiteY985" fmla="*/ 439714 h 871769"/>
                <a:gd name="connsiteX986" fmla="*/ 3521632 w 4009365"/>
                <a:gd name="connsiteY986" fmla="*/ 439714 h 871769"/>
                <a:gd name="connsiteX987" fmla="*/ 3521632 w 4009365"/>
                <a:gd name="connsiteY987" fmla="*/ 445189 h 871769"/>
                <a:gd name="connsiteX988" fmla="*/ 3522628 w 4009365"/>
                <a:gd name="connsiteY988" fmla="*/ 445189 h 871769"/>
                <a:gd name="connsiteX989" fmla="*/ 3522628 w 4009365"/>
                <a:gd name="connsiteY989" fmla="*/ 450056 h 871769"/>
                <a:gd name="connsiteX990" fmla="*/ 3523761 w 4009365"/>
                <a:gd name="connsiteY990" fmla="*/ 450056 h 871769"/>
                <a:gd name="connsiteX991" fmla="*/ 3523761 w 4009365"/>
                <a:gd name="connsiteY991" fmla="*/ 455283 h 871769"/>
                <a:gd name="connsiteX992" fmla="*/ 3525504 w 4009365"/>
                <a:gd name="connsiteY992" fmla="*/ 455283 h 871769"/>
                <a:gd name="connsiteX993" fmla="*/ 3525504 w 4009365"/>
                <a:gd name="connsiteY993" fmla="*/ 477184 h 871769"/>
                <a:gd name="connsiteX994" fmla="*/ 3529486 w 4009365"/>
                <a:gd name="connsiteY994" fmla="*/ 477184 h 871769"/>
                <a:gd name="connsiteX995" fmla="*/ 3525504 w 4009365"/>
                <a:gd name="connsiteY995" fmla="*/ 485757 h 871769"/>
                <a:gd name="connsiteX996" fmla="*/ 3525504 w 4009365"/>
                <a:gd name="connsiteY996" fmla="*/ 577206 h 871769"/>
                <a:gd name="connsiteX997" fmla="*/ 3527744 w 4009365"/>
                <a:gd name="connsiteY997" fmla="*/ 577206 h 871769"/>
                <a:gd name="connsiteX998" fmla="*/ 3527744 w 4009365"/>
                <a:gd name="connsiteY998" fmla="*/ 580441 h 871769"/>
                <a:gd name="connsiteX999" fmla="*/ 3525504 w 4009365"/>
                <a:gd name="connsiteY999" fmla="*/ 580441 h 871769"/>
                <a:gd name="connsiteX1000" fmla="*/ 3525504 w 4009365"/>
                <a:gd name="connsiteY1000" fmla="*/ 602592 h 871769"/>
                <a:gd name="connsiteX1001" fmla="*/ 3535072 w 4009365"/>
                <a:gd name="connsiteY1001" fmla="*/ 602592 h 871769"/>
                <a:gd name="connsiteX1002" fmla="*/ 3585263 w 4009365"/>
                <a:gd name="connsiteY1002" fmla="*/ 566753 h 871769"/>
                <a:gd name="connsiteX1003" fmla="*/ 3614630 w 4009365"/>
                <a:gd name="connsiteY1003" fmla="*/ 586110 h 871769"/>
                <a:gd name="connsiteX1004" fmla="*/ 3614630 w 4009365"/>
                <a:gd name="connsiteY1004" fmla="*/ 570707 h 871769"/>
                <a:gd name="connsiteX1005" fmla="*/ 3624585 w 4009365"/>
                <a:gd name="connsiteY1005" fmla="*/ 570707 h 871769"/>
                <a:gd name="connsiteX1006" fmla="*/ 3624585 w 4009365"/>
                <a:gd name="connsiteY1006" fmla="*/ 592664 h 871769"/>
                <a:gd name="connsiteX1007" fmla="*/ 3632052 w 4009365"/>
                <a:gd name="connsiteY1007" fmla="*/ 597586 h 871769"/>
                <a:gd name="connsiteX1008" fmla="*/ 3639573 w 4009365"/>
                <a:gd name="connsiteY1008" fmla="*/ 839497 h 871769"/>
                <a:gd name="connsiteX1009" fmla="*/ 3645989 w 4009365"/>
                <a:gd name="connsiteY1009" fmla="*/ 597586 h 871769"/>
                <a:gd name="connsiteX1010" fmla="*/ 3645989 w 4009365"/>
                <a:gd name="connsiteY1010" fmla="*/ 590092 h 871769"/>
                <a:gd name="connsiteX1011" fmla="*/ 3639739 w 4009365"/>
                <a:gd name="connsiteY1011" fmla="*/ 585972 h 871769"/>
                <a:gd name="connsiteX1012" fmla="*/ 3638522 w 4009365"/>
                <a:gd name="connsiteY1012" fmla="*/ 585170 h 871769"/>
                <a:gd name="connsiteX1013" fmla="*/ 3638522 w 4009365"/>
                <a:gd name="connsiteY1013" fmla="*/ 556798 h 871769"/>
                <a:gd name="connsiteX1014" fmla="*/ 3600721 w 4009365"/>
                <a:gd name="connsiteY1014" fmla="*/ 556798 h 871769"/>
                <a:gd name="connsiteX1015" fmla="*/ 3600721 w 4009365"/>
                <a:gd name="connsiteY1015" fmla="*/ 560255 h 871769"/>
                <a:gd name="connsiteX1016" fmla="*/ 3592950 w 4009365"/>
                <a:gd name="connsiteY1016" fmla="*/ 555111 h 871769"/>
                <a:gd name="connsiteX1017" fmla="*/ 3584986 w 4009365"/>
                <a:gd name="connsiteY1017" fmla="*/ 549857 h 871769"/>
                <a:gd name="connsiteX1018" fmla="*/ 3577215 w 4009365"/>
                <a:gd name="connsiteY1018" fmla="*/ 555415 h 871769"/>
                <a:gd name="connsiteX1019" fmla="*/ 3541736 w 4009365"/>
                <a:gd name="connsiteY1019" fmla="*/ 580746 h 871769"/>
                <a:gd name="connsiteX1020" fmla="*/ 3541736 w 4009365"/>
                <a:gd name="connsiteY1020" fmla="*/ 563269 h 871769"/>
                <a:gd name="connsiteX1021" fmla="*/ 3539496 w 4009365"/>
                <a:gd name="connsiteY1021" fmla="*/ 563269 h 871769"/>
                <a:gd name="connsiteX1022" fmla="*/ 3539496 w 4009365"/>
                <a:gd name="connsiteY1022" fmla="*/ 505501 h 871769"/>
                <a:gd name="connsiteX1023" fmla="*/ 3543396 w 4009365"/>
                <a:gd name="connsiteY1023" fmla="*/ 505501 h 871769"/>
                <a:gd name="connsiteX1024" fmla="*/ 3952968 w 4009365"/>
                <a:gd name="connsiteY1024" fmla="*/ 605772 h 871769"/>
                <a:gd name="connsiteX1025" fmla="*/ 3955263 w 4009365"/>
                <a:gd name="connsiteY1025" fmla="*/ 600518 h 871769"/>
                <a:gd name="connsiteX1026" fmla="*/ 3990310 w 4009365"/>
                <a:gd name="connsiteY1026" fmla="*/ 614497 h 871769"/>
                <a:gd name="connsiteX1027" fmla="*/ 3997717 w 4009365"/>
                <a:gd name="connsiteY1027" fmla="*/ 663027 h 871769"/>
                <a:gd name="connsiteX1028" fmla="*/ 3997241 w 4009365"/>
                <a:gd name="connsiteY1028" fmla="*/ 664480 h 871769"/>
                <a:gd name="connsiteX1029" fmla="*/ 3993342 w 4009365"/>
                <a:gd name="connsiteY1029" fmla="*/ 671061 h 871769"/>
                <a:gd name="connsiteX1030" fmla="*/ 3965218 w 4009365"/>
                <a:gd name="connsiteY1030" fmla="*/ 684501 h 871769"/>
                <a:gd name="connsiteX1031" fmla="*/ 3983912 w 4009365"/>
                <a:gd name="connsiteY1031" fmla="*/ 750288 h 871769"/>
                <a:gd name="connsiteX1032" fmla="*/ 3983912 w 4009365"/>
                <a:gd name="connsiteY1032" fmla="*/ 750260 h 871769"/>
                <a:gd name="connsiteX1033" fmla="*/ 4003292 w 4009365"/>
                <a:gd name="connsiteY1033" fmla="*/ 750260 h 871769"/>
                <a:gd name="connsiteX1034" fmla="*/ 4009365 w 4009365"/>
                <a:gd name="connsiteY1034" fmla="*/ 870516 h 871769"/>
                <a:gd name="connsiteX1035" fmla="*/ 902730 w 4009365"/>
                <a:gd name="connsiteY1035" fmla="*/ 871769 h 871769"/>
                <a:gd name="connsiteX1036" fmla="*/ 1005130 w 4009365"/>
                <a:gd name="connsiteY1036" fmla="*/ 757312 h 871769"/>
                <a:gd name="connsiteX1037" fmla="*/ 868385 w 4009365"/>
                <a:gd name="connsiteY1037" fmla="*/ 757312 h 871769"/>
                <a:gd name="connsiteX1038" fmla="*/ 845018 w 4009365"/>
                <a:gd name="connsiteY1038" fmla="*/ 757312 h 871769"/>
                <a:gd name="connsiteX1039" fmla="*/ 845018 w 4009365"/>
                <a:gd name="connsiteY1039" fmla="*/ 764336 h 871769"/>
                <a:gd name="connsiteX1040" fmla="*/ 847479 w 4009365"/>
                <a:gd name="connsiteY1040" fmla="*/ 764336 h 871769"/>
                <a:gd name="connsiteX1041" fmla="*/ 847479 w 4009365"/>
                <a:gd name="connsiteY1041" fmla="*/ 768484 h 871769"/>
                <a:gd name="connsiteX1042" fmla="*/ 846843 w 4009365"/>
                <a:gd name="connsiteY1042" fmla="*/ 768484 h 871769"/>
                <a:gd name="connsiteX1043" fmla="*/ 851323 w 4009365"/>
                <a:gd name="connsiteY1043" fmla="*/ 853130 h 871769"/>
                <a:gd name="connsiteX1044" fmla="*/ 863518 w 4009365"/>
                <a:gd name="connsiteY1044" fmla="*/ 853130 h 871769"/>
                <a:gd name="connsiteX1045" fmla="*/ 863518 w 4009365"/>
                <a:gd name="connsiteY1045" fmla="*/ 871769 h 871769"/>
                <a:gd name="connsiteX1046" fmla="*/ 816950 w 4009365"/>
                <a:gd name="connsiteY1046" fmla="*/ 871769 h 871769"/>
                <a:gd name="connsiteX1047" fmla="*/ 816950 w 4009365"/>
                <a:gd name="connsiteY1047" fmla="*/ 853130 h 871769"/>
                <a:gd name="connsiteX1048" fmla="*/ 829421 w 4009365"/>
                <a:gd name="connsiteY1048" fmla="*/ 853130 h 871769"/>
                <a:gd name="connsiteX1049" fmla="*/ 832685 w 4009365"/>
                <a:gd name="connsiteY1049" fmla="*/ 768484 h 871769"/>
                <a:gd name="connsiteX1050" fmla="*/ 831634 w 4009365"/>
                <a:gd name="connsiteY1050" fmla="*/ 768484 h 871769"/>
                <a:gd name="connsiteX1051" fmla="*/ 831634 w 4009365"/>
                <a:gd name="connsiteY1051" fmla="*/ 764336 h 871769"/>
                <a:gd name="connsiteX1052" fmla="*/ 833901 w 4009365"/>
                <a:gd name="connsiteY1052" fmla="*/ 764336 h 871769"/>
                <a:gd name="connsiteX1053" fmla="*/ 833901 w 4009365"/>
                <a:gd name="connsiteY1053" fmla="*/ 757312 h 871769"/>
                <a:gd name="connsiteX1054" fmla="*/ 811475 w 4009365"/>
                <a:gd name="connsiteY1054" fmla="*/ 757312 h 871769"/>
                <a:gd name="connsiteX1055" fmla="*/ 810341 w 4009365"/>
                <a:gd name="connsiteY1055" fmla="*/ 757312 h 871769"/>
                <a:gd name="connsiteX1056" fmla="*/ 100537 w 4009365"/>
                <a:gd name="connsiteY1056" fmla="*/ 757312 h 871769"/>
                <a:gd name="connsiteX1057" fmla="*/ 76976 w 4009365"/>
                <a:gd name="connsiteY1057" fmla="*/ 757312 h 871769"/>
                <a:gd name="connsiteX1058" fmla="*/ 76976 w 4009365"/>
                <a:gd name="connsiteY1058" fmla="*/ 764336 h 871769"/>
                <a:gd name="connsiteX1059" fmla="*/ 79244 w 4009365"/>
                <a:gd name="connsiteY1059" fmla="*/ 764336 h 871769"/>
                <a:gd name="connsiteX1060" fmla="*/ 79244 w 4009365"/>
                <a:gd name="connsiteY1060" fmla="*/ 768484 h 871769"/>
                <a:gd name="connsiteX1061" fmla="*/ 78193 w 4009365"/>
                <a:gd name="connsiteY1061" fmla="*/ 768484 h 871769"/>
                <a:gd name="connsiteX1062" fmla="*/ 81484 w 4009365"/>
                <a:gd name="connsiteY1062" fmla="*/ 853130 h 871769"/>
                <a:gd name="connsiteX1063" fmla="*/ 93955 w 4009365"/>
                <a:gd name="connsiteY1063" fmla="*/ 853130 h 871769"/>
                <a:gd name="connsiteX1064" fmla="*/ 93955 w 4009365"/>
                <a:gd name="connsiteY1064" fmla="*/ 871769 h 871769"/>
                <a:gd name="connsiteX1065" fmla="*/ 47387 w 4009365"/>
                <a:gd name="connsiteY1065" fmla="*/ 871769 h 871769"/>
                <a:gd name="connsiteX1066" fmla="*/ 47387 w 4009365"/>
                <a:gd name="connsiteY1066" fmla="*/ 853130 h 871769"/>
                <a:gd name="connsiteX1067" fmla="*/ 59582 w 4009365"/>
                <a:gd name="connsiteY1067" fmla="*/ 853130 h 871769"/>
                <a:gd name="connsiteX1068" fmla="*/ 64062 w 4009365"/>
                <a:gd name="connsiteY1068" fmla="*/ 768484 h 871769"/>
                <a:gd name="connsiteX1069" fmla="*/ 63426 w 4009365"/>
                <a:gd name="connsiteY1069" fmla="*/ 768484 h 871769"/>
                <a:gd name="connsiteX1070" fmla="*/ 63426 w 4009365"/>
                <a:gd name="connsiteY1070" fmla="*/ 764336 h 871769"/>
                <a:gd name="connsiteX1071" fmla="*/ 65860 w 4009365"/>
                <a:gd name="connsiteY1071" fmla="*/ 764336 h 871769"/>
                <a:gd name="connsiteX1072" fmla="*/ 65860 w 4009365"/>
                <a:gd name="connsiteY1072" fmla="*/ 757312 h 871769"/>
                <a:gd name="connsiteX1073" fmla="*/ 43654 w 4009365"/>
                <a:gd name="connsiteY1073" fmla="*/ 757312 h 871769"/>
                <a:gd name="connsiteX1074" fmla="*/ 42520 w 4009365"/>
                <a:gd name="connsiteY1074" fmla="*/ 757312 h 871769"/>
                <a:gd name="connsiteX1075" fmla="*/ 0 w 4009365"/>
                <a:gd name="connsiteY1075" fmla="*/ 757312 h 871769"/>
                <a:gd name="connsiteX1076" fmla="*/ 466 w 4009365"/>
                <a:gd name="connsiteY1076" fmla="*/ 748076 h 871769"/>
                <a:gd name="connsiteX1077" fmla="*/ 9696 w 4009365"/>
                <a:gd name="connsiteY1077" fmla="*/ 748076 h 871769"/>
                <a:gd name="connsiteX1078" fmla="*/ 8645 w 4009365"/>
                <a:gd name="connsiteY1078" fmla="*/ 679136 h 871769"/>
                <a:gd name="connsiteX1079" fmla="*/ 3605 w 4009365"/>
                <a:gd name="connsiteY1079" fmla="*/ 685927 h 871769"/>
                <a:gd name="connsiteX1080" fmla="*/ 4032 w 4009365"/>
                <a:gd name="connsiteY1080" fmla="*/ 677460 h 871769"/>
                <a:gd name="connsiteX1081" fmla="*/ 6156 w 4009365"/>
                <a:gd name="connsiteY1081" fmla="*/ 674601 h 871769"/>
                <a:gd name="connsiteX1082" fmla="*/ 4153 w 4009365"/>
                <a:gd name="connsiteY1082" fmla="*/ 675071 h 871769"/>
                <a:gd name="connsiteX1083" fmla="*/ 4182 w 4009365"/>
                <a:gd name="connsiteY1083" fmla="*/ 674487 h 871769"/>
                <a:gd name="connsiteX1084" fmla="*/ 4963 w 4009365"/>
                <a:gd name="connsiteY1084" fmla="*/ 669372 h 871769"/>
                <a:gd name="connsiteX1085" fmla="*/ 8102 w 4009365"/>
                <a:gd name="connsiteY1085" fmla="*/ 668683 h 871769"/>
                <a:gd name="connsiteX1086" fmla="*/ 71390 w 4009365"/>
                <a:gd name="connsiteY1086" fmla="*/ 641472 h 871769"/>
                <a:gd name="connsiteX1087" fmla="*/ 423997 w 4009365"/>
                <a:gd name="connsiteY1087" fmla="*/ 695507 h 871769"/>
                <a:gd name="connsiteX1088" fmla="*/ 453171 w 4009365"/>
                <a:gd name="connsiteY1088" fmla="*/ 695341 h 871769"/>
                <a:gd name="connsiteX1089" fmla="*/ 453171 w 4009365"/>
                <a:gd name="connsiteY1089" fmla="*/ 695285 h 871769"/>
                <a:gd name="connsiteX1090" fmla="*/ 455411 w 4009365"/>
                <a:gd name="connsiteY1090" fmla="*/ 695285 h 871769"/>
                <a:gd name="connsiteX1091" fmla="*/ 457651 w 4009365"/>
                <a:gd name="connsiteY1091" fmla="*/ 695285 h 871769"/>
                <a:gd name="connsiteX1092" fmla="*/ 457651 w 4009365"/>
                <a:gd name="connsiteY1092" fmla="*/ 695341 h 871769"/>
                <a:gd name="connsiteX1093" fmla="*/ 486825 w 4009365"/>
                <a:gd name="connsiteY1093" fmla="*/ 695507 h 871769"/>
                <a:gd name="connsiteX1094" fmla="*/ 839432 w 4009365"/>
                <a:gd name="connsiteY1094" fmla="*/ 641472 h 871769"/>
                <a:gd name="connsiteX1095" fmla="*/ 1194583 w 4009365"/>
                <a:gd name="connsiteY1095" fmla="*/ 695894 h 871769"/>
                <a:gd name="connsiteX1096" fmla="*/ 1221738 w 4009365"/>
                <a:gd name="connsiteY1096" fmla="*/ 750315 h 871769"/>
                <a:gd name="connsiteX1097" fmla="*/ 1241345 w 4009365"/>
                <a:gd name="connsiteY1097" fmla="*/ 788919 h 871769"/>
                <a:gd name="connsiteX1098" fmla="*/ 1241538 w 4009365"/>
                <a:gd name="connsiteY1098" fmla="*/ 450803 h 871769"/>
                <a:gd name="connsiteX1099" fmla="*/ 1236643 w 4009365"/>
                <a:gd name="connsiteY1099" fmla="*/ 445162 h 871769"/>
                <a:gd name="connsiteX1100" fmla="*/ 1239077 w 4009365"/>
                <a:gd name="connsiteY1100" fmla="*/ 443862 h 871769"/>
                <a:gd name="connsiteX1101" fmla="*/ 1239409 w 4009365"/>
                <a:gd name="connsiteY1101" fmla="*/ 433105 h 871769"/>
                <a:gd name="connsiteX1102" fmla="*/ 1237611 w 4009365"/>
                <a:gd name="connsiteY1102" fmla="*/ 430976 h 871769"/>
                <a:gd name="connsiteX1103" fmla="*/ 1241510 w 4009365"/>
                <a:gd name="connsiteY1103" fmla="*/ 426413 h 871769"/>
                <a:gd name="connsiteX1104" fmla="*/ 1246405 w 4009365"/>
                <a:gd name="connsiteY1104" fmla="*/ 426413 h 871769"/>
                <a:gd name="connsiteX1105" fmla="*/ 1246405 w 4009365"/>
                <a:gd name="connsiteY1105" fmla="*/ 434239 h 871769"/>
                <a:gd name="connsiteX1106" fmla="*/ 1253595 w 4009365"/>
                <a:gd name="connsiteY1106" fmla="*/ 434239 h 871769"/>
                <a:gd name="connsiteX1107" fmla="*/ 1253595 w 4009365"/>
                <a:gd name="connsiteY1107" fmla="*/ 426413 h 871769"/>
                <a:gd name="connsiteX1108" fmla="*/ 1261753 w 4009365"/>
                <a:gd name="connsiteY1108" fmla="*/ 426413 h 871769"/>
                <a:gd name="connsiteX1109" fmla="*/ 1261753 w 4009365"/>
                <a:gd name="connsiteY1109" fmla="*/ 434239 h 871769"/>
                <a:gd name="connsiteX1110" fmla="*/ 1269412 w 4009365"/>
                <a:gd name="connsiteY1110" fmla="*/ 434239 h 871769"/>
                <a:gd name="connsiteX1111" fmla="*/ 1269412 w 4009365"/>
                <a:gd name="connsiteY1111" fmla="*/ 426413 h 871769"/>
                <a:gd name="connsiteX1112" fmla="*/ 1277570 w 4009365"/>
                <a:gd name="connsiteY1112" fmla="*/ 426413 h 871769"/>
                <a:gd name="connsiteX1113" fmla="*/ 1277570 w 4009365"/>
                <a:gd name="connsiteY1113" fmla="*/ 434239 h 871769"/>
                <a:gd name="connsiteX1114" fmla="*/ 1284262 w 4009365"/>
                <a:gd name="connsiteY1114" fmla="*/ 434239 h 871769"/>
                <a:gd name="connsiteX1115" fmla="*/ 1284262 w 4009365"/>
                <a:gd name="connsiteY1115" fmla="*/ 426413 h 871769"/>
                <a:gd name="connsiteX1116" fmla="*/ 1293084 w 4009365"/>
                <a:gd name="connsiteY1116" fmla="*/ 426413 h 871769"/>
                <a:gd name="connsiteX1117" fmla="*/ 1293084 w 4009365"/>
                <a:gd name="connsiteY1117" fmla="*/ 434239 h 871769"/>
                <a:gd name="connsiteX1118" fmla="*/ 1299444 w 4009365"/>
                <a:gd name="connsiteY1118" fmla="*/ 434239 h 871769"/>
                <a:gd name="connsiteX1119" fmla="*/ 1299444 w 4009365"/>
                <a:gd name="connsiteY1119" fmla="*/ 426413 h 871769"/>
                <a:gd name="connsiteX1120" fmla="*/ 1307768 w 4009365"/>
                <a:gd name="connsiteY1120" fmla="*/ 426413 h 871769"/>
                <a:gd name="connsiteX1121" fmla="*/ 1307768 w 4009365"/>
                <a:gd name="connsiteY1121" fmla="*/ 434239 h 871769"/>
                <a:gd name="connsiteX1122" fmla="*/ 1313464 w 4009365"/>
                <a:gd name="connsiteY1122" fmla="*/ 434239 h 871769"/>
                <a:gd name="connsiteX1123" fmla="*/ 1313464 w 4009365"/>
                <a:gd name="connsiteY1123" fmla="*/ 426413 h 871769"/>
                <a:gd name="connsiteX1124" fmla="*/ 1321954 w 4009365"/>
                <a:gd name="connsiteY1124" fmla="*/ 426413 h 871769"/>
                <a:gd name="connsiteX1125" fmla="*/ 1321954 w 4009365"/>
                <a:gd name="connsiteY1125" fmla="*/ 434239 h 871769"/>
                <a:gd name="connsiteX1126" fmla="*/ 1328314 w 4009365"/>
                <a:gd name="connsiteY1126" fmla="*/ 434239 h 871769"/>
                <a:gd name="connsiteX1127" fmla="*/ 1334315 w 4009365"/>
                <a:gd name="connsiteY1127" fmla="*/ 666250 h 871769"/>
                <a:gd name="connsiteX1128" fmla="*/ 1336416 w 4009365"/>
                <a:gd name="connsiteY1128" fmla="*/ 428736 h 871769"/>
                <a:gd name="connsiteX1129" fmla="*/ 1332047 w 4009365"/>
                <a:gd name="connsiteY1129" fmla="*/ 421242 h 871769"/>
                <a:gd name="connsiteX1130" fmla="*/ 1335227 w 4009365"/>
                <a:gd name="connsiteY1130" fmla="*/ 417702 h 871769"/>
                <a:gd name="connsiteX1131" fmla="*/ 1335227 w 4009365"/>
                <a:gd name="connsiteY1131" fmla="*/ 402299 h 871769"/>
                <a:gd name="connsiteX1132" fmla="*/ 1333513 w 4009365"/>
                <a:gd name="connsiteY1132" fmla="*/ 400087 h 871769"/>
                <a:gd name="connsiteX1133" fmla="*/ 1336804 w 4009365"/>
                <a:gd name="connsiteY1133" fmla="*/ 395690 h 871769"/>
                <a:gd name="connsiteX1134" fmla="*/ 1340592 w 4009365"/>
                <a:gd name="connsiteY1134" fmla="*/ 394114 h 871769"/>
                <a:gd name="connsiteX1135" fmla="*/ 1343662 w 4009365"/>
                <a:gd name="connsiteY1135" fmla="*/ 396437 h 871769"/>
                <a:gd name="connsiteX1136" fmla="*/ 1346095 w 4009365"/>
                <a:gd name="connsiteY1136" fmla="*/ 392648 h 871769"/>
                <a:gd name="connsiteX1137" fmla="*/ 1351847 w 4009365"/>
                <a:gd name="connsiteY1137" fmla="*/ 391182 h 871769"/>
                <a:gd name="connsiteX1138" fmla="*/ 1354889 w 4009365"/>
                <a:gd name="connsiteY1138" fmla="*/ 394003 h 871769"/>
                <a:gd name="connsiteX1139" fmla="*/ 1357461 w 4009365"/>
                <a:gd name="connsiteY1139" fmla="*/ 390104 h 871769"/>
                <a:gd name="connsiteX1140" fmla="*/ 1360392 w 4009365"/>
                <a:gd name="connsiteY1140" fmla="*/ 389136 h 871769"/>
                <a:gd name="connsiteX1141" fmla="*/ 1366144 w 4009365"/>
                <a:gd name="connsiteY1141" fmla="*/ 389136 h 871769"/>
                <a:gd name="connsiteX1142" fmla="*/ 1366144 w 4009365"/>
                <a:gd name="connsiteY1142" fmla="*/ 399755 h 871769"/>
                <a:gd name="connsiteX1143" fmla="*/ 1374329 w 4009365"/>
                <a:gd name="connsiteY1143" fmla="*/ 399506 h 871769"/>
                <a:gd name="connsiteX1144" fmla="*/ 1374329 w 4009365"/>
                <a:gd name="connsiteY1144" fmla="*/ 389108 h 871769"/>
                <a:gd name="connsiteX1145" fmla="*/ 1384478 w 4009365"/>
                <a:gd name="connsiteY1145" fmla="*/ 389108 h 871769"/>
                <a:gd name="connsiteX1146" fmla="*/ 1384616 w 4009365"/>
                <a:gd name="connsiteY1146" fmla="*/ 398870 h 871769"/>
                <a:gd name="connsiteX1147" fmla="*/ 1392442 w 4009365"/>
                <a:gd name="connsiteY1147" fmla="*/ 398621 h 871769"/>
                <a:gd name="connsiteX1148" fmla="*/ 1392442 w 4009365"/>
                <a:gd name="connsiteY1148" fmla="*/ 389081 h 871769"/>
                <a:gd name="connsiteX1149" fmla="*/ 1401014 w 4009365"/>
                <a:gd name="connsiteY1149" fmla="*/ 389938 h 871769"/>
                <a:gd name="connsiteX1150" fmla="*/ 1404056 w 4009365"/>
                <a:gd name="connsiteY1150" fmla="*/ 394943 h 871769"/>
                <a:gd name="connsiteX1151" fmla="*/ 1407236 w 4009365"/>
                <a:gd name="connsiteY1151" fmla="*/ 391763 h 871769"/>
                <a:gd name="connsiteX1152" fmla="*/ 1414343 w 4009365"/>
                <a:gd name="connsiteY1152" fmla="*/ 392980 h 871769"/>
                <a:gd name="connsiteX1153" fmla="*/ 1417026 w 4009365"/>
                <a:gd name="connsiteY1153" fmla="*/ 397736 h 871769"/>
                <a:gd name="connsiteX1154" fmla="*/ 1420316 w 4009365"/>
                <a:gd name="connsiteY1154" fmla="*/ 394556 h 871769"/>
                <a:gd name="connsiteX1155" fmla="*/ 1424464 w 4009365"/>
                <a:gd name="connsiteY1155" fmla="*/ 395303 h 871769"/>
                <a:gd name="connsiteX1156" fmla="*/ 1427893 w 4009365"/>
                <a:gd name="connsiteY1156" fmla="*/ 400197 h 871769"/>
                <a:gd name="connsiteX1157" fmla="*/ 1426677 w 4009365"/>
                <a:gd name="connsiteY1157" fmla="*/ 401801 h 871769"/>
                <a:gd name="connsiteX1158" fmla="*/ 1426511 w 4009365"/>
                <a:gd name="connsiteY1158" fmla="*/ 405700 h 871769"/>
                <a:gd name="connsiteX1159" fmla="*/ 1426511 w 4009365"/>
                <a:gd name="connsiteY1159" fmla="*/ 417923 h 871769"/>
                <a:gd name="connsiteX1160" fmla="*/ 1427921 w 4009365"/>
                <a:gd name="connsiteY1160" fmla="*/ 419416 h 871769"/>
                <a:gd name="connsiteX1161" fmla="*/ 1429746 w 4009365"/>
                <a:gd name="connsiteY1161" fmla="*/ 428210 h 871769"/>
                <a:gd name="connsiteX1162" fmla="*/ 1424492 w 4009365"/>
                <a:gd name="connsiteY1162" fmla="*/ 432248 h 871769"/>
                <a:gd name="connsiteX1163" fmla="*/ 1429193 w 4009365"/>
                <a:gd name="connsiteY1163" fmla="*/ 721777 h 871769"/>
                <a:gd name="connsiteX1164" fmla="*/ 1429746 w 4009365"/>
                <a:gd name="connsiteY1164" fmla="*/ 437502 h 871769"/>
                <a:gd name="connsiteX1165" fmla="*/ 1436936 w 4009365"/>
                <a:gd name="connsiteY1165" fmla="*/ 430008 h 871769"/>
                <a:gd name="connsiteX1166" fmla="*/ 1433783 w 4009365"/>
                <a:gd name="connsiteY1166" fmla="*/ 417951 h 871769"/>
                <a:gd name="connsiteX1167" fmla="*/ 1431101 w 4009365"/>
                <a:gd name="connsiteY1167" fmla="*/ 413913 h 871769"/>
                <a:gd name="connsiteX1168" fmla="*/ 1431184 w 4009365"/>
                <a:gd name="connsiteY1168" fmla="*/ 413471 h 871769"/>
                <a:gd name="connsiteX1169" fmla="*/ 1431184 w 4009365"/>
                <a:gd name="connsiteY1169" fmla="*/ 403267 h 871769"/>
                <a:gd name="connsiteX1170" fmla="*/ 1433258 w 4009365"/>
                <a:gd name="connsiteY1170" fmla="*/ 401193 h 871769"/>
                <a:gd name="connsiteX1171" fmla="*/ 1428280 w 4009365"/>
                <a:gd name="connsiteY1171" fmla="*/ 391293 h 871769"/>
                <a:gd name="connsiteX1172" fmla="*/ 1421063 w 4009365"/>
                <a:gd name="connsiteY1172" fmla="*/ 389413 h 871769"/>
                <a:gd name="connsiteX1173" fmla="*/ 1418381 w 4009365"/>
                <a:gd name="connsiteY1173" fmla="*/ 391210 h 871769"/>
                <a:gd name="connsiteX1174" fmla="*/ 1416168 w 4009365"/>
                <a:gd name="connsiteY1174" fmla="*/ 388030 h 871769"/>
                <a:gd name="connsiteX1175" fmla="*/ 1408343 w 4009365"/>
                <a:gd name="connsiteY1175" fmla="*/ 386647 h 871769"/>
                <a:gd name="connsiteX1176" fmla="*/ 1404665 w 4009365"/>
                <a:gd name="connsiteY1176" fmla="*/ 388279 h 871769"/>
                <a:gd name="connsiteX1177" fmla="*/ 1403199 w 4009365"/>
                <a:gd name="connsiteY1177" fmla="*/ 384573 h 871769"/>
                <a:gd name="connsiteX1178" fmla="*/ 1392304 w 4009365"/>
                <a:gd name="connsiteY1178" fmla="*/ 383218 h 871769"/>
                <a:gd name="connsiteX1179" fmla="*/ 1388405 w 4009365"/>
                <a:gd name="connsiteY1179" fmla="*/ 386288 h 871769"/>
                <a:gd name="connsiteX1180" fmla="*/ 1382791 w 4009365"/>
                <a:gd name="connsiteY1180" fmla="*/ 386150 h 871769"/>
                <a:gd name="connsiteX1181" fmla="*/ 1385473 w 4009365"/>
                <a:gd name="connsiteY1181" fmla="*/ 383965 h 871769"/>
                <a:gd name="connsiteX1182" fmla="*/ 1385473 w 4009365"/>
                <a:gd name="connsiteY1182" fmla="*/ 381393 h 871769"/>
                <a:gd name="connsiteX1183" fmla="*/ 1384257 w 4009365"/>
                <a:gd name="connsiteY1183" fmla="*/ 379319 h 871769"/>
                <a:gd name="connsiteX1184" fmla="*/ 1384865 w 4009365"/>
                <a:gd name="connsiteY1184" fmla="*/ 377743 h 871769"/>
                <a:gd name="connsiteX1185" fmla="*/ 1384976 w 4009365"/>
                <a:gd name="connsiteY1185" fmla="*/ 370525 h 871769"/>
                <a:gd name="connsiteX1186" fmla="*/ 1383510 w 4009365"/>
                <a:gd name="connsiteY1186" fmla="*/ 369779 h 871769"/>
                <a:gd name="connsiteX1187" fmla="*/ 1386441 w 4009365"/>
                <a:gd name="connsiteY1187" fmla="*/ 366239 h 871769"/>
                <a:gd name="connsiteX1188" fmla="*/ 1391695 w 4009365"/>
                <a:gd name="connsiteY1188" fmla="*/ 366239 h 871769"/>
                <a:gd name="connsiteX1189" fmla="*/ 1391695 w 4009365"/>
                <a:gd name="connsiteY1189" fmla="*/ 374093 h 871769"/>
                <a:gd name="connsiteX1190" fmla="*/ 1398553 w 4009365"/>
                <a:gd name="connsiteY1190" fmla="*/ 374093 h 871769"/>
                <a:gd name="connsiteX1191" fmla="*/ 1398553 w 4009365"/>
                <a:gd name="connsiteY1191" fmla="*/ 366599 h 871769"/>
                <a:gd name="connsiteX1192" fmla="*/ 1407624 w 4009365"/>
                <a:gd name="connsiteY1192" fmla="*/ 366599 h 871769"/>
                <a:gd name="connsiteX1193" fmla="*/ 1407624 w 4009365"/>
                <a:gd name="connsiteY1193" fmla="*/ 374093 h 871769"/>
                <a:gd name="connsiteX1194" fmla="*/ 1415117 w 4009365"/>
                <a:gd name="connsiteY1194" fmla="*/ 374093 h 871769"/>
                <a:gd name="connsiteX1195" fmla="*/ 1415117 w 4009365"/>
                <a:gd name="connsiteY1195" fmla="*/ 366599 h 871769"/>
                <a:gd name="connsiteX1196" fmla="*/ 1423994 w 4009365"/>
                <a:gd name="connsiteY1196" fmla="*/ 366599 h 871769"/>
                <a:gd name="connsiteX1197" fmla="*/ 1423994 w 4009365"/>
                <a:gd name="connsiteY1197" fmla="*/ 374093 h 871769"/>
                <a:gd name="connsiteX1198" fmla="*/ 1430686 w 4009365"/>
                <a:gd name="connsiteY1198" fmla="*/ 374093 h 871769"/>
                <a:gd name="connsiteX1199" fmla="*/ 1430686 w 4009365"/>
                <a:gd name="connsiteY1199" fmla="*/ 366599 h 871769"/>
                <a:gd name="connsiteX1200" fmla="*/ 1439231 w 4009365"/>
                <a:gd name="connsiteY1200" fmla="*/ 366599 h 871769"/>
                <a:gd name="connsiteX1201" fmla="*/ 1439231 w 4009365"/>
                <a:gd name="connsiteY1201" fmla="*/ 374093 h 871769"/>
                <a:gd name="connsiteX1202" fmla="*/ 1446255 w 4009365"/>
                <a:gd name="connsiteY1202" fmla="*/ 374093 h 871769"/>
                <a:gd name="connsiteX1203" fmla="*/ 1446255 w 4009365"/>
                <a:gd name="connsiteY1203" fmla="*/ 366239 h 871769"/>
                <a:gd name="connsiteX1204" fmla="*/ 1455464 w 4009365"/>
                <a:gd name="connsiteY1204" fmla="*/ 366239 h 871769"/>
                <a:gd name="connsiteX1205" fmla="*/ 1455464 w 4009365"/>
                <a:gd name="connsiteY1205" fmla="*/ 374093 h 871769"/>
                <a:gd name="connsiteX1206" fmla="*/ 1462571 w 4009365"/>
                <a:gd name="connsiteY1206" fmla="*/ 374093 h 871769"/>
                <a:gd name="connsiteX1207" fmla="*/ 1462571 w 4009365"/>
                <a:gd name="connsiteY1207" fmla="*/ 366239 h 871769"/>
                <a:gd name="connsiteX1208" fmla="*/ 1471226 w 4009365"/>
                <a:gd name="connsiteY1208" fmla="*/ 366239 h 871769"/>
                <a:gd name="connsiteX1209" fmla="*/ 1471226 w 4009365"/>
                <a:gd name="connsiteY1209" fmla="*/ 374093 h 871769"/>
                <a:gd name="connsiteX1210" fmla="*/ 1478554 w 4009365"/>
                <a:gd name="connsiteY1210" fmla="*/ 374093 h 871769"/>
                <a:gd name="connsiteX1211" fmla="*/ 1478554 w 4009365"/>
                <a:gd name="connsiteY1211" fmla="*/ 366239 h 871769"/>
                <a:gd name="connsiteX1212" fmla="*/ 1487182 w 4009365"/>
                <a:gd name="connsiteY1212" fmla="*/ 366239 h 871769"/>
                <a:gd name="connsiteX1213" fmla="*/ 1487182 w 4009365"/>
                <a:gd name="connsiteY1213" fmla="*/ 374093 h 871769"/>
                <a:gd name="connsiteX1214" fmla="*/ 1494261 w 4009365"/>
                <a:gd name="connsiteY1214" fmla="*/ 374093 h 871769"/>
                <a:gd name="connsiteX1215" fmla="*/ 1494261 w 4009365"/>
                <a:gd name="connsiteY1215" fmla="*/ 366239 h 871769"/>
                <a:gd name="connsiteX1216" fmla="*/ 1503470 w 4009365"/>
                <a:gd name="connsiteY1216" fmla="*/ 366239 h 871769"/>
                <a:gd name="connsiteX1217" fmla="*/ 1503470 w 4009365"/>
                <a:gd name="connsiteY1217" fmla="*/ 374093 h 871769"/>
                <a:gd name="connsiteX1218" fmla="*/ 1510466 w 4009365"/>
                <a:gd name="connsiteY1218" fmla="*/ 374093 h 871769"/>
                <a:gd name="connsiteX1219" fmla="*/ 1510466 w 4009365"/>
                <a:gd name="connsiteY1219" fmla="*/ 366599 h 871769"/>
                <a:gd name="connsiteX1220" fmla="*/ 1519038 w 4009365"/>
                <a:gd name="connsiteY1220" fmla="*/ 366599 h 871769"/>
                <a:gd name="connsiteX1221" fmla="*/ 1519038 w 4009365"/>
                <a:gd name="connsiteY1221" fmla="*/ 374093 h 871769"/>
                <a:gd name="connsiteX1222" fmla="*/ 1525703 w 4009365"/>
                <a:gd name="connsiteY1222" fmla="*/ 374093 h 871769"/>
                <a:gd name="connsiteX1223" fmla="*/ 1525703 w 4009365"/>
                <a:gd name="connsiteY1223" fmla="*/ 366599 h 871769"/>
                <a:gd name="connsiteX1224" fmla="*/ 1534607 w 4009365"/>
                <a:gd name="connsiteY1224" fmla="*/ 366599 h 871769"/>
                <a:gd name="connsiteX1225" fmla="*/ 1534607 w 4009365"/>
                <a:gd name="connsiteY1225" fmla="*/ 374093 h 871769"/>
                <a:gd name="connsiteX1226" fmla="*/ 1542101 w 4009365"/>
                <a:gd name="connsiteY1226" fmla="*/ 374093 h 871769"/>
                <a:gd name="connsiteX1227" fmla="*/ 1542101 w 4009365"/>
                <a:gd name="connsiteY1227" fmla="*/ 366599 h 871769"/>
                <a:gd name="connsiteX1228" fmla="*/ 1551144 w 4009365"/>
                <a:gd name="connsiteY1228" fmla="*/ 366599 h 871769"/>
                <a:gd name="connsiteX1229" fmla="*/ 1551144 w 4009365"/>
                <a:gd name="connsiteY1229" fmla="*/ 374093 h 871769"/>
                <a:gd name="connsiteX1230" fmla="*/ 1558002 w 4009365"/>
                <a:gd name="connsiteY1230" fmla="*/ 374093 h 871769"/>
                <a:gd name="connsiteX1231" fmla="*/ 1558002 w 4009365"/>
                <a:gd name="connsiteY1231" fmla="*/ 366239 h 871769"/>
                <a:gd name="connsiteX1232" fmla="*/ 1563256 w 4009365"/>
                <a:gd name="connsiteY1232" fmla="*/ 366239 h 871769"/>
                <a:gd name="connsiteX1233" fmla="*/ 1566187 w 4009365"/>
                <a:gd name="connsiteY1233" fmla="*/ 369779 h 871769"/>
                <a:gd name="connsiteX1234" fmla="*/ 1564722 w 4009365"/>
                <a:gd name="connsiteY1234" fmla="*/ 370525 h 871769"/>
                <a:gd name="connsiteX1235" fmla="*/ 1564832 w 4009365"/>
                <a:gd name="connsiteY1235" fmla="*/ 377743 h 871769"/>
                <a:gd name="connsiteX1236" fmla="*/ 1565441 w 4009365"/>
                <a:gd name="connsiteY1236" fmla="*/ 379319 h 871769"/>
                <a:gd name="connsiteX1237" fmla="*/ 1564224 w 4009365"/>
                <a:gd name="connsiteY1237" fmla="*/ 381393 h 871769"/>
                <a:gd name="connsiteX1238" fmla="*/ 1564224 w 4009365"/>
                <a:gd name="connsiteY1238" fmla="*/ 383965 h 871769"/>
                <a:gd name="connsiteX1239" fmla="*/ 1566906 w 4009365"/>
                <a:gd name="connsiteY1239" fmla="*/ 386150 h 871769"/>
                <a:gd name="connsiteX1240" fmla="*/ 1561293 w 4009365"/>
                <a:gd name="connsiteY1240" fmla="*/ 386288 h 871769"/>
                <a:gd name="connsiteX1241" fmla="*/ 1557366 w 4009365"/>
                <a:gd name="connsiteY1241" fmla="*/ 383218 h 871769"/>
                <a:gd name="connsiteX1242" fmla="*/ 1546498 w 4009365"/>
                <a:gd name="connsiteY1242" fmla="*/ 384573 h 871769"/>
                <a:gd name="connsiteX1243" fmla="*/ 1545033 w 4009365"/>
                <a:gd name="connsiteY1243" fmla="*/ 388279 h 871769"/>
                <a:gd name="connsiteX1244" fmla="*/ 1541355 w 4009365"/>
                <a:gd name="connsiteY1244" fmla="*/ 386647 h 871769"/>
                <a:gd name="connsiteX1245" fmla="*/ 1533529 w 4009365"/>
                <a:gd name="connsiteY1245" fmla="*/ 388030 h 871769"/>
                <a:gd name="connsiteX1246" fmla="*/ 1531317 w 4009365"/>
                <a:gd name="connsiteY1246" fmla="*/ 391210 h 871769"/>
                <a:gd name="connsiteX1247" fmla="*/ 1528634 w 4009365"/>
                <a:gd name="connsiteY1247" fmla="*/ 389413 h 871769"/>
                <a:gd name="connsiteX1248" fmla="*/ 1521417 w 4009365"/>
                <a:gd name="connsiteY1248" fmla="*/ 391293 h 871769"/>
                <a:gd name="connsiteX1249" fmla="*/ 1516439 w 4009365"/>
                <a:gd name="connsiteY1249" fmla="*/ 401193 h 871769"/>
                <a:gd name="connsiteX1250" fmla="*/ 1518513 w 4009365"/>
                <a:gd name="connsiteY1250" fmla="*/ 403267 h 871769"/>
                <a:gd name="connsiteX1251" fmla="*/ 1518513 w 4009365"/>
                <a:gd name="connsiteY1251" fmla="*/ 413471 h 871769"/>
                <a:gd name="connsiteX1252" fmla="*/ 1518596 w 4009365"/>
                <a:gd name="connsiteY1252" fmla="*/ 413913 h 871769"/>
                <a:gd name="connsiteX1253" fmla="*/ 1515914 w 4009365"/>
                <a:gd name="connsiteY1253" fmla="*/ 417951 h 871769"/>
                <a:gd name="connsiteX1254" fmla="*/ 1512761 w 4009365"/>
                <a:gd name="connsiteY1254" fmla="*/ 430008 h 871769"/>
                <a:gd name="connsiteX1255" fmla="*/ 1519951 w 4009365"/>
                <a:gd name="connsiteY1255" fmla="*/ 437502 h 871769"/>
                <a:gd name="connsiteX1256" fmla="*/ 1520504 w 4009365"/>
                <a:gd name="connsiteY1256" fmla="*/ 721777 h 871769"/>
                <a:gd name="connsiteX1257" fmla="*/ 1525205 w 4009365"/>
                <a:gd name="connsiteY1257" fmla="*/ 432248 h 871769"/>
                <a:gd name="connsiteX1258" fmla="*/ 1519951 w 4009365"/>
                <a:gd name="connsiteY1258" fmla="*/ 428210 h 871769"/>
                <a:gd name="connsiteX1259" fmla="*/ 1521776 w 4009365"/>
                <a:gd name="connsiteY1259" fmla="*/ 419416 h 871769"/>
                <a:gd name="connsiteX1260" fmla="*/ 1523186 w 4009365"/>
                <a:gd name="connsiteY1260" fmla="*/ 417923 h 871769"/>
                <a:gd name="connsiteX1261" fmla="*/ 1523186 w 4009365"/>
                <a:gd name="connsiteY1261" fmla="*/ 405700 h 871769"/>
                <a:gd name="connsiteX1262" fmla="*/ 1522993 w 4009365"/>
                <a:gd name="connsiteY1262" fmla="*/ 401801 h 871769"/>
                <a:gd name="connsiteX1263" fmla="*/ 1521776 w 4009365"/>
                <a:gd name="connsiteY1263" fmla="*/ 400197 h 871769"/>
                <a:gd name="connsiteX1264" fmla="*/ 1525205 w 4009365"/>
                <a:gd name="connsiteY1264" fmla="*/ 395303 h 871769"/>
                <a:gd name="connsiteX1265" fmla="*/ 1529381 w 4009365"/>
                <a:gd name="connsiteY1265" fmla="*/ 394556 h 871769"/>
                <a:gd name="connsiteX1266" fmla="*/ 1532672 w 4009365"/>
                <a:gd name="connsiteY1266" fmla="*/ 397736 h 871769"/>
                <a:gd name="connsiteX1267" fmla="*/ 1535354 w 4009365"/>
                <a:gd name="connsiteY1267" fmla="*/ 392980 h 871769"/>
                <a:gd name="connsiteX1268" fmla="*/ 1542461 w 4009365"/>
                <a:gd name="connsiteY1268" fmla="*/ 391763 h 871769"/>
                <a:gd name="connsiteX1269" fmla="*/ 1545641 w 4009365"/>
                <a:gd name="connsiteY1269" fmla="*/ 394943 h 871769"/>
                <a:gd name="connsiteX1270" fmla="*/ 1548683 w 4009365"/>
                <a:gd name="connsiteY1270" fmla="*/ 389938 h 871769"/>
                <a:gd name="connsiteX1271" fmla="*/ 1557255 w 4009365"/>
                <a:gd name="connsiteY1271" fmla="*/ 389081 h 871769"/>
                <a:gd name="connsiteX1272" fmla="*/ 1557255 w 4009365"/>
                <a:gd name="connsiteY1272" fmla="*/ 398621 h 871769"/>
                <a:gd name="connsiteX1273" fmla="*/ 1565081 w 4009365"/>
                <a:gd name="connsiteY1273" fmla="*/ 398870 h 871769"/>
                <a:gd name="connsiteX1274" fmla="*/ 1565219 w 4009365"/>
                <a:gd name="connsiteY1274" fmla="*/ 389108 h 871769"/>
                <a:gd name="connsiteX1275" fmla="*/ 1575368 w 4009365"/>
                <a:gd name="connsiteY1275" fmla="*/ 389108 h 871769"/>
                <a:gd name="connsiteX1276" fmla="*/ 1575368 w 4009365"/>
                <a:gd name="connsiteY1276" fmla="*/ 399506 h 871769"/>
                <a:gd name="connsiteX1277" fmla="*/ 1583554 w 4009365"/>
                <a:gd name="connsiteY1277" fmla="*/ 399755 h 871769"/>
                <a:gd name="connsiteX1278" fmla="*/ 1583554 w 4009365"/>
                <a:gd name="connsiteY1278" fmla="*/ 389136 h 871769"/>
                <a:gd name="connsiteX1279" fmla="*/ 1589306 w 4009365"/>
                <a:gd name="connsiteY1279" fmla="*/ 389136 h 871769"/>
                <a:gd name="connsiteX1280" fmla="*/ 1592237 w 4009365"/>
                <a:gd name="connsiteY1280" fmla="*/ 390104 h 871769"/>
                <a:gd name="connsiteX1281" fmla="*/ 1594808 w 4009365"/>
                <a:gd name="connsiteY1281" fmla="*/ 394003 h 871769"/>
                <a:gd name="connsiteX1282" fmla="*/ 1597850 w 4009365"/>
                <a:gd name="connsiteY1282" fmla="*/ 391182 h 871769"/>
                <a:gd name="connsiteX1283" fmla="*/ 1603602 w 4009365"/>
                <a:gd name="connsiteY1283" fmla="*/ 392648 h 871769"/>
                <a:gd name="connsiteX1284" fmla="*/ 1606063 w 4009365"/>
                <a:gd name="connsiteY1284" fmla="*/ 396437 h 871769"/>
                <a:gd name="connsiteX1285" fmla="*/ 1609105 w 4009365"/>
                <a:gd name="connsiteY1285" fmla="*/ 394114 h 871769"/>
                <a:gd name="connsiteX1286" fmla="*/ 1612894 w 4009365"/>
                <a:gd name="connsiteY1286" fmla="*/ 395690 h 871769"/>
                <a:gd name="connsiteX1287" fmla="*/ 1616184 w 4009365"/>
                <a:gd name="connsiteY1287" fmla="*/ 400087 h 871769"/>
                <a:gd name="connsiteX1288" fmla="*/ 1614470 w 4009365"/>
                <a:gd name="connsiteY1288" fmla="*/ 402299 h 871769"/>
                <a:gd name="connsiteX1289" fmla="*/ 1614470 w 4009365"/>
                <a:gd name="connsiteY1289" fmla="*/ 417702 h 871769"/>
                <a:gd name="connsiteX1290" fmla="*/ 1617650 w 4009365"/>
                <a:gd name="connsiteY1290" fmla="*/ 421242 h 871769"/>
                <a:gd name="connsiteX1291" fmla="*/ 1613253 w 4009365"/>
                <a:gd name="connsiteY1291" fmla="*/ 428736 h 871769"/>
                <a:gd name="connsiteX1292" fmla="*/ 1615383 w 4009365"/>
                <a:gd name="connsiteY1292" fmla="*/ 666250 h 871769"/>
                <a:gd name="connsiteX1293" fmla="*/ 1620581 w 4009365"/>
                <a:gd name="connsiteY1293" fmla="*/ 449724 h 871769"/>
                <a:gd name="connsiteX1294" fmla="*/ 1620581 w 4009365"/>
                <a:gd name="connsiteY1294" fmla="*/ 434073 h 871769"/>
                <a:gd name="connsiteX1295" fmla="*/ 1621411 w 4009365"/>
                <a:gd name="connsiteY1295" fmla="*/ 434073 h 871769"/>
                <a:gd name="connsiteX1296" fmla="*/ 1621411 w 4009365"/>
                <a:gd name="connsiteY1296" fmla="*/ 434239 h 871769"/>
                <a:gd name="connsiteX1297" fmla="*/ 1627771 w 4009365"/>
                <a:gd name="connsiteY1297" fmla="*/ 434239 h 871769"/>
                <a:gd name="connsiteX1298" fmla="*/ 1627771 w 4009365"/>
                <a:gd name="connsiteY1298" fmla="*/ 426413 h 871769"/>
                <a:gd name="connsiteX1299" fmla="*/ 1636261 w 4009365"/>
                <a:gd name="connsiteY1299" fmla="*/ 426413 h 871769"/>
                <a:gd name="connsiteX1300" fmla="*/ 1636261 w 4009365"/>
                <a:gd name="connsiteY1300" fmla="*/ 434239 h 871769"/>
                <a:gd name="connsiteX1301" fmla="*/ 1641957 w 4009365"/>
                <a:gd name="connsiteY1301" fmla="*/ 434239 h 871769"/>
                <a:gd name="connsiteX1302" fmla="*/ 1641957 w 4009365"/>
                <a:gd name="connsiteY1302" fmla="*/ 426413 h 871769"/>
                <a:gd name="connsiteX1303" fmla="*/ 1650281 w 4009365"/>
                <a:gd name="connsiteY1303" fmla="*/ 426413 h 871769"/>
                <a:gd name="connsiteX1304" fmla="*/ 1650281 w 4009365"/>
                <a:gd name="connsiteY1304" fmla="*/ 434239 h 871769"/>
                <a:gd name="connsiteX1305" fmla="*/ 1656641 w 4009365"/>
                <a:gd name="connsiteY1305" fmla="*/ 434239 h 871769"/>
                <a:gd name="connsiteX1306" fmla="*/ 1656641 w 4009365"/>
                <a:gd name="connsiteY1306" fmla="*/ 426413 h 871769"/>
                <a:gd name="connsiteX1307" fmla="*/ 1665463 w 4009365"/>
                <a:gd name="connsiteY1307" fmla="*/ 426413 h 871769"/>
                <a:gd name="connsiteX1308" fmla="*/ 1665463 w 4009365"/>
                <a:gd name="connsiteY1308" fmla="*/ 434239 h 871769"/>
                <a:gd name="connsiteX1309" fmla="*/ 1672155 w 4009365"/>
                <a:gd name="connsiteY1309" fmla="*/ 434239 h 871769"/>
                <a:gd name="connsiteX1310" fmla="*/ 1672155 w 4009365"/>
                <a:gd name="connsiteY1310" fmla="*/ 426413 h 871769"/>
                <a:gd name="connsiteX1311" fmla="*/ 1680312 w 4009365"/>
                <a:gd name="connsiteY1311" fmla="*/ 426413 h 871769"/>
                <a:gd name="connsiteX1312" fmla="*/ 1680312 w 4009365"/>
                <a:gd name="connsiteY1312" fmla="*/ 434239 h 871769"/>
                <a:gd name="connsiteX1313" fmla="*/ 1687972 w 4009365"/>
                <a:gd name="connsiteY1313" fmla="*/ 434239 h 871769"/>
                <a:gd name="connsiteX1314" fmla="*/ 1687972 w 4009365"/>
                <a:gd name="connsiteY1314" fmla="*/ 426413 h 871769"/>
                <a:gd name="connsiteX1315" fmla="*/ 1696130 w 4009365"/>
                <a:gd name="connsiteY1315" fmla="*/ 426413 h 871769"/>
                <a:gd name="connsiteX1316" fmla="*/ 1696130 w 4009365"/>
                <a:gd name="connsiteY1316" fmla="*/ 434239 h 871769"/>
                <a:gd name="connsiteX1317" fmla="*/ 1703292 w 4009365"/>
                <a:gd name="connsiteY1317" fmla="*/ 434239 h 871769"/>
                <a:gd name="connsiteX1318" fmla="*/ 1703292 w 4009365"/>
                <a:gd name="connsiteY1318" fmla="*/ 426413 h 871769"/>
                <a:gd name="connsiteX1319" fmla="*/ 1708187 w 4009365"/>
                <a:gd name="connsiteY1319" fmla="*/ 426413 h 871769"/>
                <a:gd name="connsiteX1320" fmla="*/ 1712114 w 4009365"/>
                <a:gd name="connsiteY1320" fmla="*/ 430976 h 871769"/>
                <a:gd name="connsiteX1321" fmla="*/ 1710316 w 4009365"/>
                <a:gd name="connsiteY1321" fmla="*/ 433105 h 871769"/>
                <a:gd name="connsiteX1322" fmla="*/ 1710648 w 4009365"/>
                <a:gd name="connsiteY1322" fmla="*/ 443862 h 871769"/>
                <a:gd name="connsiteX1323" fmla="*/ 1713109 w 4009365"/>
                <a:gd name="connsiteY1323" fmla="*/ 445162 h 871769"/>
                <a:gd name="connsiteX1324" fmla="*/ 1708215 w 4009365"/>
                <a:gd name="connsiteY1324" fmla="*/ 450803 h 871769"/>
                <a:gd name="connsiteX1325" fmla="*/ 1718833 w 4009365"/>
                <a:gd name="connsiteY1325" fmla="*/ 837645 h 871769"/>
                <a:gd name="connsiteX1326" fmla="*/ 1723009 w 4009365"/>
                <a:gd name="connsiteY1326" fmla="*/ 669347 h 871769"/>
                <a:gd name="connsiteX1327" fmla="*/ 1731803 w 4009365"/>
                <a:gd name="connsiteY1327" fmla="*/ 669153 h 871769"/>
                <a:gd name="connsiteX1328" fmla="*/ 1731803 w 4009365"/>
                <a:gd name="connsiteY1328" fmla="*/ 663125 h 871769"/>
                <a:gd name="connsiteX1329" fmla="*/ 1856989 w 4009365"/>
                <a:gd name="connsiteY1329" fmla="*/ 663125 h 871769"/>
                <a:gd name="connsiteX1330" fmla="*/ 1856989 w 4009365"/>
                <a:gd name="connsiteY1330" fmla="*/ 633923 h 871769"/>
                <a:gd name="connsiteX1331" fmla="*/ 1921089 w 4009365"/>
                <a:gd name="connsiteY1331" fmla="*/ 633923 h 871769"/>
                <a:gd name="connsiteX1332" fmla="*/ 1921089 w 4009365"/>
                <a:gd name="connsiteY1332" fmla="*/ 371549 h 871769"/>
                <a:gd name="connsiteX1333" fmla="*/ 1923108 w 4009365"/>
                <a:gd name="connsiteY1333" fmla="*/ 371549 h 871769"/>
                <a:gd name="connsiteX1334" fmla="*/ 1923108 w 4009365"/>
                <a:gd name="connsiteY1334" fmla="*/ 363502 h 871769"/>
                <a:gd name="connsiteX1335" fmla="*/ 1922693 w 4009365"/>
                <a:gd name="connsiteY1335" fmla="*/ 362340 h 871769"/>
                <a:gd name="connsiteX1336" fmla="*/ 1922693 w 4009365"/>
                <a:gd name="connsiteY1336" fmla="*/ 360570 h 871769"/>
                <a:gd name="connsiteX1337" fmla="*/ 1923523 w 4009365"/>
                <a:gd name="connsiteY1337" fmla="*/ 359907 h 871769"/>
                <a:gd name="connsiteX1338" fmla="*/ 1923523 w 4009365"/>
                <a:gd name="connsiteY1338" fmla="*/ 356644 h 871769"/>
                <a:gd name="connsiteX1339" fmla="*/ 1924352 w 4009365"/>
                <a:gd name="connsiteY1339" fmla="*/ 356229 h 871769"/>
                <a:gd name="connsiteX1340" fmla="*/ 1924352 w 4009365"/>
                <a:gd name="connsiteY1340" fmla="*/ 337867 h 871769"/>
                <a:gd name="connsiteX1341" fmla="*/ 1922666 w 4009365"/>
                <a:gd name="connsiteY1341" fmla="*/ 335433 h 871769"/>
                <a:gd name="connsiteX1342" fmla="*/ 1922666 w 4009365"/>
                <a:gd name="connsiteY1342" fmla="*/ 329294 h 871769"/>
                <a:gd name="connsiteX1343" fmla="*/ 1924352 w 4009365"/>
                <a:gd name="connsiteY1343" fmla="*/ 324510 h 871769"/>
                <a:gd name="connsiteX1344" fmla="*/ 1925348 w 4009365"/>
                <a:gd name="connsiteY1344" fmla="*/ 324510 h 871769"/>
                <a:gd name="connsiteX1345" fmla="*/ 1925348 w 4009365"/>
                <a:gd name="connsiteY1345" fmla="*/ 317127 h 871769"/>
                <a:gd name="connsiteX1346" fmla="*/ 1931902 w 4009365"/>
                <a:gd name="connsiteY1346" fmla="*/ 312675 h 871769"/>
                <a:gd name="connsiteX1347" fmla="*/ 1934833 w 4009365"/>
                <a:gd name="connsiteY1347" fmla="*/ 312675 h 871769"/>
                <a:gd name="connsiteX1348" fmla="*/ 1934833 w 4009365"/>
                <a:gd name="connsiteY1348" fmla="*/ 311430 h 871769"/>
                <a:gd name="connsiteX1349" fmla="*/ 1936520 w 4009365"/>
                <a:gd name="connsiteY1349" fmla="*/ 310822 h 871769"/>
                <a:gd name="connsiteX1350" fmla="*/ 1936520 w 4009365"/>
                <a:gd name="connsiteY1350" fmla="*/ 306038 h 871769"/>
                <a:gd name="connsiteX1351" fmla="*/ 1938207 w 4009365"/>
                <a:gd name="connsiteY1351" fmla="*/ 304545 h 871769"/>
                <a:gd name="connsiteX1352" fmla="*/ 1938207 w 4009365"/>
                <a:gd name="connsiteY1352" fmla="*/ 300922 h 871769"/>
                <a:gd name="connsiteX1353" fmla="*/ 1939451 w 4009365"/>
                <a:gd name="connsiteY1353" fmla="*/ 300922 h 871769"/>
                <a:gd name="connsiteX1354" fmla="*/ 1939451 w 4009365"/>
                <a:gd name="connsiteY1354" fmla="*/ 303411 h 871769"/>
                <a:gd name="connsiteX1355" fmla="*/ 1943322 w 4009365"/>
                <a:gd name="connsiteY1355" fmla="*/ 299982 h 871769"/>
                <a:gd name="connsiteX1356" fmla="*/ 1943322 w 4009365"/>
                <a:gd name="connsiteY1356" fmla="*/ 257202 h 871769"/>
                <a:gd name="connsiteX1357" fmla="*/ 1946835 w 4009365"/>
                <a:gd name="connsiteY1357" fmla="*/ 252335 h 871769"/>
                <a:gd name="connsiteX1358" fmla="*/ 1946835 w 4009365"/>
                <a:gd name="connsiteY1358" fmla="*/ 246639 h 871769"/>
                <a:gd name="connsiteX1359" fmla="*/ 1948189 w 4009365"/>
                <a:gd name="connsiteY1359" fmla="*/ 244371 h 871769"/>
                <a:gd name="connsiteX1360" fmla="*/ 1947277 w 4009365"/>
                <a:gd name="connsiteY1360" fmla="*/ 243127 h 871769"/>
                <a:gd name="connsiteX1361" fmla="*/ 1948687 w 4009365"/>
                <a:gd name="connsiteY1361" fmla="*/ 240113 h 871769"/>
                <a:gd name="connsiteX1362" fmla="*/ 1950125 w 4009365"/>
                <a:gd name="connsiteY1362" fmla="*/ 242214 h 871769"/>
                <a:gd name="connsiteX1363" fmla="*/ 1952227 w 4009365"/>
                <a:gd name="connsiteY1363" fmla="*/ 240113 h 871769"/>
                <a:gd name="connsiteX1364" fmla="*/ 1952227 w 4009365"/>
                <a:gd name="connsiteY1364" fmla="*/ 236020 h 871769"/>
                <a:gd name="connsiteX1365" fmla="*/ 1954080 w 4009365"/>
                <a:gd name="connsiteY1365" fmla="*/ 234167 h 871769"/>
                <a:gd name="connsiteX1366" fmla="*/ 1954080 w 4009365"/>
                <a:gd name="connsiteY1366" fmla="*/ 229632 h 871769"/>
                <a:gd name="connsiteX1367" fmla="*/ 1957758 w 4009365"/>
                <a:gd name="connsiteY1367" fmla="*/ 226203 h 871769"/>
                <a:gd name="connsiteX1368" fmla="*/ 1962790 w 4009365"/>
                <a:gd name="connsiteY1368" fmla="*/ 226203 h 871769"/>
                <a:gd name="connsiteX1369" fmla="*/ 1963454 w 4009365"/>
                <a:gd name="connsiteY1369" fmla="*/ 225539 h 871769"/>
                <a:gd name="connsiteX1370" fmla="*/ 1963454 w 4009365"/>
                <a:gd name="connsiteY1370" fmla="*/ 203306 h 871769"/>
                <a:gd name="connsiteX1371" fmla="*/ 1968570 w 4009365"/>
                <a:gd name="connsiteY1371" fmla="*/ 199379 h 871769"/>
                <a:gd name="connsiteX1372" fmla="*/ 1968570 w 4009365"/>
                <a:gd name="connsiteY1372" fmla="*/ 197941 h 871769"/>
                <a:gd name="connsiteX1373" fmla="*/ 1971363 w 4009365"/>
                <a:gd name="connsiteY1373" fmla="*/ 196448 h 871769"/>
                <a:gd name="connsiteX1374" fmla="*/ 1971363 w 4009365"/>
                <a:gd name="connsiteY1374" fmla="*/ 192217 h 871769"/>
                <a:gd name="connsiteX1375" fmla="*/ 1970589 w 4009365"/>
                <a:gd name="connsiteY1375" fmla="*/ 191498 h 871769"/>
                <a:gd name="connsiteX1376" fmla="*/ 1967989 w 4009365"/>
                <a:gd name="connsiteY1376" fmla="*/ 190834 h 871769"/>
                <a:gd name="connsiteX1377" fmla="*/ 1964726 w 4009365"/>
                <a:gd name="connsiteY1377" fmla="*/ 187488 h 871769"/>
                <a:gd name="connsiteX1378" fmla="*/ 1965113 w 4009365"/>
                <a:gd name="connsiteY1378" fmla="*/ 185995 h 871769"/>
                <a:gd name="connsiteX1379" fmla="*/ 1967796 w 4009365"/>
                <a:gd name="connsiteY1379" fmla="*/ 186410 h 871769"/>
                <a:gd name="connsiteX1380" fmla="*/ 1970063 w 4009365"/>
                <a:gd name="connsiteY1380" fmla="*/ 187074 h 871769"/>
                <a:gd name="connsiteX1381" fmla="*/ 1971391 w 4009365"/>
                <a:gd name="connsiteY1381" fmla="*/ 187682 h 871769"/>
                <a:gd name="connsiteX1382" fmla="*/ 1971391 w 4009365"/>
                <a:gd name="connsiteY1382" fmla="*/ 185497 h 871769"/>
                <a:gd name="connsiteX1383" fmla="*/ 1970616 w 4009365"/>
                <a:gd name="connsiteY1383" fmla="*/ 185719 h 871769"/>
                <a:gd name="connsiteX1384" fmla="*/ 1968487 w 4009365"/>
                <a:gd name="connsiteY1384" fmla="*/ 185331 h 871769"/>
                <a:gd name="connsiteX1385" fmla="*/ 1964505 w 4009365"/>
                <a:gd name="connsiteY1385" fmla="*/ 184723 h 871769"/>
                <a:gd name="connsiteX1386" fmla="*/ 1964118 w 4009365"/>
                <a:gd name="connsiteY1386" fmla="*/ 183451 h 871769"/>
                <a:gd name="connsiteX1387" fmla="*/ 1966164 w 4009365"/>
                <a:gd name="connsiteY1387" fmla="*/ 182787 h 871769"/>
                <a:gd name="connsiteX1388" fmla="*/ 1968238 w 4009365"/>
                <a:gd name="connsiteY1388" fmla="*/ 181377 h 871769"/>
                <a:gd name="connsiteX1389" fmla="*/ 1971391 w 4009365"/>
                <a:gd name="connsiteY1389" fmla="*/ 182151 h 871769"/>
                <a:gd name="connsiteX1390" fmla="*/ 1971391 w 4009365"/>
                <a:gd name="connsiteY1390" fmla="*/ 180879 h 871769"/>
                <a:gd name="connsiteX1391" fmla="*/ 1970395 w 4009365"/>
                <a:gd name="connsiteY1391" fmla="*/ 180133 h 871769"/>
                <a:gd name="connsiteX1392" fmla="*/ 1968293 w 4009365"/>
                <a:gd name="connsiteY1392" fmla="*/ 179663 h 871769"/>
                <a:gd name="connsiteX1393" fmla="*/ 1965030 w 4009365"/>
                <a:gd name="connsiteY1393" fmla="*/ 178612 h 871769"/>
                <a:gd name="connsiteX1394" fmla="*/ 1962182 w 4009365"/>
                <a:gd name="connsiteY1394" fmla="*/ 178363 h 871769"/>
                <a:gd name="connsiteX1395" fmla="*/ 1961076 w 4009365"/>
                <a:gd name="connsiteY1395" fmla="*/ 174906 h 871769"/>
                <a:gd name="connsiteX1396" fmla="*/ 1962763 w 4009365"/>
                <a:gd name="connsiteY1396" fmla="*/ 173938 h 871769"/>
                <a:gd name="connsiteX1397" fmla="*/ 1966579 w 4009365"/>
                <a:gd name="connsiteY1397" fmla="*/ 174298 h 871769"/>
                <a:gd name="connsiteX1398" fmla="*/ 1971418 w 4009365"/>
                <a:gd name="connsiteY1398" fmla="*/ 174657 h 871769"/>
                <a:gd name="connsiteX1399" fmla="*/ 1971418 w 4009365"/>
                <a:gd name="connsiteY1399" fmla="*/ 171422 h 871769"/>
                <a:gd name="connsiteX1400" fmla="*/ 1972248 w 4009365"/>
                <a:gd name="connsiteY1400" fmla="*/ 171422 h 871769"/>
                <a:gd name="connsiteX1401" fmla="*/ 1972248 w 4009365"/>
                <a:gd name="connsiteY1401" fmla="*/ 196420 h 871769"/>
                <a:gd name="connsiteX1402" fmla="*/ 1975207 w 4009365"/>
                <a:gd name="connsiteY1402" fmla="*/ 197997 h 871769"/>
                <a:gd name="connsiteX1403" fmla="*/ 1975207 w 4009365"/>
                <a:gd name="connsiteY1403" fmla="*/ 199407 h 871769"/>
                <a:gd name="connsiteX1404" fmla="*/ 1980323 w 4009365"/>
                <a:gd name="connsiteY1404" fmla="*/ 203361 h 871769"/>
                <a:gd name="connsiteX1405" fmla="*/ 1980323 w 4009365"/>
                <a:gd name="connsiteY1405" fmla="*/ 225595 h 871769"/>
                <a:gd name="connsiteX1406" fmla="*/ 1980986 w 4009365"/>
                <a:gd name="connsiteY1406" fmla="*/ 226258 h 871769"/>
                <a:gd name="connsiteX1407" fmla="*/ 1986019 w 4009365"/>
                <a:gd name="connsiteY1407" fmla="*/ 226258 h 871769"/>
                <a:gd name="connsiteX1408" fmla="*/ 1989725 w 4009365"/>
                <a:gd name="connsiteY1408" fmla="*/ 229715 h 871769"/>
                <a:gd name="connsiteX1409" fmla="*/ 1989725 w 4009365"/>
                <a:gd name="connsiteY1409" fmla="*/ 234250 h 871769"/>
                <a:gd name="connsiteX1410" fmla="*/ 1991577 w 4009365"/>
                <a:gd name="connsiteY1410" fmla="*/ 236103 h 871769"/>
                <a:gd name="connsiteX1411" fmla="*/ 1991577 w 4009365"/>
                <a:gd name="connsiteY1411" fmla="*/ 240223 h 871769"/>
                <a:gd name="connsiteX1412" fmla="*/ 1993679 w 4009365"/>
                <a:gd name="connsiteY1412" fmla="*/ 242325 h 871769"/>
                <a:gd name="connsiteX1413" fmla="*/ 1995117 w 4009365"/>
                <a:gd name="connsiteY1413" fmla="*/ 240223 h 871769"/>
                <a:gd name="connsiteX1414" fmla="*/ 1996527 w 4009365"/>
                <a:gd name="connsiteY1414" fmla="*/ 243237 h 871769"/>
                <a:gd name="connsiteX1415" fmla="*/ 1995615 w 4009365"/>
                <a:gd name="connsiteY1415" fmla="*/ 244509 h 871769"/>
                <a:gd name="connsiteX1416" fmla="*/ 1996970 w 4009365"/>
                <a:gd name="connsiteY1416" fmla="*/ 246777 h 871769"/>
                <a:gd name="connsiteX1417" fmla="*/ 1996970 w 4009365"/>
                <a:gd name="connsiteY1417" fmla="*/ 252474 h 871769"/>
                <a:gd name="connsiteX1418" fmla="*/ 2000482 w 4009365"/>
                <a:gd name="connsiteY1418" fmla="*/ 257341 h 871769"/>
                <a:gd name="connsiteX1419" fmla="*/ 2000482 w 4009365"/>
                <a:gd name="connsiteY1419" fmla="*/ 300120 h 871769"/>
                <a:gd name="connsiteX1420" fmla="*/ 2004353 w 4009365"/>
                <a:gd name="connsiteY1420" fmla="*/ 303549 h 871769"/>
                <a:gd name="connsiteX1421" fmla="*/ 2004353 w 4009365"/>
                <a:gd name="connsiteY1421" fmla="*/ 301033 h 871769"/>
                <a:gd name="connsiteX1422" fmla="*/ 2005625 w 4009365"/>
                <a:gd name="connsiteY1422" fmla="*/ 301033 h 871769"/>
                <a:gd name="connsiteX1423" fmla="*/ 2005625 w 4009365"/>
                <a:gd name="connsiteY1423" fmla="*/ 304655 h 871769"/>
                <a:gd name="connsiteX1424" fmla="*/ 2007312 w 4009365"/>
                <a:gd name="connsiteY1424" fmla="*/ 306149 h 871769"/>
                <a:gd name="connsiteX1425" fmla="*/ 2007312 w 4009365"/>
                <a:gd name="connsiteY1425" fmla="*/ 310933 h 871769"/>
                <a:gd name="connsiteX1426" fmla="*/ 2008999 w 4009365"/>
                <a:gd name="connsiteY1426" fmla="*/ 311513 h 871769"/>
                <a:gd name="connsiteX1427" fmla="*/ 2008999 w 4009365"/>
                <a:gd name="connsiteY1427" fmla="*/ 312785 h 871769"/>
                <a:gd name="connsiteX1428" fmla="*/ 2011930 w 4009365"/>
                <a:gd name="connsiteY1428" fmla="*/ 312785 h 871769"/>
                <a:gd name="connsiteX1429" fmla="*/ 2018484 w 4009365"/>
                <a:gd name="connsiteY1429" fmla="*/ 317238 h 871769"/>
                <a:gd name="connsiteX1430" fmla="*/ 2018484 w 4009365"/>
                <a:gd name="connsiteY1430" fmla="*/ 324621 h 871769"/>
                <a:gd name="connsiteX1431" fmla="*/ 2019480 w 4009365"/>
                <a:gd name="connsiteY1431" fmla="*/ 324621 h 871769"/>
                <a:gd name="connsiteX1432" fmla="*/ 2021166 w 4009365"/>
                <a:gd name="connsiteY1432" fmla="*/ 329405 h 871769"/>
                <a:gd name="connsiteX1433" fmla="*/ 2021166 w 4009365"/>
                <a:gd name="connsiteY1433" fmla="*/ 335516 h 871769"/>
                <a:gd name="connsiteX1434" fmla="*/ 2019480 w 4009365"/>
                <a:gd name="connsiteY1434" fmla="*/ 337950 h 871769"/>
                <a:gd name="connsiteX1435" fmla="*/ 2019480 w 4009365"/>
                <a:gd name="connsiteY1435" fmla="*/ 356312 h 871769"/>
                <a:gd name="connsiteX1436" fmla="*/ 2020337 w 4009365"/>
                <a:gd name="connsiteY1436" fmla="*/ 356726 h 871769"/>
                <a:gd name="connsiteX1437" fmla="*/ 2020337 w 4009365"/>
                <a:gd name="connsiteY1437" fmla="*/ 360017 h 871769"/>
                <a:gd name="connsiteX1438" fmla="*/ 2021166 w 4009365"/>
                <a:gd name="connsiteY1438" fmla="*/ 360681 h 871769"/>
                <a:gd name="connsiteX1439" fmla="*/ 2021166 w 4009365"/>
                <a:gd name="connsiteY1439" fmla="*/ 362451 h 871769"/>
                <a:gd name="connsiteX1440" fmla="*/ 2020752 w 4009365"/>
                <a:gd name="connsiteY1440" fmla="*/ 363612 h 871769"/>
                <a:gd name="connsiteX1441" fmla="*/ 2020752 w 4009365"/>
                <a:gd name="connsiteY1441" fmla="*/ 371659 h 871769"/>
                <a:gd name="connsiteX1442" fmla="*/ 2022770 w 4009365"/>
                <a:gd name="connsiteY1442" fmla="*/ 371659 h 871769"/>
                <a:gd name="connsiteX1443" fmla="*/ 2022770 w 4009365"/>
                <a:gd name="connsiteY1443" fmla="*/ 634033 h 871769"/>
                <a:gd name="connsiteX1444" fmla="*/ 2086871 w 4009365"/>
                <a:gd name="connsiteY1444" fmla="*/ 634033 h 871769"/>
                <a:gd name="connsiteX1445" fmla="*/ 2086871 w 4009365"/>
                <a:gd name="connsiteY1445" fmla="*/ 663235 h 871769"/>
                <a:gd name="connsiteX1446" fmla="*/ 2212057 w 4009365"/>
                <a:gd name="connsiteY1446" fmla="*/ 663235 h 871769"/>
                <a:gd name="connsiteX1447" fmla="*/ 2212057 w 4009365"/>
                <a:gd name="connsiteY1447" fmla="*/ 669264 h 871769"/>
                <a:gd name="connsiteX1448" fmla="*/ 2220602 w 4009365"/>
                <a:gd name="connsiteY1448" fmla="*/ 668600 h 871769"/>
                <a:gd name="connsiteX1449" fmla="*/ 2228206 w 4009365"/>
                <a:gd name="connsiteY1449" fmla="*/ 843230 h 871769"/>
                <a:gd name="connsiteX1450" fmla="*/ 2237387 w 4009365"/>
                <a:gd name="connsiteY1450" fmla="*/ 623027 h 871769"/>
                <a:gd name="connsiteX1451" fmla="*/ 2256689 w 4009365"/>
                <a:gd name="connsiteY1451" fmla="*/ 623027 h 871769"/>
                <a:gd name="connsiteX1452" fmla="*/ 2376428 w 4009365"/>
                <a:gd name="connsiteY1452" fmla="*/ 540704 h 871769"/>
                <a:gd name="connsiteX1453" fmla="*/ 2496167 w 4009365"/>
                <a:gd name="connsiteY1453" fmla="*/ 623027 h 871769"/>
                <a:gd name="connsiteX1454" fmla="*/ 2517681 w 4009365"/>
                <a:gd name="connsiteY1454" fmla="*/ 623027 h 871769"/>
                <a:gd name="connsiteX1455" fmla="*/ 2517681 w 4009365"/>
                <a:gd name="connsiteY1455" fmla="*/ 638873 h 871769"/>
                <a:gd name="connsiteX1456" fmla="*/ 2400210 w 4009365"/>
                <a:gd name="connsiteY1456" fmla="*/ 638873 h 871769"/>
                <a:gd name="connsiteX1457" fmla="*/ 2406376 w 4009365"/>
                <a:gd name="connsiteY1457" fmla="*/ 840908 h 871769"/>
                <a:gd name="connsiteX1458" fmla="*/ 2413483 w 4009365"/>
                <a:gd name="connsiteY1458" fmla="*/ 651289 h 871769"/>
                <a:gd name="connsiteX1459" fmla="*/ 2854525 w 4009365"/>
                <a:gd name="connsiteY1459" fmla="*/ 651289 h 871769"/>
                <a:gd name="connsiteX1460" fmla="*/ 2862849 w 4009365"/>
                <a:gd name="connsiteY1460" fmla="*/ 838999 h 871769"/>
                <a:gd name="connsiteX1461" fmla="*/ 2868435 w 4009365"/>
                <a:gd name="connsiteY1461" fmla="*/ 637380 h 871769"/>
                <a:gd name="connsiteX1462" fmla="*/ 2674641 w 4009365"/>
                <a:gd name="connsiteY1462" fmla="*/ 637380 h 871769"/>
                <a:gd name="connsiteX1463" fmla="*/ 2674806 w 4009365"/>
                <a:gd name="connsiteY1463" fmla="*/ 627175 h 871769"/>
                <a:gd name="connsiteX1464" fmla="*/ 2580039 w 4009365"/>
                <a:gd name="connsiteY1464" fmla="*/ 627175 h 871769"/>
                <a:gd name="connsiteX1465" fmla="*/ 2580122 w 4009365"/>
                <a:gd name="connsiteY1465" fmla="*/ 636522 h 871769"/>
                <a:gd name="connsiteX1466" fmla="*/ 2580039 w 4009365"/>
                <a:gd name="connsiteY1466" fmla="*/ 636522 h 871769"/>
                <a:gd name="connsiteX1467" fmla="*/ 2580039 w 4009365"/>
                <a:gd name="connsiteY1467" fmla="*/ 637352 h 871769"/>
                <a:gd name="connsiteX1468" fmla="*/ 2531590 w 4009365"/>
                <a:gd name="connsiteY1468" fmla="*/ 637352 h 871769"/>
                <a:gd name="connsiteX1469" fmla="*/ 2531590 w 4009365"/>
                <a:gd name="connsiteY1469" fmla="*/ 609090 h 871769"/>
                <a:gd name="connsiteX1470" fmla="*/ 2505237 w 4009365"/>
                <a:gd name="connsiteY1470" fmla="*/ 609090 h 871769"/>
                <a:gd name="connsiteX1471" fmla="*/ 2457175 w 4009365"/>
                <a:gd name="connsiteY1471" fmla="*/ 552318 h 871769"/>
                <a:gd name="connsiteX1472" fmla="*/ 2376456 w 4009365"/>
                <a:gd name="connsiteY1472" fmla="*/ 526766 h 871769"/>
                <a:gd name="connsiteX1473" fmla="*/ 2317471 w 4009365"/>
                <a:gd name="connsiteY1473" fmla="*/ 540040 h 871769"/>
                <a:gd name="connsiteX1474" fmla="*/ 2321121 w 4009365"/>
                <a:gd name="connsiteY1474" fmla="*/ 160112 h 871769"/>
                <a:gd name="connsiteX1475" fmla="*/ 2407925 w 4009365"/>
                <a:gd name="connsiteY1475" fmla="*/ 160112 h 871769"/>
                <a:gd name="connsiteX1476" fmla="*/ 2407925 w 4009365"/>
                <a:gd name="connsiteY1476" fmla="*/ 146257 h 871769"/>
                <a:gd name="connsiteX1477" fmla="*/ 2488258 w 4009365"/>
                <a:gd name="connsiteY1477" fmla="*/ 146257 h 871769"/>
                <a:gd name="connsiteX1478" fmla="*/ 2488258 w 4009365"/>
                <a:gd name="connsiteY1478" fmla="*/ 160112 h 871769"/>
                <a:gd name="connsiteX1479" fmla="*/ 2526143 w 4009365"/>
                <a:gd name="connsiteY1479" fmla="*/ 160112 h 871769"/>
                <a:gd name="connsiteX1480" fmla="*/ 2169913 w 4009365"/>
                <a:gd name="connsiteY1480" fmla="*/ 0 h 871769"/>
                <a:gd name="connsiteX1481" fmla="*/ 2174974 w 4009365"/>
                <a:gd name="connsiteY1481" fmla="*/ 0 h 871769"/>
                <a:gd name="connsiteX1482" fmla="*/ 2174974 w 4009365"/>
                <a:gd name="connsiteY1482" fmla="*/ 37000 h 871769"/>
                <a:gd name="connsiteX1483" fmla="*/ 2224971 w 4009365"/>
                <a:gd name="connsiteY1483" fmla="*/ 37000 h 871769"/>
                <a:gd name="connsiteX1484" fmla="*/ 2224971 w 4009365"/>
                <a:gd name="connsiteY1484" fmla="*/ 49610 h 871769"/>
                <a:gd name="connsiteX1485" fmla="*/ 2278342 w 4009365"/>
                <a:gd name="connsiteY1485" fmla="*/ 49610 h 871769"/>
                <a:gd name="connsiteX1486" fmla="*/ 2278342 w 4009365"/>
                <a:gd name="connsiteY1486" fmla="*/ 91615 h 871769"/>
                <a:gd name="connsiteX1487" fmla="*/ 2302289 w 4009365"/>
                <a:gd name="connsiteY1487" fmla="*/ 91615 h 871769"/>
                <a:gd name="connsiteX1488" fmla="*/ 2305663 w 4009365"/>
                <a:gd name="connsiteY1488" fmla="*/ 545931 h 871769"/>
                <a:gd name="connsiteX1489" fmla="*/ 2295625 w 4009365"/>
                <a:gd name="connsiteY1489" fmla="*/ 552208 h 871769"/>
                <a:gd name="connsiteX1490" fmla="*/ 2247563 w 4009365"/>
                <a:gd name="connsiteY1490" fmla="*/ 608980 h 871769"/>
                <a:gd name="connsiteX1491" fmla="*/ 2223395 w 4009365"/>
                <a:gd name="connsiteY1491" fmla="*/ 608980 h 871769"/>
                <a:gd name="connsiteX1492" fmla="*/ 2223395 w 4009365"/>
                <a:gd name="connsiteY1492" fmla="*/ 649161 h 871769"/>
                <a:gd name="connsiteX1493" fmla="*/ 2100752 w 4009365"/>
                <a:gd name="connsiteY1493" fmla="*/ 649161 h 871769"/>
                <a:gd name="connsiteX1494" fmla="*/ 2100752 w 4009365"/>
                <a:gd name="connsiteY1494" fmla="*/ 619959 h 871769"/>
                <a:gd name="connsiteX1495" fmla="*/ 2086843 w 4009365"/>
                <a:gd name="connsiteY1495" fmla="*/ 619959 h 871769"/>
                <a:gd name="connsiteX1496" fmla="*/ 2040164 w 4009365"/>
                <a:gd name="connsiteY1496" fmla="*/ 619599 h 871769"/>
                <a:gd name="connsiteX1497" fmla="*/ 2042598 w 4009365"/>
                <a:gd name="connsiteY1497" fmla="*/ 91588 h 871769"/>
                <a:gd name="connsiteX1498" fmla="*/ 2066545 w 4009365"/>
                <a:gd name="connsiteY1498" fmla="*/ 91588 h 871769"/>
                <a:gd name="connsiteX1499" fmla="*/ 2066545 w 4009365"/>
                <a:gd name="connsiteY1499" fmla="*/ 49582 h 871769"/>
                <a:gd name="connsiteX1500" fmla="*/ 2119916 w 4009365"/>
                <a:gd name="connsiteY1500" fmla="*/ 49582 h 871769"/>
                <a:gd name="connsiteX1501" fmla="*/ 2119916 w 4009365"/>
                <a:gd name="connsiteY1501" fmla="*/ 36972 h 871769"/>
                <a:gd name="connsiteX1502" fmla="*/ 2169913 w 4009365"/>
                <a:gd name="connsiteY1502" fmla="*/ 36972 h 87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Lst>
              <a:rect l="l" t="t" r="r" b="b"/>
              <a:pathLst>
                <a:path w="4009365" h="871769">
                  <a:moveTo>
                    <a:pt x="866836" y="724294"/>
                  </a:moveTo>
                  <a:lnTo>
                    <a:pt x="849304" y="748048"/>
                  </a:lnTo>
                  <a:lnTo>
                    <a:pt x="866366" y="748048"/>
                  </a:lnTo>
                  <a:close/>
                  <a:moveTo>
                    <a:pt x="812000" y="724294"/>
                  </a:moveTo>
                  <a:lnTo>
                    <a:pt x="812470" y="748048"/>
                  </a:lnTo>
                  <a:lnTo>
                    <a:pt x="829532" y="748048"/>
                  </a:lnTo>
                  <a:close/>
                  <a:moveTo>
                    <a:pt x="99044" y="724294"/>
                  </a:moveTo>
                  <a:lnTo>
                    <a:pt x="81511" y="748048"/>
                  </a:lnTo>
                  <a:lnTo>
                    <a:pt x="98574" y="748048"/>
                  </a:lnTo>
                  <a:close/>
                  <a:moveTo>
                    <a:pt x="44207" y="724294"/>
                  </a:moveTo>
                  <a:lnTo>
                    <a:pt x="44677" y="748048"/>
                  </a:lnTo>
                  <a:lnTo>
                    <a:pt x="61739" y="748048"/>
                  </a:lnTo>
                  <a:close/>
                  <a:moveTo>
                    <a:pt x="870265" y="719648"/>
                  </a:moveTo>
                  <a:lnTo>
                    <a:pt x="869159" y="721141"/>
                  </a:lnTo>
                  <a:lnTo>
                    <a:pt x="868634" y="748048"/>
                  </a:lnTo>
                  <a:lnTo>
                    <a:pt x="868606" y="748076"/>
                  </a:lnTo>
                  <a:lnTo>
                    <a:pt x="888461" y="748076"/>
                  </a:lnTo>
                  <a:cubicBezTo>
                    <a:pt x="888461" y="748076"/>
                    <a:pt x="870265" y="719648"/>
                    <a:pt x="870265" y="719648"/>
                  </a:cubicBezTo>
                  <a:close/>
                  <a:moveTo>
                    <a:pt x="808543" y="719648"/>
                  </a:moveTo>
                  <a:lnTo>
                    <a:pt x="790348" y="748048"/>
                  </a:lnTo>
                  <a:lnTo>
                    <a:pt x="810175" y="748048"/>
                  </a:lnTo>
                  <a:lnTo>
                    <a:pt x="809649" y="721141"/>
                  </a:lnTo>
                  <a:cubicBezTo>
                    <a:pt x="809649" y="721141"/>
                    <a:pt x="808543" y="719648"/>
                    <a:pt x="808543" y="719648"/>
                  </a:cubicBezTo>
                  <a:close/>
                  <a:moveTo>
                    <a:pt x="102500" y="719648"/>
                  </a:moveTo>
                  <a:lnTo>
                    <a:pt x="101366" y="721141"/>
                  </a:lnTo>
                  <a:lnTo>
                    <a:pt x="100841" y="748048"/>
                  </a:lnTo>
                  <a:lnTo>
                    <a:pt x="100841" y="748076"/>
                  </a:lnTo>
                  <a:lnTo>
                    <a:pt x="120696" y="748076"/>
                  </a:lnTo>
                  <a:cubicBezTo>
                    <a:pt x="120696" y="748076"/>
                    <a:pt x="102500" y="719648"/>
                    <a:pt x="102500" y="719648"/>
                  </a:cubicBezTo>
                  <a:close/>
                  <a:moveTo>
                    <a:pt x="40751" y="719648"/>
                  </a:moveTo>
                  <a:lnTo>
                    <a:pt x="22555" y="748048"/>
                  </a:lnTo>
                  <a:lnTo>
                    <a:pt x="42382" y="748048"/>
                  </a:lnTo>
                  <a:lnTo>
                    <a:pt x="41857" y="721141"/>
                  </a:lnTo>
                  <a:cubicBezTo>
                    <a:pt x="41857" y="721141"/>
                    <a:pt x="40751" y="719648"/>
                    <a:pt x="40751" y="719648"/>
                  </a:cubicBezTo>
                  <a:close/>
                  <a:moveTo>
                    <a:pt x="925793" y="710661"/>
                  </a:moveTo>
                  <a:lnTo>
                    <a:pt x="925434" y="748048"/>
                  </a:lnTo>
                  <a:lnTo>
                    <a:pt x="953529" y="748048"/>
                  </a:lnTo>
                  <a:close/>
                  <a:moveTo>
                    <a:pt x="753016" y="710661"/>
                  </a:moveTo>
                  <a:lnTo>
                    <a:pt x="725279" y="748048"/>
                  </a:lnTo>
                  <a:lnTo>
                    <a:pt x="753375" y="748048"/>
                  </a:lnTo>
                  <a:close/>
                  <a:moveTo>
                    <a:pt x="157973" y="710661"/>
                  </a:moveTo>
                  <a:lnTo>
                    <a:pt x="157613" y="748048"/>
                  </a:lnTo>
                  <a:lnTo>
                    <a:pt x="185709" y="748048"/>
                  </a:lnTo>
                  <a:close/>
                  <a:moveTo>
                    <a:pt x="1192454" y="709250"/>
                  </a:moveTo>
                  <a:lnTo>
                    <a:pt x="1172184" y="748020"/>
                  </a:lnTo>
                  <a:lnTo>
                    <a:pt x="1172211" y="748020"/>
                  </a:lnTo>
                  <a:lnTo>
                    <a:pt x="1192730" y="748020"/>
                  </a:lnTo>
                  <a:close/>
                  <a:moveTo>
                    <a:pt x="486383" y="709250"/>
                  </a:moveTo>
                  <a:lnTo>
                    <a:pt x="486106" y="748020"/>
                  </a:lnTo>
                  <a:lnTo>
                    <a:pt x="486134" y="748020"/>
                  </a:lnTo>
                  <a:lnTo>
                    <a:pt x="506653" y="748020"/>
                  </a:lnTo>
                  <a:close/>
                  <a:moveTo>
                    <a:pt x="424633" y="709250"/>
                  </a:moveTo>
                  <a:lnTo>
                    <a:pt x="404363" y="748020"/>
                  </a:lnTo>
                  <a:lnTo>
                    <a:pt x="404391" y="748020"/>
                  </a:lnTo>
                  <a:lnTo>
                    <a:pt x="424910" y="748020"/>
                  </a:lnTo>
                  <a:close/>
                  <a:moveTo>
                    <a:pt x="843193" y="707564"/>
                  </a:moveTo>
                  <a:lnTo>
                    <a:pt x="843193" y="748048"/>
                  </a:lnTo>
                  <a:lnTo>
                    <a:pt x="843469" y="748048"/>
                  </a:lnTo>
                  <a:lnTo>
                    <a:pt x="865896" y="717685"/>
                  </a:lnTo>
                  <a:close/>
                  <a:moveTo>
                    <a:pt x="835643" y="707564"/>
                  </a:moveTo>
                  <a:lnTo>
                    <a:pt x="812940" y="717685"/>
                  </a:lnTo>
                  <a:lnTo>
                    <a:pt x="835339" y="748048"/>
                  </a:lnTo>
                  <a:lnTo>
                    <a:pt x="835643" y="748048"/>
                  </a:lnTo>
                  <a:close/>
                  <a:moveTo>
                    <a:pt x="75372" y="707564"/>
                  </a:moveTo>
                  <a:lnTo>
                    <a:pt x="75372" y="748048"/>
                  </a:lnTo>
                  <a:lnTo>
                    <a:pt x="75649" y="748048"/>
                  </a:lnTo>
                  <a:lnTo>
                    <a:pt x="98076" y="717685"/>
                  </a:lnTo>
                  <a:close/>
                  <a:moveTo>
                    <a:pt x="67851" y="707564"/>
                  </a:moveTo>
                  <a:lnTo>
                    <a:pt x="45147" y="717685"/>
                  </a:lnTo>
                  <a:lnTo>
                    <a:pt x="67547" y="748048"/>
                  </a:lnTo>
                  <a:lnTo>
                    <a:pt x="67851" y="748048"/>
                  </a:lnTo>
                  <a:close/>
                  <a:moveTo>
                    <a:pt x="543017" y="706872"/>
                  </a:moveTo>
                  <a:lnTo>
                    <a:pt x="543017" y="748020"/>
                  </a:lnTo>
                  <a:lnTo>
                    <a:pt x="565858" y="748020"/>
                  </a:lnTo>
                  <a:close/>
                  <a:moveTo>
                    <a:pt x="1135820" y="706845"/>
                  </a:moveTo>
                  <a:lnTo>
                    <a:pt x="1112978" y="747993"/>
                  </a:lnTo>
                  <a:lnTo>
                    <a:pt x="1135820" y="747993"/>
                  </a:lnTo>
                  <a:close/>
                  <a:moveTo>
                    <a:pt x="367999" y="706845"/>
                  </a:moveTo>
                  <a:lnTo>
                    <a:pt x="345158" y="747993"/>
                  </a:lnTo>
                  <a:lnTo>
                    <a:pt x="367999" y="747993"/>
                  </a:lnTo>
                  <a:close/>
                  <a:moveTo>
                    <a:pt x="1194666" y="706070"/>
                  </a:moveTo>
                  <a:lnTo>
                    <a:pt x="1194970" y="748020"/>
                  </a:lnTo>
                  <a:lnTo>
                    <a:pt x="1215516" y="748020"/>
                  </a:lnTo>
                  <a:close/>
                  <a:moveTo>
                    <a:pt x="484143" y="706070"/>
                  </a:moveTo>
                  <a:lnTo>
                    <a:pt x="463292" y="748020"/>
                  </a:lnTo>
                  <a:lnTo>
                    <a:pt x="483839" y="748020"/>
                  </a:lnTo>
                  <a:close/>
                  <a:moveTo>
                    <a:pt x="426873" y="706070"/>
                  </a:moveTo>
                  <a:lnTo>
                    <a:pt x="427150" y="748020"/>
                  </a:lnTo>
                  <a:lnTo>
                    <a:pt x="427177" y="748020"/>
                  </a:lnTo>
                  <a:lnTo>
                    <a:pt x="447724" y="748020"/>
                  </a:lnTo>
                  <a:close/>
                  <a:moveTo>
                    <a:pt x="601531" y="705932"/>
                  </a:moveTo>
                  <a:lnTo>
                    <a:pt x="601807" y="748048"/>
                  </a:lnTo>
                  <a:lnTo>
                    <a:pt x="623709" y="748048"/>
                  </a:lnTo>
                  <a:close/>
                  <a:moveTo>
                    <a:pt x="1077278" y="705904"/>
                  </a:moveTo>
                  <a:lnTo>
                    <a:pt x="1055100" y="748020"/>
                  </a:lnTo>
                  <a:lnTo>
                    <a:pt x="1077001" y="748020"/>
                  </a:lnTo>
                  <a:close/>
                  <a:moveTo>
                    <a:pt x="309485" y="705904"/>
                  </a:moveTo>
                  <a:lnTo>
                    <a:pt x="287307" y="748020"/>
                  </a:lnTo>
                  <a:lnTo>
                    <a:pt x="309208" y="748020"/>
                  </a:lnTo>
                  <a:close/>
                  <a:moveTo>
                    <a:pt x="540749" y="705407"/>
                  </a:moveTo>
                  <a:lnTo>
                    <a:pt x="516635" y="748020"/>
                  </a:lnTo>
                  <a:lnTo>
                    <a:pt x="540749" y="748020"/>
                  </a:lnTo>
                  <a:close/>
                  <a:moveTo>
                    <a:pt x="1138087" y="705379"/>
                  </a:moveTo>
                  <a:lnTo>
                    <a:pt x="1138087" y="747993"/>
                  </a:lnTo>
                  <a:lnTo>
                    <a:pt x="1162201" y="747993"/>
                  </a:lnTo>
                  <a:close/>
                  <a:moveTo>
                    <a:pt x="370267" y="705379"/>
                  </a:moveTo>
                  <a:lnTo>
                    <a:pt x="370267" y="747993"/>
                  </a:lnTo>
                  <a:lnTo>
                    <a:pt x="394353" y="747993"/>
                  </a:lnTo>
                  <a:close/>
                  <a:moveTo>
                    <a:pt x="630871" y="704854"/>
                  </a:moveTo>
                  <a:lnTo>
                    <a:pt x="630871" y="748048"/>
                  </a:lnTo>
                  <a:lnTo>
                    <a:pt x="654183" y="748048"/>
                  </a:lnTo>
                  <a:close/>
                  <a:moveTo>
                    <a:pt x="1047938" y="704826"/>
                  </a:moveTo>
                  <a:lnTo>
                    <a:pt x="1024626" y="748020"/>
                  </a:lnTo>
                  <a:lnTo>
                    <a:pt x="1047938" y="748020"/>
                  </a:lnTo>
                  <a:close/>
                  <a:moveTo>
                    <a:pt x="280117" y="704826"/>
                  </a:moveTo>
                  <a:lnTo>
                    <a:pt x="256805" y="748020"/>
                  </a:lnTo>
                  <a:lnTo>
                    <a:pt x="280117" y="748020"/>
                  </a:lnTo>
                  <a:close/>
                  <a:moveTo>
                    <a:pt x="599236" y="703554"/>
                  </a:moveTo>
                  <a:lnTo>
                    <a:pt x="575813" y="748048"/>
                  </a:lnTo>
                  <a:lnTo>
                    <a:pt x="599540" y="748048"/>
                  </a:lnTo>
                  <a:close/>
                  <a:moveTo>
                    <a:pt x="1079573" y="703526"/>
                  </a:moveTo>
                  <a:lnTo>
                    <a:pt x="1079269" y="748020"/>
                  </a:lnTo>
                  <a:lnTo>
                    <a:pt x="1102995" y="748020"/>
                  </a:lnTo>
                  <a:close/>
                  <a:moveTo>
                    <a:pt x="311780" y="703526"/>
                  </a:moveTo>
                  <a:lnTo>
                    <a:pt x="311476" y="748020"/>
                  </a:lnTo>
                  <a:lnTo>
                    <a:pt x="335202" y="748020"/>
                  </a:lnTo>
                  <a:close/>
                  <a:moveTo>
                    <a:pt x="511298" y="700318"/>
                  </a:moveTo>
                  <a:cubicBezTo>
                    <a:pt x="503362" y="700401"/>
                    <a:pt x="495259" y="700429"/>
                    <a:pt x="486964" y="700429"/>
                  </a:cubicBezTo>
                  <a:lnTo>
                    <a:pt x="510386" y="745200"/>
                  </a:lnTo>
                  <a:lnTo>
                    <a:pt x="510386" y="745227"/>
                  </a:lnTo>
                  <a:close/>
                  <a:moveTo>
                    <a:pt x="399690" y="700291"/>
                  </a:moveTo>
                  <a:lnTo>
                    <a:pt x="400630" y="745172"/>
                  </a:lnTo>
                  <a:lnTo>
                    <a:pt x="424025" y="700401"/>
                  </a:lnTo>
                  <a:close/>
                  <a:moveTo>
                    <a:pt x="1167538" y="700263"/>
                  </a:moveTo>
                  <a:lnTo>
                    <a:pt x="1167510" y="700291"/>
                  </a:lnTo>
                  <a:lnTo>
                    <a:pt x="1167538" y="700291"/>
                  </a:lnTo>
                  <a:lnTo>
                    <a:pt x="1168451" y="745172"/>
                  </a:lnTo>
                  <a:lnTo>
                    <a:pt x="1191845" y="700401"/>
                  </a:lnTo>
                  <a:lnTo>
                    <a:pt x="1167538" y="700291"/>
                  </a:lnTo>
                  <a:close/>
                  <a:moveTo>
                    <a:pt x="457789" y="700263"/>
                  </a:moveTo>
                  <a:lnTo>
                    <a:pt x="457789" y="748020"/>
                  </a:lnTo>
                  <a:lnTo>
                    <a:pt x="458149" y="748020"/>
                  </a:lnTo>
                  <a:lnTo>
                    <a:pt x="481792" y="700401"/>
                  </a:lnTo>
                  <a:cubicBezTo>
                    <a:pt x="473911" y="700401"/>
                    <a:pt x="465864" y="700346"/>
                    <a:pt x="457789" y="700263"/>
                  </a:cubicBezTo>
                  <a:close/>
                  <a:moveTo>
                    <a:pt x="453199" y="700263"/>
                  </a:moveTo>
                  <a:cubicBezTo>
                    <a:pt x="445124" y="700346"/>
                    <a:pt x="437077" y="700401"/>
                    <a:pt x="429196" y="700401"/>
                  </a:cubicBezTo>
                  <a:lnTo>
                    <a:pt x="452839" y="748020"/>
                  </a:lnTo>
                  <a:lnTo>
                    <a:pt x="453199" y="748020"/>
                  </a:lnTo>
                  <a:close/>
                  <a:moveTo>
                    <a:pt x="1140272" y="699848"/>
                  </a:moveTo>
                  <a:lnTo>
                    <a:pt x="1166183" y="745670"/>
                  </a:lnTo>
                  <a:lnTo>
                    <a:pt x="1165243" y="700263"/>
                  </a:lnTo>
                  <a:cubicBezTo>
                    <a:pt x="1156725" y="700152"/>
                    <a:pt x="1148402" y="700042"/>
                    <a:pt x="1140272" y="699848"/>
                  </a:cubicBezTo>
                  <a:close/>
                  <a:moveTo>
                    <a:pt x="538537" y="699848"/>
                  </a:moveTo>
                  <a:cubicBezTo>
                    <a:pt x="530434" y="700042"/>
                    <a:pt x="522111" y="700180"/>
                    <a:pt x="513566" y="700263"/>
                  </a:cubicBezTo>
                  <a:lnTo>
                    <a:pt x="512626" y="745670"/>
                  </a:lnTo>
                  <a:close/>
                  <a:moveTo>
                    <a:pt x="372424" y="699848"/>
                  </a:moveTo>
                  <a:lnTo>
                    <a:pt x="398363" y="745670"/>
                  </a:lnTo>
                  <a:lnTo>
                    <a:pt x="397422" y="700263"/>
                  </a:lnTo>
                  <a:cubicBezTo>
                    <a:pt x="388905" y="700152"/>
                    <a:pt x="380581" y="700042"/>
                    <a:pt x="372451" y="699848"/>
                  </a:cubicBezTo>
                  <a:close/>
                  <a:moveTo>
                    <a:pt x="570504" y="698936"/>
                  </a:moveTo>
                  <a:cubicBezTo>
                    <a:pt x="562042" y="699240"/>
                    <a:pt x="553331" y="699516"/>
                    <a:pt x="544344" y="699738"/>
                  </a:cubicBezTo>
                  <a:lnTo>
                    <a:pt x="570172" y="746256"/>
                  </a:lnTo>
                  <a:lnTo>
                    <a:pt x="570172" y="746306"/>
                  </a:lnTo>
                  <a:lnTo>
                    <a:pt x="570200" y="746306"/>
                  </a:lnTo>
                  <a:lnTo>
                    <a:pt x="570172" y="746256"/>
                  </a:lnTo>
                  <a:close/>
                  <a:moveTo>
                    <a:pt x="1108305" y="698908"/>
                  </a:moveTo>
                  <a:lnTo>
                    <a:pt x="1108637" y="746278"/>
                  </a:lnTo>
                  <a:lnTo>
                    <a:pt x="1134465" y="699710"/>
                  </a:lnTo>
                  <a:cubicBezTo>
                    <a:pt x="1125477" y="699489"/>
                    <a:pt x="1116767" y="699212"/>
                    <a:pt x="1108305" y="698908"/>
                  </a:cubicBezTo>
                  <a:close/>
                  <a:moveTo>
                    <a:pt x="340484" y="698908"/>
                  </a:moveTo>
                  <a:lnTo>
                    <a:pt x="340816" y="746278"/>
                  </a:lnTo>
                  <a:lnTo>
                    <a:pt x="366644" y="699710"/>
                  </a:lnTo>
                  <a:cubicBezTo>
                    <a:pt x="357685" y="699489"/>
                    <a:pt x="348946" y="699212"/>
                    <a:pt x="340484" y="698908"/>
                  </a:cubicBezTo>
                  <a:close/>
                  <a:moveTo>
                    <a:pt x="989783" y="698272"/>
                  </a:moveTo>
                  <a:lnTo>
                    <a:pt x="964508" y="748048"/>
                  </a:lnTo>
                  <a:lnTo>
                    <a:pt x="989202" y="748048"/>
                  </a:lnTo>
                  <a:close/>
                  <a:moveTo>
                    <a:pt x="689054" y="698272"/>
                  </a:moveTo>
                  <a:lnTo>
                    <a:pt x="689634" y="748048"/>
                  </a:lnTo>
                  <a:lnTo>
                    <a:pt x="714329" y="748048"/>
                  </a:lnTo>
                  <a:close/>
                  <a:moveTo>
                    <a:pt x="221962" y="698272"/>
                  </a:moveTo>
                  <a:lnTo>
                    <a:pt x="196687" y="748048"/>
                  </a:lnTo>
                  <a:lnTo>
                    <a:pt x="221354" y="748048"/>
                  </a:lnTo>
                  <a:close/>
                  <a:moveTo>
                    <a:pt x="597079" y="697747"/>
                  </a:moveTo>
                  <a:cubicBezTo>
                    <a:pt x="589253" y="698161"/>
                    <a:pt x="581150" y="698521"/>
                    <a:pt x="572799" y="698853"/>
                  </a:cubicBezTo>
                  <a:lnTo>
                    <a:pt x="572495" y="744453"/>
                  </a:lnTo>
                  <a:close/>
                  <a:moveTo>
                    <a:pt x="1081757" y="697719"/>
                  </a:moveTo>
                  <a:lnTo>
                    <a:pt x="1106341" y="744425"/>
                  </a:lnTo>
                  <a:lnTo>
                    <a:pt x="1106037" y="698825"/>
                  </a:lnTo>
                  <a:cubicBezTo>
                    <a:pt x="1097686" y="698493"/>
                    <a:pt x="1089583" y="698134"/>
                    <a:pt x="1081757" y="697719"/>
                  </a:cubicBezTo>
                  <a:close/>
                  <a:moveTo>
                    <a:pt x="313937" y="697719"/>
                  </a:moveTo>
                  <a:lnTo>
                    <a:pt x="338549" y="744425"/>
                  </a:lnTo>
                  <a:lnTo>
                    <a:pt x="338217" y="698825"/>
                  </a:lnTo>
                  <a:cubicBezTo>
                    <a:pt x="329865" y="698493"/>
                    <a:pt x="321791" y="698134"/>
                    <a:pt x="313937" y="697719"/>
                  </a:cubicBezTo>
                  <a:close/>
                  <a:moveTo>
                    <a:pt x="992050" y="697276"/>
                  </a:moveTo>
                  <a:lnTo>
                    <a:pt x="991442" y="748048"/>
                  </a:lnTo>
                  <a:lnTo>
                    <a:pt x="1015168" y="748048"/>
                  </a:lnTo>
                  <a:close/>
                  <a:moveTo>
                    <a:pt x="686758" y="697276"/>
                  </a:moveTo>
                  <a:lnTo>
                    <a:pt x="663668" y="748048"/>
                  </a:lnTo>
                  <a:lnTo>
                    <a:pt x="687367" y="748048"/>
                  </a:lnTo>
                  <a:close/>
                  <a:moveTo>
                    <a:pt x="224258" y="697276"/>
                  </a:moveTo>
                  <a:lnTo>
                    <a:pt x="223649" y="748048"/>
                  </a:lnTo>
                  <a:lnTo>
                    <a:pt x="223677" y="748048"/>
                  </a:lnTo>
                  <a:lnTo>
                    <a:pt x="247376" y="748048"/>
                  </a:lnTo>
                  <a:close/>
                  <a:moveTo>
                    <a:pt x="626364" y="695949"/>
                  </a:moveTo>
                  <a:cubicBezTo>
                    <a:pt x="618621" y="696502"/>
                    <a:pt x="610601" y="697000"/>
                    <a:pt x="602305" y="697470"/>
                  </a:cubicBezTo>
                  <a:lnTo>
                    <a:pt x="626364" y="743126"/>
                  </a:lnTo>
                  <a:close/>
                  <a:moveTo>
                    <a:pt x="1052473" y="695922"/>
                  </a:moveTo>
                  <a:lnTo>
                    <a:pt x="1052473" y="743098"/>
                  </a:lnTo>
                  <a:lnTo>
                    <a:pt x="1076531" y="697442"/>
                  </a:lnTo>
                  <a:cubicBezTo>
                    <a:pt x="1068235" y="696972"/>
                    <a:pt x="1060216" y="696475"/>
                    <a:pt x="1052473" y="695922"/>
                  </a:cubicBezTo>
                  <a:close/>
                  <a:moveTo>
                    <a:pt x="284652" y="695922"/>
                  </a:moveTo>
                  <a:lnTo>
                    <a:pt x="284652" y="743098"/>
                  </a:lnTo>
                  <a:lnTo>
                    <a:pt x="308711" y="697442"/>
                  </a:lnTo>
                  <a:cubicBezTo>
                    <a:pt x="300415" y="696972"/>
                    <a:pt x="292395" y="696475"/>
                    <a:pt x="284652" y="695922"/>
                  </a:cubicBezTo>
                  <a:close/>
                  <a:moveTo>
                    <a:pt x="658801" y="693239"/>
                  </a:moveTo>
                  <a:cubicBezTo>
                    <a:pt x="649979" y="694096"/>
                    <a:pt x="640771" y="694871"/>
                    <a:pt x="631120" y="695590"/>
                  </a:cubicBezTo>
                  <a:lnTo>
                    <a:pt x="658441" y="746195"/>
                  </a:lnTo>
                  <a:close/>
                  <a:moveTo>
                    <a:pt x="1020008" y="693211"/>
                  </a:moveTo>
                  <a:lnTo>
                    <a:pt x="1020367" y="746167"/>
                  </a:lnTo>
                  <a:lnTo>
                    <a:pt x="1047689" y="695562"/>
                  </a:lnTo>
                  <a:cubicBezTo>
                    <a:pt x="1038038" y="694843"/>
                    <a:pt x="1028829" y="694069"/>
                    <a:pt x="1020008" y="693211"/>
                  </a:cubicBezTo>
                  <a:close/>
                  <a:moveTo>
                    <a:pt x="252187" y="693211"/>
                  </a:moveTo>
                  <a:lnTo>
                    <a:pt x="252215" y="693214"/>
                  </a:lnTo>
                  <a:lnTo>
                    <a:pt x="252574" y="746167"/>
                  </a:lnTo>
                  <a:lnTo>
                    <a:pt x="279868" y="695562"/>
                  </a:lnTo>
                  <a:lnTo>
                    <a:pt x="252215" y="693214"/>
                  </a:lnTo>
                  <a:lnTo>
                    <a:pt x="252215" y="693211"/>
                  </a:lnTo>
                  <a:close/>
                  <a:moveTo>
                    <a:pt x="684795" y="690446"/>
                  </a:moveTo>
                  <a:cubicBezTo>
                    <a:pt x="676914" y="691386"/>
                    <a:pt x="668618" y="692271"/>
                    <a:pt x="659935" y="693128"/>
                  </a:cubicBezTo>
                  <a:lnTo>
                    <a:pt x="659907" y="693156"/>
                  </a:lnTo>
                  <a:lnTo>
                    <a:pt x="661041" y="693156"/>
                  </a:lnTo>
                  <a:lnTo>
                    <a:pt x="660709" y="743402"/>
                  </a:lnTo>
                  <a:close/>
                  <a:moveTo>
                    <a:pt x="993986" y="690418"/>
                  </a:moveTo>
                  <a:lnTo>
                    <a:pt x="1018044" y="743313"/>
                  </a:lnTo>
                  <a:lnTo>
                    <a:pt x="1018044" y="743347"/>
                  </a:lnTo>
                  <a:lnTo>
                    <a:pt x="1018072" y="743375"/>
                  </a:lnTo>
                  <a:lnTo>
                    <a:pt x="1018044" y="743313"/>
                  </a:lnTo>
                  <a:lnTo>
                    <a:pt x="1017992" y="735496"/>
                  </a:lnTo>
                  <a:cubicBezTo>
                    <a:pt x="1017899" y="721364"/>
                    <a:pt x="1017713" y="693101"/>
                    <a:pt x="1017713" y="693101"/>
                  </a:cubicBezTo>
                  <a:lnTo>
                    <a:pt x="1018846" y="693101"/>
                  </a:lnTo>
                  <a:cubicBezTo>
                    <a:pt x="1010163" y="692271"/>
                    <a:pt x="1001895" y="691359"/>
                    <a:pt x="993986" y="690418"/>
                  </a:cubicBezTo>
                  <a:close/>
                  <a:moveTo>
                    <a:pt x="226193" y="690418"/>
                  </a:moveTo>
                  <a:lnTo>
                    <a:pt x="250279" y="743375"/>
                  </a:lnTo>
                  <a:lnTo>
                    <a:pt x="250279" y="743347"/>
                  </a:lnTo>
                  <a:cubicBezTo>
                    <a:pt x="250279" y="743347"/>
                    <a:pt x="249947" y="693101"/>
                    <a:pt x="249947" y="693101"/>
                  </a:cubicBezTo>
                  <a:lnTo>
                    <a:pt x="251081" y="693101"/>
                  </a:lnTo>
                  <a:cubicBezTo>
                    <a:pt x="242398" y="692271"/>
                    <a:pt x="234102" y="691359"/>
                    <a:pt x="226193" y="690418"/>
                  </a:cubicBezTo>
                  <a:close/>
                  <a:moveTo>
                    <a:pt x="960747" y="685856"/>
                  </a:moveTo>
                  <a:lnTo>
                    <a:pt x="960830" y="745089"/>
                  </a:lnTo>
                  <a:lnTo>
                    <a:pt x="988898" y="689810"/>
                  </a:lnTo>
                  <a:cubicBezTo>
                    <a:pt x="978887" y="688566"/>
                    <a:pt x="969541" y="687238"/>
                    <a:pt x="960747" y="685856"/>
                  </a:cubicBezTo>
                  <a:close/>
                  <a:moveTo>
                    <a:pt x="718089" y="685856"/>
                  </a:moveTo>
                  <a:cubicBezTo>
                    <a:pt x="709323" y="687238"/>
                    <a:pt x="699949" y="688566"/>
                    <a:pt x="689938" y="689810"/>
                  </a:cubicBezTo>
                  <a:lnTo>
                    <a:pt x="718007" y="745089"/>
                  </a:lnTo>
                  <a:close/>
                  <a:moveTo>
                    <a:pt x="192926" y="685856"/>
                  </a:moveTo>
                  <a:lnTo>
                    <a:pt x="193009" y="745089"/>
                  </a:lnTo>
                  <a:lnTo>
                    <a:pt x="221077" y="689810"/>
                  </a:lnTo>
                  <a:cubicBezTo>
                    <a:pt x="211067" y="688566"/>
                    <a:pt x="201720" y="687238"/>
                    <a:pt x="192926" y="685856"/>
                  </a:cubicBezTo>
                  <a:close/>
                  <a:moveTo>
                    <a:pt x="752711" y="679551"/>
                  </a:moveTo>
                  <a:cubicBezTo>
                    <a:pt x="742646" y="681680"/>
                    <a:pt x="731529" y="683754"/>
                    <a:pt x="719223" y="685690"/>
                  </a:cubicBezTo>
                  <a:lnTo>
                    <a:pt x="720357" y="685690"/>
                  </a:lnTo>
                  <a:lnTo>
                    <a:pt x="720274" y="746942"/>
                  </a:lnTo>
                  <a:lnTo>
                    <a:pt x="752960" y="702918"/>
                  </a:lnTo>
                  <a:close/>
                  <a:moveTo>
                    <a:pt x="926097" y="679523"/>
                  </a:moveTo>
                  <a:lnTo>
                    <a:pt x="925876" y="702890"/>
                  </a:lnTo>
                  <a:lnTo>
                    <a:pt x="958535" y="746878"/>
                  </a:lnTo>
                  <a:lnTo>
                    <a:pt x="958535" y="746914"/>
                  </a:lnTo>
                  <a:lnTo>
                    <a:pt x="958562" y="746914"/>
                  </a:lnTo>
                  <a:lnTo>
                    <a:pt x="958535" y="746878"/>
                  </a:lnTo>
                  <a:lnTo>
                    <a:pt x="958452" y="685662"/>
                  </a:lnTo>
                  <a:lnTo>
                    <a:pt x="959585" y="685662"/>
                  </a:lnTo>
                  <a:cubicBezTo>
                    <a:pt x="947307" y="683699"/>
                    <a:pt x="936163" y="681652"/>
                    <a:pt x="926097" y="679523"/>
                  </a:cubicBezTo>
                  <a:close/>
                  <a:moveTo>
                    <a:pt x="158305" y="679523"/>
                  </a:moveTo>
                  <a:lnTo>
                    <a:pt x="158056" y="702890"/>
                  </a:lnTo>
                  <a:lnTo>
                    <a:pt x="190714" y="746876"/>
                  </a:lnTo>
                  <a:lnTo>
                    <a:pt x="190714" y="746914"/>
                  </a:lnTo>
                  <a:lnTo>
                    <a:pt x="190742" y="746914"/>
                  </a:lnTo>
                  <a:lnTo>
                    <a:pt x="190714" y="746876"/>
                  </a:lnTo>
                  <a:lnTo>
                    <a:pt x="190631" y="685662"/>
                  </a:lnTo>
                  <a:lnTo>
                    <a:pt x="191793" y="685662"/>
                  </a:lnTo>
                  <a:cubicBezTo>
                    <a:pt x="179487" y="683699"/>
                    <a:pt x="168370" y="681652"/>
                    <a:pt x="158305" y="679523"/>
                  </a:cubicBezTo>
                  <a:close/>
                  <a:moveTo>
                    <a:pt x="900159" y="679191"/>
                  </a:moveTo>
                  <a:lnTo>
                    <a:pt x="871040" y="718625"/>
                  </a:lnTo>
                  <a:lnTo>
                    <a:pt x="871952" y="717906"/>
                  </a:lnTo>
                  <a:lnTo>
                    <a:pt x="891254" y="748048"/>
                  </a:lnTo>
                  <a:lnTo>
                    <a:pt x="899052" y="748048"/>
                  </a:lnTo>
                  <a:lnTo>
                    <a:pt x="899080" y="748048"/>
                  </a:lnTo>
                  <a:close/>
                  <a:moveTo>
                    <a:pt x="778733" y="679191"/>
                  </a:moveTo>
                  <a:lnTo>
                    <a:pt x="779784" y="748048"/>
                  </a:lnTo>
                  <a:lnTo>
                    <a:pt x="779812" y="748048"/>
                  </a:lnTo>
                  <a:lnTo>
                    <a:pt x="787610" y="748048"/>
                  </a:lnTo>
                  <a:lnTo>
                    <a:pt x="806939" y="717906"/>
                  </a:lnTo>
                  <a:lnTo>
                    <a:pt x="807852" y="718625"/>
                  </a:lnTo>
                  <a:close/>
                  <a:moveTo>
                    <a:pt x="132338" y="679191"/>
                  </a:moveTo>
                  <a:lnTo>
                    <a:pt x="103247" y="718625"/>
                  </a:lnTo>
                  <a:lnTo>
                    <a:pt x="104159" y="717906"/>
                  </a:lnTo>
                  <a:lnTo>
                    <a:pt x="123461" y="748048"/>
                  </a:lnTo>
                  <a:lnTo>
                    <a:pt x="131260" y="748048"/>
                  </a:lnTo>
                  <a:lnTo>
                    <a:pt x="131287" y="748048"/>
                  </a:lnTo>
                  <a:close/>
                  <a:moveTo>
                    <a:pt x="10913" y="679191"/>
                  </a:moveTo>
                  <a:lnTo>
                    <a:pt x="11991" y="748048"/>
                  </a:lnTo>
                  <a:lnTo>
                    <a:pt x="12019" y="748048"/>
                  </a:lnTo>
                  <a:lnTo>
                    <a:pt x="19817" y="748048"/>
                  </a:lnTo>
                  <a:lnTo>
                    <a:pt x="39119" y="717906"/>
                  </a:lnTo>
                  <a:lnTo>
                    <a:pt x="40032" y="718625"/>
                  </a:lnTo>
                  <a:close/>
                  <a:moveTo>
                    <a:pt x="776493" y="679136"/>
                  </a:moveTo>
                  <a:lnTo>
                    <a:pt x="755283" y="707674"/>
                  </a:lnTo>
                  <a:lnTo>
                    <a:pt x="755670" y="748048"/>
                  </a:lnTo>
                  <a:lnTo>
                    <a:pt x="755670" y="748076"/>
                  </a:lnTo>
                  <a:lnTo>
                    <a:pt x="777544" y="748076"/>
                  </a:lnTo>
                  <a:close/>
                  <a:moveTo>
                    <a:pt x="902371" y="679108"/>
                  </a:moveTo>
                  <a:lnTo>
                    <a:pt x="901320" y="748048"/>
                  </a:lnTo>
                  <a:lnTo>
                    <a:pt x="923166" y="748048"/>
                  </a:lnTo>
                  <a:lnTo>
                    <a:pt x="923166" y="748020"/>
                  </a:lnTo>
                  <a:lnTo>
                    <a:pt x="923553" y="707646"/>
                  </a:lnTo>
                  <a:close/>
                  <a:moveTo>
                    <a:pt x="134578" y="679108"/>
                  </a:moveTo>
                  <a:lnTo>
                    <a:pt x="133527" y="748048"/>
                  </a:lnTo>
                  <a:lnTo>
                    <a:pt x="155373" y="748048"/>
                  </a:lnTo>
                  <a:lnTo>
                    <a:pt x="155373" y="748020"/>
                  </a:lnTo>
                  <a:lnTo>
                    <a:pt x="155788" y="707646"/>
                  </a:lnTo>
                  <a:close/>
                  <a:moveTo>
                    <a:pt x="904860" y="674628"/>
                  </a:moveTo>
                  <a:lnTo>
                    <a:pt x="923636" y="699904"/>
                  </a:lnTo>
                  <a:lnTo>
                    <a:pt x="923636" y="699931"/>
                  </a:lnTo>
                  <a:lnTo>
                    <a:pt x="923830" y="679081"/>
                  </a:lnTo>
                  <a:cubicBezTo>
                    <a:pt x="917027" y="677615"/>
                    <a:pt x="910694" y="676122"/>
                    <a:pt x="904860" y="674628"/>
                  </a:cubicBezTo>
                  <a:close/>
                  <a:moveTo>
                    <a:pt x="137067" y="674628"/>
                  </a:moveTo>
                  <a:lnTo>
                    <a:pt x="155843" y="699904"/>
                  </a:lnTo>
                  <a:lnTo>
                    <a:pt x="155843" y="699931"/>
                  </a:lnTo>
                  <a:lnTo>
                    <a:pt x="156037" y="679081"/>
                  </a:lnTo>
                  <a:cubicBezTo>
                    <a:pt x="149234" y="677615"/>
                    <a:pt x="142902" y="676122"/>
                    <a:pt x="137067" y="674628"/>
                  </a:cubicBezTo>
                  <a:close/>
                  <a:moveTo>
                    <a:pt x="773949" y="674601"/>
                  </a:moveTo>
                  <a:lnTo>
                    <a:pt x="754979" y="679053"/>
                  </a:lnTo>
                  <a:lnTo>
                    <a:pt x="755173" y="699876"/>
                  </a:lnTo>
                  <a:close/>
                  <a:moveTo>
                    <a:pt x="870293" y="663927"/>
                  </a:moveTo>
                  <a:lnTo>
                    <a:pt x="869325" y="713066"/>
                  </a:lnTo>
                  <a:lnTo>
                    <a:pt x="898859" y="673052"/>
                  </a:lnTo>
                  <a:cubicBezTo>
                    <a:pt x="887521" y="669955"/>
                    <a:pt x="878091" y="666858"/>
                    <a:pt x="870293" y="663927"/>
                  </a:cubicBezTo>
                  <a:close/>
                  <a:moveTo>
                    <a:pt x="102473" y="663927"/>
                  </a:moveTo>
                  <a:lnTo>
                    <a:pt x="101505" y="713066"/>
                  </a:lnTo>
                  <a:lnTo>
                    <a:pt x="131038" y="673052"/>
                  </a:lnTo>
                  <a:cubicBezTo>
                    <a:pt x="119701" y="669955"/>
                    <a:pt x="110271" y="666858"/>
                    <a:pt x="102473" y="663927"/>
                  </a:cubicBezTo>
                  <a:close/>
                  <a:moveTo>
                    <a:pt x="808543" y="663899"/>
                  </a:moveTo>
                  <a:cubicBezTo>
                    <a:pt x="800745" y="666858"/>
                    <a:pt x="791315" y="669927"/>
                    <a:pt x="779978" y="673025"/>
                  </a:cubicBezTo>
                  <a:lnTo>
                    <a:pt x="809511" y="713039"/>
                  </a:lnTo>
                  <a:close/>
                  <a:moveTo>
                    <a:pt x="40723" y="663899"/>
                  </a:moveTo>
                  <a:cubicBezTo>
                    <a:pt x="32925" y="666858"/>
                    <a:pt x="23495" y="669927"/>
                    <a:pt x="12157" y="673025"/>
                  </a:cubicBezTo>
                  <a:lnTo>
                    <a:pt x="41691" y="713039"/>
                  </a:lnTo>
                  <a:close/>
                  <a:moveTo>
                    <a:pt x="843193" y="650957"/>
                  </a:moveTo>
                  <a:lnTo>
                    <a:pt x="843193" y="704881"/>
                  </a:lnTo>
                  <a:lnTo>
                    <a:pt x="867002" y="715500"/>
                  </a:lnTo>
                  <a:lnTo>
                    <a:pt x="868025" y="663042"/>
                  </a:lnTo>
                  <a:cubicBezTo>
                    <a:pt x="856107" y="658396"/>
                    <a:pt x="848226" y="654165"/>
                    <a:pt x="843193" y="650957"/>
                  </a:cubicBezTo>
                  <a:close/>
                  <a:moveTo>
                    <a:pt x="835643" y="650957"/>
                  </a:moveTo>
                  <a:cubicBezTo>
                    <a:pt x="830638" y="654165"/>
                    <a:pt x="822757" y="658396"/>
                    <a:pt x="810811" y="663042"/>
                  </a:cubicBezTo>
                  <a:lnTo>
                    <a:pt x="811834" y="715500"/>
                  </a:lnTo>
                  <a:lnTo>
                    <a:pt x="835643" y="704881"/>
                  </a:lnTo>
                  <a:close/>
                  <a:moveTo>
                    <a:pt x="75400" y="650957"/>
                  </a:moveTo>
                  <a:lnTo>
                    <a:pt x="75400" y="704881"/>
                  </a:lnTo>
                  <a:lnTo>
                    <a:pt x="99210" y="715500"/>
                  </a:lnTo>
                  <a:lnTo>
                    <a:pt x="100233" y="663042"/>
                  </a:lnTo>
                  <a:cubicBezTo>
                    <a:pt x="88314" y="658396"/>
                    <a:pt x="80433" y="654165"/>
                    <a:pt x="75400" y="650957"/>
                  </a:cubicBezTo>
                  <a:close/>
                  <a:moveTo>
                    <a:pt x="67878" y="650957"/>
                  </a:moveTo>
                  <a:cubicBezTo>
                    <a:pt x="62845" y="654165"/>
                    <a:pt x="54964" y="658396"/>
                    <a:pt x="43018" y="663042"/>
                  </a:cubicBezTo>
                  <a:lnTo>
                    <a:pt x="44041" y="715500"/>
                  </a:lnTo>
                  <a:lnTo>
                    <a:pt x="67851" y="704881"/>
                  </a:lnTo>
                  <a:lnTo>
                    <a:pt x="67878" y="704881"/>
                  </a:lnTo>
                  <a:close/>
                  <a:moveTo>
                    <a:pt x="2635484" y="605412"/>
                  </a:moveTo>
                  <a:lnTo>
                    <a:pt x="2633161" y="613625"/>
                  </a:lnTo>
                  <a:lnTo>
                    <a:pt x="2637779" y="613625"/>
                  </a:lnTo>
                  <a:close/>
                  <a:moveTo>
                    <a:pt x="2668087" y="604472"/>
                  </a:moveTo>
                  <a:lnTo>
                    <a:pt x="2665073" y="613625"/>
                  </a:lnTo>
                  <a:lnTo>
                    <a:pt x="2671129" y="613625"/>
                  </a:lnTo>
                  <a:close/>
                  <a:moveTo>
                    <a:pt x="2603544" y="603919"/>
                  </a:moveTo>
                  <a:lnTo>
                    <a:pt x="2599977" y="613625"/>
                  </a:lnTo>
                  <a:lnTo>
                    <a:pt x="2607111" y="613625"/>
                  </a:lnTo>
                  <a:close/>
                  <a:moveTo>
                    <a:pt x="2587450" y="602730"/>
                  </a:moveTo>
                  <a:lnTo>
                    <a:pt x="2582113" y="613625"/>
                  </a:lnTo>
                  <a:lnTo>
                    <a:pt x="2592787" y="613625"/>
                  </a:lnTo>
                  <a:close/>
                  <a:moveTo>
                    <a:pt x="2620413" y="602536"/>
                  </a:moveTo>
                  <a:lnTo>
                    <a:pt x="2614633" y="613625"/>
                  </a:lnTo>
                  <a:lnTo>
                    <a:pt x="2614661" y="613625"/>
                  </a:lnTo>
                  <a:lnTo>
                    <a:pt x="2626192" y="613625"/>
                  </a:lnTo>
                  <a:close/>
                  <a:moveTo>
                    <a:pt x="2651412" y="602315"/>
                  </a:moveTo>
                  <a:lnTo>
                    <a:pt x="2645107" y="613625"/>
                  </a:lnTo>
                  <a:lnTo>
                    <a:pt x="2645135" y="613625"/>
                  </a:lnTo>
                  <a:lnTo>
                    <a:pt x="2657717" y="613625"/>
                  </a:lnTo>
                  <a:close/>
                  <a:moveTo>
                    <a:pt x="2580039" y="587631"/>
                  </a:moveTo>
                  <a:lnTo>
                    <a:pt x="2580039" y="609201"/>
                  </a:lnTo>
                  <a:lnTo>
                    <a:pt x="2585320" y="598416"/>
                  </a:lnTo>
                  <a:close/>
                  <a:moveTo>
                    <a:pt x="2673756" y="587410"/>
                  </a:moveTo>
                  <a:lnTo>
                    <a:pt x="2670105" y="598416"/>
                  </a:lnTo>
                  <a:lnTo>
                    <a:pt x="2673756" y="609422"/>
                  </a:lnTo>
                  <a:close/>
                  <a:moveTo>
                    <a:pt x="2629649" y="584755"/>
                  </a:moveTo>
                  <a:lnTo>
                    <a:pt x="2622542" y="598416"/>
                  </a:lnTo>
                  <a:lnTo>
                    <a:pt x="2629649" y="612077"/>
                  </a:lnTo>
                  <a:lnTo>
                    <a:pt x="2633493" y="598416"/>
                  </a:lnTo>
                  <a:close/>
                  <a:moveTo>
                    <a:pt x="2596409" y="584451"/>
                  </a:moveTo>
                  <a:lnTo>
                    <a:pt x="2589552" y="598416"/>
                  </a:lnTo>
                  <a:lnTo>
                    <a:pt x="2596409" y="612381"/>
                  </a:lnTo>
                  <a:lnTo>
                    <a:pt x="2601553" y="598416"/>
                  </a:lnTo>
                  <a:close/>
                  <a:moveTo>
                    <a:pt x="2641401" y="584396"/>
                  </a:moveTo>
                  <a:lnTo>
                    <a:pt x="2637447" y="598416"/>
                  </a:lnTo>
                  <a:lnTo>
                    <a:pt x="2641401" y="612436"/>
                  </a:lnTo>
                  <a:lnTo>
                    <a:pt x="2649227" y="598416"/>
                  </a:lnTo>
                  <a:close/>
                  <a:moveTo>
                    <a:pt x="2661422" y="584313"/>
                  </a:moveTo>
                  <a:lnTo>
                    <a:pt x="2653569" y="598416"/>
                  </a:lnTo>
                  <a:lnTo>
                    <a:pt x="2661422" y="612492"/>
                  </a:lnTo>
                  <a:lnTo>
                    <a:pt x="2666096" y="598416"/>
                  </a:lnTo>
                  <a:close/>
                  <a:moveTo>
                    <a:pt x="2610817" y="584119"/>
                  </a:moveTo>
                  <a:lnTo>
                    <a:pt x="2605563" y="598416"/>
                  </a:lnTo>
                  <a:lnTo>
                    <a:pt x="2610817" y="612685"/>
                  </a:lnTo>
                  <a:lnTo>
                    <a:pt x="2618256" y="598416"/>
                  </a:lnTo>
                  <a:close/>
                  <a:moveTo>
                    <a:pt x="2665073" y="583234"/>
                  </a:moveTo>
                  <a:lnTo>
                    <a:pt x="2668087" y="592360"/>
                  </a:lnTo>
                  <a:lnTo>
                    <a:pt x="2671101" y="583234"/>
                  </a:lnTo>
                  <a:close/>
                  <a:moveTo>
                    <a:pt x="2645135" y="583234"/>
                  </a:moveTo>
                  <a:lnTo>
                    <a:pt x="2651412" y="594517"/>
                  </a:lnTo>
                  <a:lnTo>
                    <a:pt x="2657689" y="583234"/>
                  </a:lnTo>
                  <a:close/>
                  <a:moveTo>
                    <a:pt x="2633188" y="583234"/>
                  </a:moveTo>
                  <a:lnTo>
                    <a:pt x="2635484" y="591420"/>
                  </a:lnTo>
                  <a:lnTo>
                    <a:pt x="2637779" y="583234"/>
                  </a:lnTo>
                  <a:close/>
                  <a:moveTo>
                    <a:pt x="2614661" y="583234"/>
                  </a:moveTo>
                  <a:lnTo>
                    <a:pt x="2620413" y="594296"/>
                  </a:lnTo>
                  <a:lnTo>
                    <a:pt x="2626164" y="583234"/>
                  </a:lnTo>
                  <a:close/>
                  <a:moveTo>
                    <a:pt x="2600005" y="583234"/>
                  </a:moveTo>
                  <a:lnTo>
                    <a:pt x="2603572" y="592913"/>
                  </a:lnTo>
                  <a:lnTo>
                    <a:pt x="2607111" y="583234"/>
                  </a:lnTo>
                  <a:close/>
                  <a:moveTo>
                    <a:pt x="2582141" y="583234"/>
                  </a:moveTo>
                  <a:lnTo>
                    <a:pt x="2587450" y="594102"/>
                  </a:lnTo>
                  <a:lnTo>
                    <a:pt x="2592759" y="583234"/>
                  </a:lnTo>
                  <a:close/>
                  <a:moveTo>
                    <a:pt x="2660121" y="553147"/>
                  </a:moveTo>
                  <a:lnTo>
                    <a:pt x="2660150" y="553147"/>
                  </a:lnTo>
                  <a:lnTo>
                    <a:pt x="2660122" y="553175"/>
                  </a:lnTo>
                  <a:close/>
                  <a:moveTo>
                    <a:pt x="3285638" y="534288"/>
                  </a:moveTo>
                  <a:lnTo>
                    <a:pt x="3285638" y="547506"/>
                  </a:lnTo>
                  <a:lnTo>
                    <a:pt x="3249993" y="586138"/>
                  </a:lnTo>
                  <a:lnTo>
                    <a:pt x="3249993" y="581962"/>
                  </a:lnTo>
                  <a:lnTo>
                    <a:pt x="3248224" y="581077"/>
                  </a:lnTo>
                  <a:lnTo>
                    <a:pt x="3248224" y="573639"/>
                  </a:lnTo>
                  <a:lnTo>
                    <a:pt x="3246260" y="572975"/>
                  </a:lnTo>
                  <a:lnTo>
                    <a:pt x="3244325" y="567997"/>
                  </a:lnTo>
                  <a:lnTo>
                    <a:pt x="3240619" y="558429"/>
                  </a:lnTo>
                  <a:lnTo>
                    <a:pt x="3240647" y="558429"/>
                  </a:lnTo>
                  <a:lnTo>
                    <a:pt x="3245375" y="550852"/>
                  </a:lnTo>
                  <a:lnTo>
                    <a:pt x="3238158" y="547866"/>
                  </a:lnTo>
                  <a:cubicBezTo>
                    <a:pt x="3253146" y="543192"/>
                    <a:pt x="3269019" y="538602"/>
                    <a:pt x="3285638" y="534288"/>
                  </a:cubicBezTo>
                  <a:close/>
                  <a:moveTo>
                    <a:pt x="3444949" y="507382"/>
                  </a:moveTo>
                  <a:lnTo>
                    <a:pt x="3444949" y="563242"/>
                  </a:lnTo>
                  <a:lnTo>
                    <a:pt x="3441465" y="563242"/>
                  </a:lnTo>
                  <a:lnTo>
                    <a:pt x="3441465" y="572423"/>
                  </a:lnTo>
                  <a:lnTo>
                    <a:pt x="3383255" y="514240"/>
                  </a:lnTo>
                  <a:cubicBezTo>
                    <a:pt x="3403304" y="511253"/>
                    <a:pt x="3423905" y="508903"/>
                    <a:pt x="3444949" y="507382"/>
                  </a:cubicBezTo>
                  <a:close/>
                  <a:moveTo>
                    <a:pt x="3503686" y="502736"/>
                  </a:moveTo>
                  <a:cubicBezTo>
                    <a:pt x="3503686" y="502736"/>
                    <a:pt x="3497464" y="507464"/>
                    <a:pt x="3497464" y="515429"/>
                  </a:cubicBezTo>
                  <a:lnTo>
                    <a:pt x="3497464" y="570431"/>
                  </a:lnTo>
                  <a:lnTo>
                    <a:pt x="3509907" y="570431"/>
                  </a:lnTo>
                  <a:lnTo>
                    <a:pt x="3509907" y="515429"/>
                  </a:lnTo>
                  <a:cubicBezTo>
                    <a:pt x="3509658" y="508100"/>
                    <a:pt x="3503686" y="502736"/>
                    <a:pt x="3503686" y="502736"/>
                  </a:cubicBezTo>
                  <a:close/>
                  <a:moveTo>
                    <a:pt x="3481176" y="502736"/>
                  </a:moveTo>
                  <a:cubicBezTo>
                    <a:pt x="3481176" y="502736"/>
                    <a:pt x="3476198" y="506220"/>
                    <a:pt x="3475313" y="515429"/>
                  </a:cubicBezTo>
                  <a:lnTo>
                    <a:pt x="3475313" y="570431"/>
                  </a:lnTo>
                  <a:lnTo>
                    <a:pt x="3487011" y="570431"/>
                  </a:lnTo>
                  <a:lnTo>
                    <a:pt x="3487038" y="570431"/>
                  </a:lnTo>
                  <a:lnTo>
                    <a:pt x="3487038" y="515429"/>
                  </a:lnTo>
                  <a:cubicBezTo>
                    <a:pt x="3486513" y="507216"/>
                    <a:pt x="3481176" y="502736"/>
                    <a:pt x="3481176" y="502736"/>
                  </a:cubicBezTo>
                  <a:close/>
                  <a:moveTo>
                    <a:pt x="1183797" y="377909"/>
                  </a:moveTo>
                  <a:lnTo>
                    <a:pt x="1185843" y="377909"/>
                  </a:lnTo>
                  <a:lnTo>
                    <a:pt x="1185843" y="382499"/>
                  </a:lnTo>
                  <a:lnTo>
                    <a:pt x="1188747" y="382499"/>
                  </a:lnTo>
                  <a:lnTo>
                    <a:pt x="1188747" y="384435"/>
                  </a:lnTo>
                  <a:lnTo>
                    <a:pt x="1185843" y="384435"/>
                  </a:lnTo>
                  <a:lnTo>
                    <a:pt x="1185843" y="393367"/>
                  </a:lnTo>
                  <a:lnTo>
                    <a:pt x="1186092" y="393367"/>
                  </a:lnTo>
                  <a:lnTo>
                    <a:pt x="1208934" y="448259"/>
                  </a:lnTo>
                  <a:lnTo>
                    <a:pt x="1211340" y="448259"/>
                  </a:lnTo>
                  <a:lnTo>
                    <a:pt x="1210261" y="450554"/>
                  </a:lnTo>
                  <a:lnTo>
                    <a:pt x="1210151" y="460482"/>
                  </a:lnTo>
                  <a:lnTo>
                    <a:pt x="1208823" y="462307"/>
                  </a:lnTo>
                  <a:lnTo>
                    <a:pt x="1209045" y="462307"/>
                  </a:lnTo>
                  <a:lnTo>
                    <a:pt x="1209045" y="464851"/>
                  </a:lnTo>
                  <a:lnTo>
                    <a:pt x="1212308" y="464851"/>
                  </a:lnTo>
                  <a:lnTo>
                    <a:pt x="1209045" y="469386"/>
                  </a:lnTo>
                  <a:lnTo>
                    <a:pt x="1209045" y="548281"/>
                  </a:lnTo>
                  <a:lnTo>
                    <a:pt x="1217340" y="548281"/>
                  </a:lnTo>
                  <a:lnTo>
                    <a:pt x="1217340" y="546649"/>
                  </a:lnTo>
                  <a:lnTo>
                    <a:pt x="1216787" y="545571"/>
                  </a:lnTo>
                  <a:lnTo>
                    <a:pt x="1218004" y="544603"/>
                  </a:lnTo>
                  <a:lnTo>
                    <a:pt x="1218004" y="540234"/>
                  </a:lnTo>
                  <a:lnTo>
                    <a:pt x="1219276" y="539266"/>
                  </a:lnTo>
                  <a:lnTo>
                    <a:pt x="1219276" y="529283"/>
                  </a:lnTo>
                  <a:lnTo>
                    <a:pt x="1223452" y="529283"/>
                  </a:lnTo>
                  <a:lnTo>
                    <a:pt x="1223452" y="539266"/>
                  </a:lnTo>
                  <a:lnTo>
                    <a:pt x="1224669" y="540234"/>
                  </a:lnTo>
                  <a:lnTo>
                    <a:pt x="1224669" y="544465"/>
                  </a:lnTo>
                  <a:lnTo>
                    <a:pt x="1225581" y="545903"/>
                  </a:lnTo>
                  <a:lnTo>
                    <a:pt x="1224669" y="546926"/>
                  </a:lnTo>
                  <a:lnTo>
                    <a:pt x="1224669" y="548613"/>
                  </a:lnTo>
                  <a:lnTo>
                    <a:pt x="1233158" y="750288"/>
                  </a:lnTo>
                  <a:lnTo>
                    <a:pt x="1207081" y="689644"/>
                  </a:lnTo>
                  <a:lnTo>
                    <a:pt x="1203237" y="681929"/>
                  </a:lnTo>
                  <a:lnTo>
                    <a:pt x="1194609" y="681929"/>
                  </a:lnTo>
                  <a:cubicBezTo>
                    <a:pt x="1114221" y="681929"/>
                    <a:pt x="1052306" y="678030"/>
                    <a:pt x="1005157" y="672665"/>
                  </a:cubicBezTo>
                  <a:lnTo>
                    <a:pt x="1005157" y="543884"/>
                  </a:lnTo>
                  <a:lnTo>
                    <a:pt x="1006623" y="542695"/>
                  </a:lnTo>
                  <a:lnTo>
                    <a:pt x="1006623" y="538879"/>
                  </a:lnTo>
                  <a:lnTo>
                    <a:pt x="1007535" y="537883"/>
                  </a:lnTo>
                  <a:lnTo>
                    <a:pt x="1007535" y="527817"/>
                  </a:lnTo>
                  <a:lnTo>
                    <a:pt x="1011711" y="527817"/>
                  </a:lnTo>
                  <a:lnTo>
                    <a:pt x="1011711" y="537524"/>
                  </a:lnTo>
                  <a:lnTo>
                    <a:pt x="1012706" y="538796"/>
                  </a:lnTo>
                  <a:lnTo>
                    <a:pt x="1012706" y="542335"/>
                  </a:lnTo>
                  <a:lnTo>
                    <a:pt x="1013895" y="543884"/>
                  </a:lnTo>
                  <a:lnTo>
                    <a:pt x="1013895" y="547147"/>
                  </a:lnTo>
                  <a:lnTo>
                    <a:pt x="1104598" y="547507"/>
                  </a:lnTo>
                  <a:lnTo>
                    <a:pt x="1041106" y="669015"/>
                  </a:lnTo>
                  <a:lnTo>
                    <a:pt x="1113558" y="545377"/>
                  </a:lnTo>
                  <a:lnTo>
                    <a:pt x="1112756" y="543801"/>
                  </a:lnTo>
                  <a:lnTo>
                    <a:pt x="1114304" y="541533"/>
                  </a:lnTo>
                  <a:lnTo>
                    <a:pt x="1114304" y="539266"/>
                  </a:lnTo>
                  <a:lnTo>
                    <a:pt x="1115023" y="538436"/>
                  </a:lnTo>
                  <a:lnTo>
                    <a:pt x="1115023" y="532352"/>
                  </a:lnTo>
                  <a:lnTo>
                    <a:pt x="1112756" y="532352"/>
                  </a:lnTo>
                  <a:lnTo>
                    <a:pt x="1112756" y="530998"/>
                  </a:lnTo>
                  <a:lnTo>
                    <a:pt x="1115023" y="530998"/>
                  </a:lnTo>
                  <a:lnTo>
                    <a:pt x="1115023" y="528564"/>
                  </a:lnTo>
                  <a:lnTo>
                    <a:pt x="1116378" y="528564"/>
                  </a:lnTo>
                  <a:lnTo>
                    <a:pt x="1116378" y="530998"/>
                  </a:lnTo>
                  <a:lnTo>
                    <a:pt x="1118563" y="530998"/>
                  </a:lnTo>
                  <a:lnTo>
                    <a:pt x="1118563" y="532352"/>
                  </a:lnTo>
                  <a:lnTo>
                    <a:pt x="1116378" y="532352"/>
                  </a:lnTo>
                  <a:lnTo>
                    <a:pt x="1116378" y="538353"/>
                  </a:lnTo>
                  <a:lnTo>
                    <a:pt x="1117291" y="539432"/>
                  </a:lnTo>
                  <a:lnTo>
                    <a:pt x="1117291" y="541976"/>
                  </a:lnTo>
                  <a:lnTo>
                    <a:pt x="1118563" y="543607"/>
                  </a:lnTo>
                  <a:lnTo>
                    <a:pt x="1117706" y="545211"/>
                  </a:lnTo>
                  <a:lnTo>
                    <a:pt x="1158660" y="613515"/>
                  </a:lnTo>
                  <a:lnTo>
                    <a:pt x="1128905" y="547866"/>
                  </a:lnTo>
                  <a:lnTo>
                    <a:pt x="1160458" y="547866"/>
                  </a:lnTo>
                  <a:lnTo>
                    <a:pt x="1160458" y="469303"/>
                  </a:lnTo>
                  <a:lnTo>
                    <a:pt x="1157554" y="464823"/>
                  </a:lnTo>
                  <a:lnTo>
                    <a:pt x="1160458" y="464823"/>
                  </a:lnTo>
                  <a:lnTo>
                    <a:pt x="1160458" y="462307"/>
                  </a:lnTo>
                  <a:lnTo>
                    <a:pt x="1159241" y="460592"/>
                  </a:lnTo>
                  <a:lnTo>
                    <a:pt x="1159241" y="450195"/>
                  </a:lnTo>
                  <a:lnTo>
                    <a:pt x="1157554" y="448259"/>
                  </a:lnTo>
                  <a:lnTo>
                    <a:pt x="1161066" y="448259"/>
                  </a:lnTo>
                  <a:lnTo>
                    <a:pt x="1183548" y="393367"/>
                  </a:lnTo>
                  <a:lnTo>
                    <a:pt x="1183797" y="393367"/>
                  </a:lnTo>
                  <a:lnTo>
                    <a:pt x="1183797" y="384435"/>
                  </a:lnTo>
                  <a:lnTo>
                    <a:pt x="1180645" y="384435"/>
                  </a:lnTo>
                  <a:lnTo>
                    <a:pt x="1180645" y="382499"/>
                  </a:lnTo>
                  <a:lnTo>
                    <a:pt x="1183797" y="382499"/>
                  </a:lnTo>
                  <a:close/>
                  <a:moveTo>
                    <a:pt x="2634543" y="348043"/>
                  </a:moveTo>
                  <a:cubicBezTo>
                    <a:pt x="2631999" y="348043"/>
                    <a:pt x="2629952" y="350089"/>
                    <a:pt x="2629952" y="352606"/>
                  </a:cubicBezTo>
                  <a:lnTo>
                    <a:pt x="2629952" y="379236"/>
                  </a:lnTo>
                  <a:lnTo>
                    <a:pt x="2639106" y="379236"/>
                  </a:lnTo>
                  <a:lnTo>
                    <a:pt x="2639106" y="352606"/>
                  </a:lnTo>
                  <a:cubicBezTo>
                    <a:pt x="2639106" y="350089"/>
                    <a:pt x="2637087" y="348043"/>
                    <a:pt x="2634543" y="348043"/>
                  </a:cubicBezTo>
                  <a:close/>
                  <a:moveTo>
                    <a:pt x="2622597" y="348015"/>
                  </a:moveTo>
                  <a:cubicBezTo>
                    <a:pt x="2620080" y="348015"/>
                    <a:pt x="2618034" y="350062"/>
                    <a:pt x="2618034" y="352578"/>
                  </a:cubicBezTo>
                  <a:lnTo>
                    <a:pt x="2618034" y="379208"/>
                  </a:lnTo>
                  <a:lnTo>
                    <a:pt x="2627187" y="379208"/>
                  </a:lnTo>
                  <a:lnTo>
                    <a:pt x="2627187" y="352578"/>
                  </a:lnTo>
                  <a:lnTo>
                    <a:pt x="2627159" y="352578"/>
                  </a:lnTo>
                  <a:cubicBezTo>
                    <a:pt x="2627159" y="350062"/>
                    <a:pt x="2625113" y="348015"/>
                    <a:pt x="2622597" y="348015"/>
                  </a:cubicBezTo>
                  <a:close/>
                  <a:moveTo>
                    <a:pt x="2623592" y="303908"/>
                  </a:moveTo>
                  <a:lnTo>
                    <a:pt x="2623592" y="309467"/>
                  </a:lnTo>
                  <a:lnTo>
                    <a:pt x="2633741" y="309467"/>
                  </a:lnTo>
                  <a:lnTo>
                    <a:pt x="2633741" y="303908"/>
                  </a:lnTo>
                  <a:close/>
                  <a:moveTo>
                    <a:pt x="2628653" y="292571"/>
                  </a:moveTo>
                  <a:cubicBezTo>
                    <a:pt x="2625860" y="292571"/>
                    <a:pt x="2623592" y="294838"/>
                    <a:pt x="2623592" y="297631"/>
                  </a:cubicBezTo>
                  <a:lnTo>
                    <a:pt x="2623592" y="299318"/>
                  </a:lnTo>
                  <a:lnTo>
                    <a:pt x="2633741" y="299318"/>
                  </a:lnTo>
                  <a:lnTo>
                    <a:pt x="2633741" y="297631"/>
                  </a:lnTo>
                  <a:lnTo>
                    <a:pt x="2633713" y="297631"/>
                  </a:lnTo>
                  <a:cubicBezTo>
                    <a:pt x="2633713" y="294838"/>
                    <a:pt x="2631446" y="292571"/>
                    <a:pt x="2628653" y="292571"/>
                  </a:cubicBezTo>
                  <a:close/>
                  <a:moveTo>
                    <a:pt x="2636340" y="270780"/>
                  </a:moveTo>
                  <a:lnTo>
                    <a:pt x="2636340" y="280458"/>
                  </a:lnTo>
                  <a:lnTo>
                    <a:pt x="2640737" y="280458"/>
                  </a:lnTo>
                  <a:lnTo>
                    <a:pt x="2640737" y="270780"/>
                  </a:lnTo>
                  <a:close/>
                  <a:moveTo>
                    <a:pt x="2630174" y="270752"/>
                  </a:moveTo>
                  <a:lnTo>
                    <a:pt x="2630174" y="280431"/>
                  </a:lnTo>
                  <a:lnTo>
                    <a:pt x="2634183" y="280431"/>
                  </a:lnTo>
                  <a:lnTo>
                    <a:pt x="2634183" y="270752"/>
                  </a:lnTo>
                  <a:close/>
                  <a:moveTo>
                    <a:pt x="2623177" y="270752"/>
                  </a:moveTo>
                  <a:lnTo>
                    <a:pt x="2623177" y="280431"/>
                  </a:lnTo>
                  <a:lnTo>
                    <a:pt x="2628542" y="280431"/>
                  </a:lnTo>
                  <a:lnTo>
                    <a:pt x="2628542" y="270752"/>
                  </a:lnTo>
                  <a:close/>
                  <a:moveTo>
                    <a:pt x="2616596" y="270752"/>
                  </a:moveTo>
                  <a:lnTo>
                    <a:pt x="2616596" y="280431"/>
                  </a:lnTo>
                  <a:lnTo>
                    <a:pt x="2620993" y="280431"/>
                  </a:lnTo>
                  <a:lnTo>
                    <a:pt x="2620993" y="270752"/>
                  </a:lnTo>
                  <a:close/>
                  <a:moveTo>
                    <a:pt x="1661231" y="265028"/>
                  </a:moveTo>
                  <a:lnTo>
                    <a:pt x="1691622" y="265028"/>
                  </a:lnTo>
                  <a:lnTo>
                    <a:pt x="1746099" y="265028"/>
                  </a:lnTo>
                  <a:lnTo>
                    <a:pt x="1776490" y="265028"/>
                  </a:lnTo>
                  <a:lnTo>
                    <a:pt x="1776490" y="273960"/>
                  </a:lnTo>
                  <a:lnTo>
                    <a:pt x="1786307" y="273960"/>
                  </a:lnTo>
                  <a:lnTo>
                    <a:pt x="1786307" y="298074"/>
                  </a:lnTo>
                  <a:lnTo>
                    <a:pt x="1795239" y="298074"/>
                  </a:lnTo>
                  <a:lnTo>
                    <a:pt x="1795239" y="307006"/>
                  </a:lnTo>
                  <a:lnTo>
                    <a:pt x="1866695" y="307006"/>
                  </a:lnTo>
                  <a:lnTo>
                    <a:pt x="1866695" y="298074"/>
                  </a:lnTo>
                  <a:lnTo>
                    <a:pt x="1899768" y="298074"/>
                  </a:lnTo>
                  <a:lnTo>
                    <a:pt x="1902174" y="619930"/>
                  </a:lnTo>
                  <a:lnTo>
                    <a:pt x="1857044" y="619930"/>
                  </a:lnTo>
                  <a:lnTo>
                    <a:pt x="1843107" y="619930"/>
                  </a:lnTo>
                  <a:lnTo>
                    <a:pt x="1843107" y="633840"/>
                  </a:lnTo>
                  <a:lnTo>
                    <a:pt x="1843107" y="649132"/>
                  </a:lnTo>
                  <a:lnTo>
                    <a:pt x="1731830" y="649132"/>
                  </a:lnTo>
                  <a:lnTo>
                    <a:pt x="1723451" y="649132"/>
                  </a:lnTo>
                  <a:lnTo>
                    <a:pt x="1723451" y="456416"/>
                  </a:lnTo>
                  <a:lnTo>
                    <a:pt x="1724613" y="455061"/>
                  </a:lnTo>
                  <a:lnTo>
                    <a:pt x="1737112" y="440682"/>
                  </a:lnTo>
                  <a:lnTo>
                    <a:pt x="1727958" y="435787"/>
                  </a:lnTo>
                  <a:lnTo>
                    <a:pt x="1732134" y="430865"/>
                  </a:lnTo>
                  <a:lnTo>
                    <a:pt x="1723700" y="421048"/>
                  </a:lnTo>
                  <a:lnTo>
                    <a:pt x="1719801" y="416485"/>
                  </a:lnTo>
                  <a:lnTo>
                    <a:pt x="1715238" y="411176"/>
                  </a:lnTo>
                  <a:lnTo>
                    <a:pt x="1711394" y="411176"/>
                  </a:lnTo>
                  <a:lnTo>
                    <a:pt x="1696185" y="411176"/>
                  </a:lnTo>
                  <a:lnTo>
                    <a:pt x="1695577" y="411176"/>
                  </a:lnTo>
                  <a:lnTo>
                    <a:pt x="1680727" y="411176"/>
                  </a:lnTo>
                  <a:lnTo>
                    <a:pt x="1665573" y="411176"/>
                  </a:lnTo>
                  <a:lnTo>
                    <a:pt x="1651525" y="411176"/>
                  </a:lnTo>
                  <a:lnTo>
                    <a:pt x="1636343" y="411176"/>
                  </a:lnTo>
                  <a:lnTo>
                    <a:pt x="1629762" y="411176"/>
                  </a:lnTo>
                  <a:lnTo>
                    <a:pt x="1629762" y="407470"/>
                  </a:lnTo>
                  <a:lnTo>
                    <a:pt x="1635403" y="400225"/>
                  </a:lnTo>
                  <a:lnTo>
                    <a:pt x="1628434" y="390933"/>
                  </a:lnTo>
                  <a:lnTo>
                    <a:pt x="1625144" y="386536"/>
                  </a:lnTo>
                  <a:lnTo>
                    <a:pt x="1622655" y="383218"/>
                  </a:lnTo>
                  <a:lnTo>
                    <a:pt x="1618866" y="381642"/>
                  </a:lnTo>
                  <a:lnTo>
                    <a:pt x="1615078" y="380038"/>
                  </a:lnTo>
                  <a:lnTo>
                    <a:pt x="1606975" y="376664"/>
                  </a:lnTo>
                  <a:lnTo>
                    <a:pt x="1605897" y="377466"/>
                  </a:lnTo>
                  <a:lnTo>
                    <a:pt x="1601694" y="376415"/>
                  </a:lnTo>
                  <a:lnTo>
                    <a:pt x="1593730" y="374369"/>
                  </a:lnTo>
                  <a:lnTo>
                    <a:pt x="1593619" y="374452"/>
                  </a:lnTo>
                  <a:lnTo>
                    <a:pt x="1591849" y="373844"/>
                  </a:lnTo>
                  <a:lnTo>
                    <a:pt x="1590632" y="373844"/>
                  </a:lnTo>
                  <a:lnTo>
                    <a:pt x="1589416" y="373844"/>
                  </a:lnTo>
                  <a:lnTo>
                    <a:pt x="1577967" y="360045"/>
                  </a:lnTo>
                  <a:lnTo>
                    <a:pt x="1575036" y="356477"/>
                  </a:lnTo>
                  <a:lnTo>
                    <a:pt x="1570473" y="351002"/>
                  </a:lnTo>
                  <a:lnTo>
                    <a:pt x="1563339" y="351002"/>
                  </a:lnTo>
                  <a:lnTo>
                    <a:pt x="1558084" y="351002"/>
                  </a:lnTo>
                  <a:lnTo>
                    <a:pt x="1542875" y="351002"/>
                  </a:lnTo>
                  <a:lnTo>
                    <a:pt x="1542875" y="351362"/>
                  </a:lnTo>
                  <a:lnTo>
                    <a:pt x="1537953" y="351362"/>
                  </a:lnTo>
                  <a:lnTo>
                    <a:pt x="1537953" y="298074"/>
                  </a:lnTo>
                  <a:lnTo>
                    <a:pt x="1570999" y="298074"/>
                  </a:lnTo>
                  <a:lnTo>
                    <a:pt x="1570999" y="307006"/>
                  </a:lnTo>
                  <a:lnTo>
                    <a:pt x="1642482" y="307006"/>
                  </a:lnTo>
                  <a:lnTo>
                    <a:pt x="1642482" y="298074"/>
                  </a:lnTo>
                  <a:lnTo>
                    <a:pt x="1651414" y="298074"/>
                  </a:lnTo>
                  <a:lnTo>
                    <a:pt x="1651414" y="273960"/>
                  </a:lnTo>
                  <a:lnTo>
                    <a:pt x="1661231" y="273960"/>
                  </a:lnTo>
                  <a:close/>
                  <a:moveTo>
                    <a:pt x="2628653" y="238149"/>
                  </a:moveTo>
                  <a:cubicBezTo>
                    <a:pt x="2629814" y="238149"/>
                    <a:pt x="2630754" y="239117"/>
                    <a:pt x="2630754" y="240334"/>
                  </a:cubicBezTo>
                  <a:cubicBezTo>
                    <a:pt x="2630754" y="241274"/>
                    <a:pt x="2630174" y="242076"/>
                    <a:pt x="2629399" y="242380"/>
                  </a:cubicBezTo>
                  <a:lnTo>
                    <a:pt x="2629399" y="244675"/>
                  </a:lnTo>
                  <a:lnTo>
                    <a:pt x="2630893" y="244675"/>
                  </a:lnTo>
                  <a:lnTo>
                    <a:pt x="2630893" y="254354"/>
                  </a:lnTo>
                  <a:cubicBezTo>
                    <a:pt x="2642369" y="257783"/>
                    <a:pt x="2643419" y="267932"/>
                    <a:pt x="2643419" y="267932"/>
                  </a:cubicBezTo>
                  <a:lnTo>
                    <a:pt x="2644774" y="267932"/>
                  </a:lnTo>
                  <a:lnTo>
                    <a:pt x="2644774" y="270752"/>
                  </a:lnTo>
                  <a:lnTo>
                    <a:pt x="2642231" y="270752"/>
                  </a:lnTo>
                  <a:lnTo>
                    <a:pt x="2642231" y="280431"/>
                  </a:lnTo>
                  <a:lnTo>
                    <a:pt x="2643558" y="280431"/>
                  </a:lnTo>
                  <a:lnTo>
                    <a:pt x="2643558" y="283860"/>
                  </a:lnTo>
                  <a:lnTo>
                    <a:pt x="2649061" y="283860"/>
                  </a:lnTo>
                  <a:lnTo>
                    <a:pt x="2651605" y="286985"/>
                  </a:lnTo>
                  <a:lnTo>
                    <a:pt x="2651605" y="290718"/>
                  </a:lnTo>
                  <a:lnTo>
                    <a:pt x="2649061" y="292654"/>
                  </a:lnTo>
                  <a:lnTo>
                    <a:pt x="2649061" y="302802"/>
                  </a:lnTo>
                  <a:lnTo>
                    <a:pt x="2652434" y="307863"/>
                  </a:lnTo>
                  <a:lnTo>
                    <a:pt x="2652434" y="312923"/>
                  </a:lnTo>
                  <a:lnTo>
                    <a:pt x="2650720" y="316214"/>
                  </a:lnTo>
                  <a:lnTo>
                    <a:pt x="2654149" y="320086"/>
                  </a:lnTo>
                  <a:lnTo>
                    <a:pt x="2654149" y="330373"/>
                  </a:lnTo>
                  <a:lnTo>
                    <a:pt x="2657661" y="330373"/>
                  </a:lnTo>
                  <a:lnTo>
                    <a:pt x="2657301" y="336484"/>
                  </a:lnTo>
                  <a:lnTo>
                    <a:pt x="2655200" y="337535"/>
                  </a:lnTo>
                  <a:lnTo>
                    <a:pt x="2655200" y="387034"/>
                  </a:lnTo>
                  <a:lnTo>
                    <a:pt x="2660122" y="389108"/>
                  </a:lnTo>
                  <a:lnTo>
                    <a:pt x="2660122" y="395220"/>
                  </a:lnTo>
                  <a:lnTo>
                    <a:pt x="2657301" y="397294"/>
                  </a:lnTo>
                  <a:lnTo>
                    <a:pt x="2660121" y="553147"/>
                  </a:lnTo>
                  <a:lnTo>
                    <a:pt x="2597211" y="553147"/>
                  </a:lnTo>
                  <a:lnTo>
                    <a:pt x="2600059" y="397266"/>
                  </a:lnTo>
                  <a:lnTo>
                    <a:pt x="2597211" y="395192"/>
                  </a:lnTo>
                  <a:lnTo>
                    <a:pt x="2597211" y="389081"/>
                  </a:lnTo>
                  <a:lnTo>
                    <a:pt x="2602133" y="387007"/>
                  </a:lnTo>
                  <a:lnTo>
                    <a:pt x="2602133" y="337507"/>
                  </a:lnTo>
                  <a:lnTo>
                    <a:pt x="2600059" y="336456"/>
                  </a:lnTo>
                  <a:lnTo>
                    <a:pt x="2599700" y="330345"/>
                  </a:lnTo>
                  <a:lnTo>
                    <a:pt x="2603212" y="330345"/>
                  </a:lnTo>
                  <a:lnTo>
                    <a:pt x="2603212" y="320058"/>
                  </a:lnTo>
                  <a:lnTo>
                    <a:pt x="2606641" y="316187"/>
                  </a:lnTo>
                  <a:lnTo>
                    <a:pt x="2604926" y="312896"/>
                  </a:lnTo>
                  <a:lnTo>
                    <a:pt x="2604926" y="307835"/>
                  </a:lnTo>
                  <a:lnTo>
                    <a:pt x="2608272" y="302775"/>
                  </a:lnTo>
                  <a:lnTo>
                    <a:pt x="2608272" y="292626"/>
                  </a:lnTo>
                  <a:lnTo>
                    <a:pt x="2605728" y="290690"/>
                  </a:lnTo>
                  <a:lnTo>
                    <a:pt x="2605728" y="286957"/>
                  </a:lnTo>
                  <a:lnTo>
                    <a:pt x="2608272" y="283832"/>
                  </a:lnTo>
                  <a:lnTo>
                    <a:pt x="2613775" y="283832"/>
                  </a:lnTo>
                  <a:lnTo>
                    <a:pt x="2613775" y="280403"/>
                  </a:lnTo>
                  <a:lnTo>
                    <a:pt x="2615130" y="280403"/>
                  </a:lnTo>
                  <a:lnTo>
                    <a:pt x="2615130" y="270725"/>
                  </a:lnTo>
                  <a:lnTo>
                    <a:pt x="2612586" y="270725"/>
                  </a:lnTo>
                  <a:lnTo>
                    <a:pt x="2612586" y="267904"/>
                  </a:lnTo>
                  <a:lnTo>
                    <a:pt x="2613914" y="267904"/>
                  </a:lnTo>
                  <a:cubicBezTo>
                    <a:pt x="2613914" y="267904"/>
                    <a:pt x="2614965" y="257755"/>
                    <a:pt x="2626440" y="254326"/>
                  </a:cubicBezTo>
                  <a:lnTo>
                    <a:pt x="2626440" y="244648"/>
                  </a:lnTo>
                  <a:lnTo>
                    <a:pt x="2627768" y="244648"/>
                  </a:lnTo>
                  <a:lnTo>
                    <a:pt x="2627768" y="242297"/>
                  </a:lnTo>
                  <a:cubicBezTo>
                    <a:pt x="2627049" y="241937"/>
                    <a:pt x="2626579" y="241191"/>
                    <a:pt x="2626579" y="240334"/>
                  </a:cubicBezTo>
                  <a:cubicBezTo>
                    <a:pt x="2626579" y="239145"/>
                    <a:pt x="2627491" y="238149"/>
                    <a:pt x="2628653" y="238149"/>
                  </a:cubicBezTo>
                  <a:close/>
                  <a:moveTo>
                    <a:pt x="1976562" y="214589"/>
                  </a:moveTo>
                  <a:lnTo>
                    <a:pt x="1976562" y="220866"/>
                  </a:lnTo>
                  <a:lnTo>
                    <a:pt x="1977834" y="220866"/>
                  </a:lnTo>
                  <a:lnTo>
                    <a:pt x="1977834" y="222968"/>
                  </a:lnTo>
                  <a:lnTo>
                    <a:pt x="1978829" y="223963"/>
                  </a:lnTo>
                  <a:lnTo>
                    <a:pt x="1978829" y="214589"/>
                  </a:lnTo>
                  <a:close/>
                  <a:moveTo>
                    <a:pt x="1965003" y="214533"/>
                  </a:moveTo>
                  <a:lnTo>
                    <a:pt x="1965003" y="223935"/>
                  </a:lnTo>
                  <a:lnTo>
                    <a:pt x="1965998" y="222940"/>
                  </a:lnTo>
                  <a:lnTo>
                    <a:pt x="1965998" y="220838"/>
                  </a:lnTo>
                  <a:lnTo>
                    <a:pt x="1967270" y="220838"/>
                  </a:lnTo>
                  <a:lnTo>
                    <a:pt x="1967270" y="214533"/>
                  </a:lnTo>
                  <a:close/>
                  <a:moveTo>
                    <a:pt x="2526143" y="138874"/>
                  </a:moveTo>
                  <a:lnTo>
                    <a:pt x="2533526" y="138874"/>
                  </a:lnTo>
                  <a:lnTo>
                    <a:pt x="2533526" y="160112"/>
                  </a:lnTo>
                  <a:lnTo>
                    <a:pt x="2576001" y="160112"/>
                  </a:lnTo>
                  <a:lnTo>
                    <a:pt x="2579596" y="570873"/>
                  </a:lnTo>
                  <a:lnTo>
                    <a:pt x="2675719" y="570873"/>
                  </a:lnTo>
                  <a:lnTo>
                    <a:pt x="2680337" y="275481"/>
                  </a:lnTo>
                  <a:lnTo>
                    <a:pt x="2686808" y="275481"/>
                  </a:lnTo>
                  <a:lnTo>
                    <a:pt x="2686808" y="257949"/>
                  </a:lnTo>
                  <a:lnTo>
                    <a:pt x="2680337" y="257949"/>
                  </a:lnTo>
                  <a:lnTo>
                    <a:pt x="2680337" y="241329"/>
                  </a:lnTo>
                  <a:lnTo>
                    <a:pt x="2764375" y="241329"/>
                  </a:lnTo>
                  <a:lnTo>
                    <a:pt x="2764375" y="213648"/>
                  </a:lnTo>
                  <a:lnTo>
                    <a:pt x="2865006" y="213648"/>
                  </a:lnTo>
                  <a:lnTo>
                    <a:pt x="2865006" y="241329"/>
                  </a:lnTo>
                  <a:lnTo>
                    <a:pt x="2949044" y="241329"/>
                  </a:lnTo>
                  <a:lnTo>
                    <a:pt x="2949044" y="257949"/>
                  </a:lnTo>
                  <a:lnTo>
                    <a:pt x="2943513" y="257949"/>
                  </a:lnTo>
                  <a:lnTo>
                    <a:pt x="2943513" y="275481"/>
                  </a:lnTo>
                  <a:lnTo>
                    <a:pt x="2949044" y="275481"/>
                  </a:lnTo>
                  <a:lnTo>
                    <a:pt x="2954243" y="840272"/>
                  </a:lnTo>
                  <a:lnTo>
                    <a:pt x="2962981" y="666028"/>
                  </a:lnTo>
                  <a:lnTo>
                    <a:pt x="2967406" y="660276"/>
                  </a:lnTo>
                  <a:lnTo>
                    <a:pt x="2967406" y="590756"/>
                  </a:lnTo>
                  <a:lnTo>
                    <a:pt x="2970614" y="589180"/>
                  </a:lnTo>
                  <a:lnTo>
                    <a:pt x="2969176" y="587355"/>
                  </a:lnTo>
                  <a:lnTo>
                    <a:pt x="2969176" y="583815"/>
                  </a:lnTo>
                  <a:lnTo>
                    <a:pt x="2973600" y="582349"/>
                  </a:lnTo>
                  <a:lnTo>
                    <a:pt x="2973600" y="574828"/>
                  </a:lnTo>
                  <a:lnTo>
                    <a:pt x="2972107" y="573224"/>
                  </a:lnTo>
                  <a:lnTo>
                    <a:pt x="2975950" y="563324"/>
                  </a:lnTo>
                  <a:lnTo>
                    <a:pt x="2977278" y="563324"/>
                  </a:lnTo>
                  <a:lnTo>
                    <a:pt x="2979352" y="558734"/>
                  </a:lnTo>
                  <a:lnTo>
                    <a:pt x="2978633" y="557545"/>
                  </a:lnTo>
                  <a:lnTo>
                    <a:pt x="2980403" y="556798"/>
                  </a:lnTo>
                  <a:lnTo>
                    <a:pt x="2979214" y="554724"/>
                  </a:lnTo>
                  <a:lnTo>
                    <a:pt x="2981426" y="550880"/>
                  </a:lnTo>
                  <a:lnTo>
                    <a:pt x="2983334" y="554724"/>
                  </a:lnTo>
                  <a:lnTo>
                    <a:pt x="2982145" y="556494"/>
                  </a:lnTo>
                  <a:lnTo>
                    <a:pt x="2984496" y="557379"/>
                  </a:lnTo>
                  <a:lnTo>
                    <a:pt x="2983168" y="559010"/>
                  </a:lnTo>
                  <a:lnTo>
                    <a:pt x="2989528" y="573196"/>
                  </a:lnTo>
                  <a:lnTo>
                    <a:pt x="2987758" y="575409"/>
                  </a:lnTo>
                  <a:lnTo>
                    <a:pt x="2988007" y="580552"/>
                  </a:lnTo>
                  <a:lnTo>
                    <a:pt x="3031312" y="559121"/>
                  </a:lnTo>
                  <a:lnTo>
                    <a:pt x="3031312" y="542778"/>
                  </a:lnTo>
                  <a:lnTo>
                    <a:pt x="3033386" y="542778"/>
                  </a:lnTo>
                  <a:lnTo>
                    <a:pt x="3034852" y="537164"/>
                  </a:lnTo>
                  <a:lnTo>
                    <a:pt x="3034271" y="536583"/>
                  </a:lnTo>
                  <a:lnTo>
                    <a:pt x="3035156" y="535118"/>
                  </a:lnTo>
                  <a:lnTo>
                    <a:pt x="3034409" y="533210"/>
                  </a:lnTo>
                  <a:lnTo>
                    <a:pt x="3036318" y="530859"/>
                  </a:lnTo>
                  <a:lnTo>
                    <a:pt x="3038088" y="533071"/>
                  </a:lnTo>
                  <a:lnTo>
                    <a:pt x="3037202" y="534979"/>
                  </a:lnTo>
                  <a:lnTo>
                    <a:pt x="3038088" y="536307"/>
                  </a:lnTo>
                  <a:lnTo>
                    <a:pt x="3037341" y="537772"/>
                  </a:lnTo>
                  <a:lnTo>
                    <a:pt x="3039249" y="543386"/>
                  </a:lnTo>
                  <a:lnTo>
                    <a:pt x="3041323" y="543524"/>
                  </a:lnTo>
                  <a:lnTo>
                    <a:pt x="3041323" y="554143"/>
                  </a:lnTo>
                  <a:lnTo>
                    <a:pt x="3054762" y="547506"/>
                  </a:lnTo>
                  <a:lnTo>
                    <a:pt x="3054762" y="533486"/>
                  </a:lnTo>
                  <a:lnTo>
                    <a:pt x="3057417" y="533486"/>
                  </a:lnTo>
                  <a:lnTo>
                    <a:pt x="3060376" y="525356"/>
                  </a:lnTo>
                  <a:lnTo>
                    <a:pt x="3058744" y="525356"/>
                  </a:lnTo>
                  <a:lnTo>
                    <a:pt x="3057583" y="520932"/>
                  </a:lnTo>
                  <a:lnTo>
                    <a:pt x="3066432" y="515760"/>
                  </a:lnTo>
                  <a:lnTo>
                    <a:pt x="3067483" y="450360"/>
                  </a:lnTo>
                  <a:lnTo>
                    <a:pt x="3065851" y="448286"/>
                  </a:lnTo>
                  <a:lnTo>
                    <a:pt x="3065851" y="445466"/>
                  </a:lnTo>
                  <a:lnTo>
                    <a:pt x="3067483" y="444138"/>
                  </a:lnTo>
                  <a:lnTo>
                    <a:pt x="3068064" y="425251"/>
                  </a:lnTo>
                  <a:lnTo>
                    <a:pt x="3065713" y="423177"/>
                  </a:lnTo>
                  <a:lnTo>
                    <a:pt x="3065713" y="420523"/>
                  </a:lnTo>
                  <a:lnTo>
                    <a:pt x="3068064" y="419333"/>
                  </a:lnTo>
                  <a:lnTo>
                    <a:pt x="3068064" y="411950"/>
                  </a:lnTo>
                  <a:lnTo>
                    <a:pt x="3067179" y="410623"/>
                  </a:lnTo>
                  <a:lnTo>
                    <a:pt x="3067013" y="408410"/>
                  </a:lnTo>
                  <a:lnTo>
                    <a:pt x="3071161" y="402852"/>
                  </a:lnTo>
                  <a:lnTo>
                    <a:pt x="3071161" y="397653"/>
                  </a:lnTo>
                  <a:lnTo>
                    <a:pt x="3069972" y="395137"/>
                  </a:lnTo>
                  <a:lnTo>
                    <a:pt x="3076166" y="383025"/>
                  </a:lnTo>
                  <a:lnTo>
                    <a:pt x="3075585" y="379928"/>
                  </a:lnTo>
                  <a:lnTo>
                    <a:pt x="3077659" y="376969"/>
                  </a:lnTo>
                  <a:lnTo>
                    <a:pt x="3079125" y="379623"/>
                  </a:lnTo>
                  <a:lnTo>
                    <a:pt x="3078240" y="382859"/>
                  </a:lnTo>
                  <a:lnTo>
                    <a:pt x="3080010" y="385209"/>
                  </a:lnTo>
                  <a:lnTo>
                    <a:pt x="3099007" y="257285"/>
                  </a:lnTo>
                  <a:cubicBezTo>
                    <a:pt x="3097874" y="256539"/>
                    <a:pt x="3097127" y="255377"/>
                    <a:pt x="3097127" y="254078"/>
                  </a:cubicBezTo>
                  <a:cubicBezTo>
                    <a:pt x="3097127" y="252335"/>
                    <a:pt x="3098427" y="250842"/>
                    <a:pt x="3100280" y="250289"/>
                  </a:cubicBezTo>
                  <a:lnTo>
                    <a:pt x="3100280" y="237430"/>
                  </a:lnTo>
                  <a:cubicBezTo>
                    <a:pt x="3100280" y="237430"/>
                    <a:pt x="3094445" y="237458"/>
                    <a:pt x="3094445" y="237458"/>
                  </a:cubicBezTo>
                  <a:cubicBezTo>
                    <a:pt x="3094445" y="238177"/>
                    <a:pt x="3093864" y="238758"/>
                    <a:pt x="3093145" y="238758"/>
                  </a:cubicBezTo>
                  <a:cubicBezTo>
                    <a:pt x="3092426" y="238758"/>
                    <a:pt x="3091845" y="238177"/>
                    <a:pt x="3091845" y="237458"/>
                  </a:cubicBezTo>
                  <a:lnTo>
                    <a:pt x="3091845" y="237403"/>
                  </a:lnTo>
                  <a:cubicBezTo>
                    <a:pt x="3091126" y="237264"/>
                    <a:pt x="3090573" y="236628"/>
                    <a:pt x="3090573" y="235854"/>
                  </a:cubicBezTo>
                  <a:cubicBezTo>
                    <a:pt x="3090573" y="235080"/>
                    <a:pt x="3091126" y="234444"/>
                    <a:pt x="3091873" y="234305"/>
                  </a:cubicBezTo>
                  <a:cubicBezTo>
                    <a:pt x="3091984" y="233697"/>
                    <a:pt x="3092509" y="233227"/>
                    <a:pt x="3093145" y="233227"/>
                  </a:cubicBezTo>
                  <a:cubicBezTo>
                    <a:pt x="3093781" y="233227"/>
                    <a:pt x="3094307" y="233669"/>
                    <a:pt x="3094417" y="234278"/>
                  </a:cubicBezTo>
                  <a:lnTo>
                    <a:pt x="3100280" y="234278"/>
                  </a:lnTo>
                  <a:lnTo>
                    <a:pt x="3100280" y="228526"/>
                  </a:lnTo>
                  <a:lnTo>
                    <a:pt x="3100141" y="228526"/>
                  </a:lnTo>
                  <a:cubicBezTo>
                    <a:pt x="3099533" y="228526"/>
                    <a:pt x="3099007" y="228028"/>
                    <a:pt x="3099007" y="227392"/>
                  </a:cubicBezTo>
                  <a:cubicBezTo>
                    <a:pt x="3099007" y="226756"/>
                    <a:pt x="3099505" y="226258"/>
                    <a:pt x="3100141" y="226258"/>
                  </a:cubicBezTo>
                  <a:lnTo>
                    <a:pt x="3100280" y="226258"/>
                  </a:lnTo>
                  <a:lnTo>
                    <a:pt x="3100280" y="225954"/>
                  </a:lnTo>
                  <a:cubicBezTo>
                    <a:pt x="3100280" y="225069"/>
                    <a:pt x="3100999" y="224323"/>
                    <a:pt x="3101911" y="224323"/>
                  </a:cubicBezTo>
                  <a:cubicBezTo>
                    <a:pt x="3102824" y="224323"/>
                    <a:pt x="3103543" y="225069"/>
                    <a:pt x="3103543" y="225954"/>
                  </a:cubicBezTo>
                  <a:lnTo>
                    <a:pt x="3103543" y="226258"/>
                  </a:lnTo>
                  <a:cubicBezTo>
                    <a:pt x="3104179" y="226258"/>
                    <a:pt x="3104677" y="226756"/>
                    <a:pt x="3104677" y="227392"/>
                  </a:cubicBezTo>
                  <a:cubicBezTo>
                    <a:pt x="3104677" y="228028"/>
                    <a:pt x="3104179" y="228526"/>
                    <a:pt x="3103543" y="228526"/>
                  </a:cubicBezTo>
                  <a:lnTo>
                    <a:pt x="3103543" y="234278"/>
                  </a:lnTo>
                  <a:lnTo>
                    <a:pt x="3109516" y="234278"/>
                  </a:lnTo>
                  <a:cubicBezTo>
                    <a:pt x="3109544" y="233697"/>
                    <a:pt x="3110013" y="233227"/>
                    <a:pt x="3110622" y="233227"/>
                  </a:cubicBezTo>
                  <a:cubicBezTo>
                    <a:pt x="3111230" y="233227"/>
                    <a:pt x="3111728" y="233697"/>
                    <a:pt x="3111728" y="234278"/>
                  </a:cubicBezTo>
                  <a:cubicBezTo>
                    <a:pt x="3112558" y="234305"/>
                    <a:pt x="3113221" y="234969"/>
                    <a:pt x="3113221" y="235826"/>
                  </a:cubicBezTo>
                  <a:cubicBezTo>
                    <a:pt x="3113221" y="236684"/>
                    <a:pt x="3112558" y="237347"/>
                    <a:pt x="3111728" y="237403"/>
                  </a:cubicBezTo>
                  <a:lnTo>
                    <a:pt x="3111728" y="237956"/>
                  </a:lnTo>
                  <a:cubicBezTo>
                    <a:pt x="3111728" y="238564"/>
                    <a:pt x="3111230" y="239062"/>
                    <a:pt x="3110622" y="239062"/>
                  </a:cubicBezTo>
                  <a:cubicBezTo>
                    <a:pt x="3110013" y="239062"/>
                    <a:pt x="3109516" y="238564"/>
                    <a:pt x="3109516" y="237956"/>
                  </a:cubicBezTo>
                  <a:lnTo>
                    <a:pt x="3109516" y="237403"/>
                  </a:lnTo>
                  <a:lnTo>
                    <a:pt x="3103543" y="237403"/>
                  </a:lnTo>
                  <a:lnTo>
                    <a:pt x="3103543" y="250289"/>
                  </a:lnTo>
                  <a:cubicBezTo>
                    <a:pt x="3105312" y="250842"/>
                    <a:pt x="3106584" y="252308"/>
                    <a:pt x="3106584" y="254022"/>
                  </a:cubicBezTo>
                  <a:cubicBezTo>
                    <a:pt x="3106584" y="255405"/>
                    <a:pt x="3105727" y="256649"/>
                    <a:pt x="3104455" y="257368"/>
                  </a:cubicBezTo>
                  <a:lnTo>
                    <a:pt x="3123426" y="385126"/>
                  </a:lnTo>
                  <a:lnTo>
                    <a:pt x="3125195" y="382776"/>
                  </a:lnTo>
                  <a:lnTo>
                    <a:pt x="3124310" y="379540"/>
                  </a:lnTo>
                  <a:lnTo>
                    <a:pt x="3125776" y="376886"/>
                  </a:lnTo>
                  <a:lnTo>
                    <a:pt x="3127850" y="379845"/>
                  </a:lnTo>
                  <a:lnTo>
                    <a:pt x="3127269" y="382942"/>
                  </a:lnTo>
                  <a:lnTo>
                    <a:pt x="3133464" y="395054"/>
                  </a:lnTo>
                  <a:lnTo>
                    <a:pt x="3132302" y="397570"/>
                  </a:lnTo>
                  <a:lnTo>
                    <a:pt x="3132302" y="402769"/>
                  </a:lnTo>
                  <a:lnTo>
                    <a:pt x="3136422" y="408327"/>
                  </a:lnTo>
                  <a:lnTo>
                    <a:pt x="3136284" y="410540"/>
                  </a:lnTo>
                  <a:lnTo>
                    <a:pt x="3135399" y="411867"/>
                  </a:lnTo>
                  <a:lnTo>
                    <a:pt x="3135399" y="419251"/>
                  </a:lnTo>
                  <a:lnTo>
                    <a:pt x="3137750" y="420440"/>
                  </a:lnTo>
                  <a:lnTo>
                    <a:pt x="3137750" y="423094"/>
                  </a:lnTo>
                  <a:lnTo>
                    <a:pt x="3135399" y="425168"/>
                  </a:lnTo>
                  <a:lnTo>
                    <a:pt x="3135980" y="444056"/>
                  </a:lnTo>
                  <a:lnTo>
                    <a:pt x="3137612" y="445383"/>
                  </a:lnTo>
                  <a:lnTo>
                    <a:pt x="3137612" y="448203"/>
                  </a:lnTo>
                  <a:lnTo>
                    <a:pt x="3135980" y="450277"/>
                  </a:lnTo>
                  <a:lnTo>
                    <a:pt x="3137003" y="515677"/>
                  </a:lnTo>
                  <a:lnTo>
                    <a:pt x="3145852" y="520849"/>
                  </a:lnTo>
                  <a:lnTo>
                    <a:pt x="3144691" y="525273"/>
                  </a:lnTo>
                  <a:lnTo>
                    <a:pt x="3143059" y="525273"/>
                  </a:lnTo>
                  <a:lnTo>
                    <a:pt x="3146018" y="533403"/>
                  </a:lnTo>
                  <a:lnTo>
                    <a:pt x="3148673" y="533403"/>
                  </a:lnTo>
                  <a:lnTo>
                    <a:pt x="3148673" y="547423"/>
                  </a:lnTo>
                  <a:lnTo>
                    <a:pt x="3162112" y="554060"/>
                  </a:lnTo>
                  <a:lnTo>
                    <a:pt x="3162112" y="543441"/>
                  </a:lnTo>
                  <a:lnTo>
                    <a:pt x="3164186" y="543303"/>
                  </a:lnTo>
                  <a:lnTo>
                    <a:pt x="3166122" y="537689"/>
                  </a:lnTo>
                  <a:lnTo>
                    <a:pt x="3165375" y="536224"/>
                  </a:lnTo>
                  <a:lnTo>
                    <a:pt x="3166260" y="534896"/>
                  </a:lnTo>
                  <a:lnTo>
                    <a:pt x="3165375" y="532988"/>
                  </a:lnTo>
                  <a:lnTo>
                    <a:pt x="3167145" y="530776"/>
                  </a:lnTo>
                  <a:lnTo>
                    <a:pt x="3169053" y="533127"/>
                  </a:lnTo>
                  <a:lnTo>
                    <a:pt x="3168307" y="535035"/>
                  </a:lnTo>
                  <a:lnTo>
                    <a:pt x="3169191" y="536500"/>
                  </a:lnTo>
                  <a:lnTo>
                    <a:pt x="3168611" y="537081"/>
                  </a:lnTo>
                  <a:lnTo>
                    <a:pt x="3170077" y="542695"/>
                  </a:lnTo>
                  <a:lnTo>
                    <a:pt x="3172151" y="542695"/>
                  </a:lnTo>
                  <a:lnTo>
                    <a:pt x="3172151" y="559038"/>
                  </a:lnTo>
                  <a:lnTo>
                    <a:pt x="3215455" y="580469"/>
                  </a:lnTo>
                  <a:lnTo>
                    <a:pt x="3215704" y="575326"/>
                  </a:lnTo>
                  <a:lnTo>
                    <a:pt x="3213935" y="573113"/>
                  </a:lnTo>
                  <a:lnTo>
                    <a:pt x="3220267" y="558927"/>
                  </a:lnTo>
                  <a:lnTo>
                    <a:pt x="3218940" y="557296"/>
                  </a:lnTo>
                  <a:lnTo>
                    <a:pt x="3221290" y="556411"/>
                  </a:lnTo>
                  <a:lnTo>
                    <a:pt x="3220129" y="554641"/>
                  </a:lnTo>
                  <a:lnTo>
                    <a:pt x="3222037" y="550797"/>
                  </a:lnTo>
                  <a:lnTo>
                    <a:pt x="3224249" y="554641"/>
                  </a:lnTo>
                  <a:lnTo>
                    <a:pt x="3223060" y="556715"/>
                  </a:lnTo>
                  <a:lnTo>
                    <a:pt x="3224830" y="557462"/>
                  </a:lnTo>
                  <a:lnTo>
                    <a:pt x="3224083" y="558651"/>
                  </a:lnTo>
                  <a:lnTo>
                    <a:pt x="3226157" y="563241"/>
                  </a:lnTo>
                  <a:lnTo>
                    <a:pt x="3227485" y="563241"/>
                  </a:lnTo>
                  <a:lnTo>
                    <a:pt x="3231328" y="573141"/>
                  </a:lnTo>
                  <a:lnTo>
                    <a:pt x="3229863" y="574745"/>
                  </a:lnTo>
                  <a:lnTo>
                    <a:pt x="3229863" y="582267"/>
                  </a:lnTo>
                  <a:lnTo>
                    <a:pt x="3234287" y="583732"/>
                  </a:lnTo>
                  <a:lnTo>
                    <a:pt x="3234287" y="587272"/>
                  </a:lnTo>
                  <a:lnTo>
                    <a:pt x="3232849" y="589097"/>
                  </a:lnTo>
                  <a:lnTo>
                    <a:pt x="3236057" y="590673"/>
                  </a:lnTo>
                  <a:lnTo>
                    <a:pt x="3236057" y="660193"/>
                  </a:lnTo>
                  <a:lnTo>
                    <a:pt x="3240482" y="665945"/>
                  </a:lnTo>
                  <a:lnTo>
                    <a:pt x="3249082" y="840189"/>
                  </a:lnTo>
                  <a:lnTo>
                    <a:pt x="3253755" y="602619"/>
                  </a:lnTo>
                  <a:lnTo>
                    <a:pt x="3299549" y="553009"/>
                  </a:lnTo>
                  <a:lnTo>
                    <a:pt x="3299549" y="518028"/>
                  </a:lnTo>
                  <a:lnTo>
                    <a:pt x="3314979" y="518028"/>
                  </a:lnTo>
                  <a:lnTo>
                    <a:pt x="3314979" y="536279"/>
                  </a:lnTo>
                  <a:lnTo>
                    <a:pt x="3348827" y="499611"/>
                  </a:lnTo>
                  <a:lnTo>
                    <a:pt x="3451863" y="602619"/>
                  </a:lnTo>
                  <a:lnTo>
                    <a:pt x="3458832" y="602619"/>
                  </a:lnTo>
                  <a:lnTo>
                    <a:pt x="3458832" y="580469"/>
                  </a:lnTo>
                  <a:lnTo>
                    <a:pt x="3455347" y="580469"/>
                  </a:lnTo>
                  <a:lnTo>
                    <a:pt x="3455347" y="577234"/>
                  </a:lnTo>
                  <a:lnTo>
                    <a:pt x="3458832" y="577234"/>
                  </a:lnTo>
                  <a:lnTo>
                    <a:pt x="3458832" y="485812"/>
                  </a:lnTo>
                  <a:lnTo>
                    <a:pt x="3454103" y="477184"/>
                  </a:lnTo>
                  <a:lnTo>
                    <a:pt x="3458832" y="477184"/>
                  </a:lnTo>
                  <a:lnTo>
                    <a:pt x="3458832" y="455283"/>
                  </a:lnTo>
                  <a:lnTo>
                    <a:pt x="3460187" y="455283"/>
                  </a:lnTo>
                  <a:lnTo>
                    <a:pt x="3460187" y="450056"/>
                  </a:lnTo>
                  <a:lnTo>
                    <a:pt x="3461321" y="450056"/>
                  </a:lnTo>
                  <a:lnTo>
                    <a:pt x="3461321" y="445189"/>
                  </a:lnTo>
                  <a:lnTo>
                    <a:pt x="3462067" y="445189"/>
                  </a:lnTo>
                  <a:lnTo>
                    <a:pt x="3462067" y="439714"/>
                  </a:lnTo>
                  <a:lnTo>
                    <a:pt x="3463173" y="439714"/>
                  </a:lnTo>
                  <a:lnTo>
                    <a:pt x="3463173" y="434736"/>
                  </a:lnTo>
                  <a:lnTo>
                    <a:pt x="3464418" y="434736"/>
                  </a:lnTo>
                  <a:lnTo>
                    <a:pt x="3466492" y="422928"/>
                  </a:lnTo>
                  <a:lnTo>
                    <a:pt x="3468676" y="434736"/>
                  </a:lnTo>
                  <a:lnTo>
                    <a:pt x="3469783" y="434736"/>
                  </a:lnTo>
                  <a:lnTo>
                    <a:pt x="3469783" y="439714"/>
                  </a:lnTo>
                  <a:lnTo>
                    <a:pt x="3470888" y="439714"/>
                  </a:lnTo>
                  <a:lnTo>
                    <a:pt x="3470888" y="445189"/>
                  </a:lnTo>
                  <a:lnTo>
                    <a:pt x="3471884" y="445189"/>
                  </a:lnTo>
                  <a:lnTo>
                    <a:pt x="3471884" y="450056"/>
                  </a:lnTo>
                  <a:lnTo>
                    <a:pt x="3473018" y="450056"/>
                  </a:lnTo>
                  <a:lnTo>
                    <a:pt x="3473018" y="455283"/>
                  </a:lnTo>
                  <a:lnTo>
                    <a:pt x="3475258" y="455283"/>
                  </a:lnTo>
                  <a:lnTo>
                    <a:pt x="3475258" y="458905"/>
                  </a:lnTo>
                  <a:lnTo>
                    <a:pt x="3477996" y="458905"/>
                  </a:lnTo>
                  <a:lnTo>
                    <a:pt x="3477996" y="465127"/>
                  </a:lnTo>
                  <a:lnTo>
                    <a:pt x="3482835" y="465127"/>
                  </a:lnTo>
                  <a:lnTo>
                    <a:pt x="3482835" y="455310"/>
                  </a:lnTo>
                  <a:lnTo>
                    <a:pt x="3490550" y="455310"/>
                  </a:lnTo>
                  <a:lnTo>
                    <a:pt x="3490550" y="448840"/>
                  </a:lnTo>
                  <a:lnTo>
                    <a:pt x="3494726" y="448840"/>
                  </a:lnTo>
                  <a:lnTo>
                    <a:pt x="3494726" y="455310"/>
                  </a:lnTo>
                  <a:lnTo>
                    <a:pt x="3502137" y="455310"/>
                  </a:lnTo>
                  <a:lnTo>
                    <a:pt x="3502137" y="465127"/>
                  </a:lnTo>
                  <a:lnTo>
                    <a:pt x="3506976" y="465127"/>
                  </a:lnTo>
                  <a:lnTo>
                    <a:pt x="3506976" y="458905"/>
                  </a:lnTo>
                  <a:lnTo>
                    <a:pt x="3509852" y="458905"/>
                  </a:lnTo>
                  <a:lnTo>
                    <a:pt x="3509852" y="455283"/>
                  </a:lnTo>
                  <a:lnTo>
                    <a:pt x="3510958" y="455283"/>
                  </a:lnTo>
                  <a:lnTo>
                    <a:pt x="3510958" y="450056"/>
                  </a:lnTo>
                  <a:lnTo>
                    <a:pt x="3512064" y="450056"/>
                  </a:lnTo>
                  <a:lnTo>
                    <a:pt x="3512064" y="445189"/>
                  </a:lnTo>
                  <a:lnTo>
                    <a:pt x="3512811" y="445189"/>
                  </a:lnTo>
                  <a:lnTo>
                    <a:pt x="3512811" y="439714"/>
                  </a:lnTo>
                  <a:lnTo>
                    <a:pt x="3513917" y="439714"/>
                  </a:lnTo>
                  <a:lnTo>
                    <a:pt x="3513917" y="434736"/>
                  </a:lnTo>
                  <a:lnTo>
                    <a:pt x="3515134" y="434736"/>
                  </a:lnTo>
                  <a:lnTo>
                    <a:pt x="3517208" y="422928"/>
                  </a:lnTo>
                  <a:lnTo>
                    <a:pt x="3519392" y="434736"/>
                  </a:lnTo>
                  <a:lnTo>
                    <a:pt x="3520499" y="434736"/>
                  </a:lnTo>
                  <a:lnTo>
                    <a:pt x="3520499" y="439714"/>
                  </a:lnTo>
                  <a:lnTo>
                    <a:pt x="3521632" y="439714"/>
                  </a:lnTo>
                  <a:lnTo>
                    <a:pt x="3521632" y="445189"/>
                  </a:lnTo>
                  <a:lnTo>
                    <a:pt x="3522628" y="445189"/>
                  </a:lnTo>
                  <a:lnTo>
                    <a:pt x="3522628" y="450056"/>
                  </a:lnTo>
                  <a:lnTo>
                    <a:pt x="3523761" y="450056"/>
                  </a:lnTo>
                  <a:lnTo>
                    <a:pt x="3523761" y="455283"/>
                  </a:lnTo>
                  <a:lnTo>
                    <a:pt x="3525504" y="455283"/>
                  </a:lnTo>
                  <a:lnTo>
                    <a:pt x="3525504" y="477184"/>
                  </a:lnTo>
                  <a:lnTo>
                    <a:pt x="3529486" y="477184"/>
                  </a:lnTo>
                  <a:lnTo>
                    <a:pt x="3525504" y="485757"/>
                  </a:lnTo>
                  <a:lnTo>
                    <a:pt x="3525504" y="577206"/>
                  </a:lnTo>
                  <a:lnTo>
                    <a:pt x="3527744" y="577206"/>
                  </a:lnTo>
                  <a:lnTo>
                    <a:pt x="3527744" y="580441"/>
                  </a:lnTo>
                  <a:lnTo>
                    <a:pt x="3525504" y="580441"/>
                  </a:lnTo>
                  <a:lnTo>
                    <a:pt x="3525504" y="602592"/>
                  </a:lnTo>
                  <a:lnTo>
                    <a:pt x="3535072" y="602592"/>
                  </a:lnTo>
                  <a:lnTo>
                    <a:pt x="3585263" y="566753"/>
                  </a:lnTo>
                  <a:lnTo>
                    <a:pt x="3614630" y="586110"/>
                  </a:lnTo>
                  <a:lnTo>
                    <a:pt x="3614630" y="570707"/>
                  </a:lnTo>
                  <a:lnTo>
                    <a:pt x="3624585" y="570707"/>
                  </a:lnTo>
                  <a:lnTo>
                    <a:pt x="3624585" y="592664"/>
                  </a:lnTo>
                  <a:lnTo>
                    <a:pt x="3632052" y="597586"/>
                  </a:lnTo>
                  <a:lnTo>
                    <a:pt x="3639573" y="839497"/>
                  </a:lnTo>
                  <a:lnTo>
                    <a:pt x="3645989" y="597586"/>
                  </a:lnTo>
                  <a:lnTo>
                    <a:pt x="3645989" y="590092"/>
                  </a:lnTo>
                  <a:lnTo>
                    <a:pt x="3639739" y="585972"/>
                  </a:lnTo>
                  <a:lnTo>
                    <a:pt x="3638522" y="585170"/>
                  </a:lnTo>
                  <a:lnTo>
                    <a:pt x="3638522" y="556798"/>
                  </a:lnTo>
                  <a:lnTo>
                    <a:pt x="3600721" y="556798"/>
                  </a:lnTo>
                  <a:lnTo>
                    <a:pt x="3600721" y="560255"/>
                  </a:lnTo>
                  <a:lnTo>
                    <a:pt x="3592950" y="555111"/>
                  </a:lnTo>
                  <a:lnTo>
                    <a:pt x="3584986" y="549857"/>
                  </a:lnTo>
                  <a:lnTo>
                    <a:pt x="3577215" y="555415"/>
                  </a:lnTo>
                  <a:lnTo>
                    <a:pt x="3541736" y="580746"/>
                  </a:lnTo>
                  <a:lnTo>
                    <a:pt x="3541736" y="563269"/>
                  </a:lnTo>
                  <a:lnTo>
                    <a:pt x="3539496" y="563269"/>
                  </a:lnTo>
                  <a:lnTo>
                    <a:pt x="3539496" y="505501"/>
                  </a:lnTo>
                  <a:cubicBezTo>
                    <a:pt x="3539496" y="505501"/>
                    <a:pt x="3543396" y="505501"/>
                    <a:pt x="3543396" y="505501"/>
                  </a:cubicBezTo>
                  <a:cubicBezTo>
                    <a:pt x="3761331" y="503870"/>
                    <a:pt x="3952968" y="605772"/>
                    <a:pt x="3952968" y="605772"/>
                  </a:cubicBezTo>
                  <a:lnTo>
                    <a:pt x="3955263" y="600518"/>
                  </a:lnTo>
                  <a:lnTo>
                    <a:pt x="3990310" y="614497"/>
                  </a:lnTo>
                  <a:lnTo>
                    <a:pt x="3997717" y="663027"/>
                  </a:lnTo>
                  <a:lnTo>
                    <a:pt x="3997241" y="664480"/>
                  </a:lnTo>
                  <a:cubicBezTo>
                    <a:pt x="3996135" y="667190"/>
                    <a:pt x="3994918" y="669485"/>
                    <a:pt x="3993342" y="671061"/>
                  </a:cubicBezTo>
                  <a:cubicBezTo>
                    <a:pt x="3987839" y="676564"/>
                    <a:pt x="3965218" y="684501"/>
                    <a:pt x="3965218" y="684501"/>
                  </a:cubicBezTo>
                  <a:lnTo>
                    <a:pt x="3983912" y="750288"/>
                  </a:lnTo>
                  <a:lnTo>
                    <a:pt x="3983912" y="750260"/>
                  </a:lnTo>
                  <a:lnTo>
                    <a:pt x="4003292" y="750260"/>
                  </a:lnTo>
                  <a:lnTo>
                    <a:pt x="4009365" y="870516"/>
                  </a:lnTo>
                  <a:lnTo>
                    <a:pt x="902730" y="871769"/>
                  </a:lnTo>
                  <a:lnTo>
                    <a:pt x="1005130" y="757312"/>
                  </a:lnTo>
                  <a:lnTo>
                    <a:pt x="868385" y="757312"/>
                  </a:lnTo>
                  <a:lnTo>
                    <a:pt x="845018" y="757312"/>
                  </a:lnTo>
                  <a:lnTo>
                    <a:pt x="845018" y="764336"/>
                  </a:lnTo>
                  <a:lnTo>
                    <a:pt x="847479" y="764336"/>
                  </a:lnTo>
                  <a:lnTo>
                    <a:pt x="847479" y="768484"/>
                  </a:lnTo>
                  <a:lnTo>
                    <a:pt x="846843" y="768484"/>
                  </a:lnTo>
                  <a:lnTo>
                    <a:pt x="851323" y="853130"/>
                  </a:lnTo>
                  <a:lnTo>
                    <a:pt x="863518" y="853130"/>
                  </a:lnTo>
                  <a:lnTo>
                    <a:pt x="863518" y="871769"/>
                  </a:lnTo>
                  <a:lnTo>
                    <a:pt x="816950" y="871769"/>
                  </a:lnTo>
                  <a:lnTo>
                    <a:pt x="816950" y="853130"/>
                  </a:lnTo>
                  <a:lnTo>
                    <a:pt x="829421" y="853130"/>
                  </a:lnTo>
                  <a:lnTo>
                    <a:pt x="832685" y="768484"/>
                  </a:lnTo>
                  <a:lnTo>
                    <a:pt x="831634" y="768484"/>
                  </a:lnTo>
                  <a:lnTo>
                    <a:pt x="831634" y="764336"/>
                  </a:lnTo>
                  <a:lnTo>
                    <a:pt x="833901" y="764336"/>
                  </a:lnTo>
                  <a:lnTo>
                    <a:pt x="833901" y="757312"/>
                  </a:lnTo>
                  <a:lnTo>
                    <a:pt x="811475" y="757312"/>
                  </a:lnTo>
                  <a:cubicBezTo>
                    <a:pt x="811475" y="757312"/>
                    <a:pt x="810341" y="757312"/>
                    <a:pt x="810341" y="757312"/>
                  </a:cubicBezTo>
                  <a:lnTo>
                    <a:pt x="100537" y="757312"/>
                  </a:lnTo>
                  <a:lnTo>
                    <a:pt x="76976" y="757312"/>
                  </a:lnTo>
                  <a:lnTo>
                    <a:pt x="76976" y="764336"/>
                  </a:lnTo>
                  <a:lnTo>
                    <a:pt x="79244" y="764336"/>
                  </a:lnTo>
                  <a:lnTo>
                    <a:pt x="79244" y="768484"/>
                  </a:lnTo>
                  <a:lnTo>
                    <a:pt x="78193" y="768484"/>
                  </a:lnTo>
                  <a:lnTo>
                    <a:pt x="81484" y="853130"/>
                  </a:lnTo>
                  <a:lnTo>
                    <a:pt x="93955" y="853130"/>
                  </a:lnTo>
                  <a:lnTo>
                    <a:pt x="93955" y="871769"/>
                  </a:lnTo>
                  <a:lnTo>
                    <a:pt x="47387" y="871769"/>
                  </a:lnTo>
                  <a:lnTo>
                    <a:pt x="47387" y="853130"/>
                  </a:lnTo>
                  <a:lnTo>
                    <a:pt x="59582" y="853130"/>
                  </a:lnTo>
                  <a:lnTo>
                    <a:pt x="64062" y="768484"/>
                  </a:lnTo>
                  <a:lnTo>
                    <a:pt x="63426" y="768484"/>
                  </a:lnTo>
                  <a:lnTo>
                    <a:pt x="63426" y="764336"/>
                  </a:lnTo>
                  <a:lnTo>
                    <a:pt x="65860" y="764336"/>
                  </a:lnTo>
                  <a:lnTo>
                    <a:pt x="65860" y="757312"/>
                  </a:lnTo>
                  <a:lnTo>
                    <a:pt x="43654" y="757312"/>
                  </a:lnTo>
                  <a:cubicBezTo>
                    <a:pt x="43654" y="757312"/>
                    <a:pt x="42520" y="757312"/>
                    <a:pt x="42520" y="757312"/>
                  </a:cubicBezTo>
                  <a:lnTo>
                    <a:pt x="0" y="757312"/>
                  </a:lnTo>
                  <a:lnTo>
                    <a:pt x="466" y="748076"/>
                  </a:lnTo>
                  <a:lnTo>
                    <a:pt x="9696" y="748076"/>
                  </a:lnTo>
                  <a:lnTo>
                    <a:pt x="8645" y="679136"/>
                  </a:lnTo>
                  <a:lnTo>
                    <a:pt x="3605" y="685927"/>
                  </a:lnTo>
                  <a:lnTo>
                    <a:pt x="4032" y="677460"/>
                  </a:lnTo>
                  <a:lnTo>
                    <a:pt x="6156" y="674601"/>
                  </a:lnTo>
                  <a:lnTo>
                    <a:pt x="4153" y="675071"/>
                  </a:lnTo>
                  <a:lnTo>
                    <a:pt x="4182" y="674487"/>
                  </a:lnTo>
                  <a:lnTo>
                    <a:pt x="4963" y="669372"/>
                  </a:lnTo>
                  <a:lnTo>
                    <a:pt x="8102" y="668683"/>
                  </a:lnTo>
                  <a:cubicBezTo>
                    <a:pt x="58794" y="655078"/>
                    <a:pt x="71390" y="641472"/>
                    <a:pt x="71390" y="641472"/>
                  </a:cubicBezTo>
                  <a:cubicBezTo>
                    <a:pt x="71390" y="641472"/>
                    <a:pt x="119258" y="695507"/>
                    <a:pt x="423997" y="695507"/>
                  </a:cubicBezTo>
                  <a:cubicBezTo>
                    <a:pt x="433455" y="695507"/>
                    <a:pt x="443188" y="695451"/>
                    <a:pt x="453171" y="695341"/>
                  </a:cubicBezTo>
                  <a:lnTo>
                    <a:pt x="453171" y="695285"/>
                  </a:lnTo>
                  <a:cubicBezTo>
                    <a:pt x="453946" y="695285"/>
                    <a:pt x="454665" y="695285"/>
                    <a:pt x="455411" y="695285"/>
                  </a:cubicBezTo>
                  <a:cubicBezTo>
                    <a:pt x="456158" y="695285"/>
                    <a:pt x="456904" y="695285"/>
                    <a:pt x="457651" y="695285"/>
                  </a:cubicBezTo>
                  <a:lnTo>
                    <a:pt x="457651" y="695341"/>
                  </a:lnTo>
                  <a:cubicBezTo>
                    <a:pt x="467634" y="695451"/>
                    <a:pt x="477340" y="695507"/>
                    <a:pt x="486825" y="695507"/>
                  </a:cubicBezTo>
                  <a:cubicBezTo>
                    <a:pt x="791592" y="695507"/>
                    <a:pt x="839432" y="641472"/>
                    <a:pt x="839432" y="641472"/>
                  </a:cubicBezTo>
                  <a:cubicBezTo>
                    <a:pt x="839432" y="641472"/>
                    <a:pt x="889844" y="695894"/>
                    <a:pt x="1194583" y="695894"/>
                  </a:cubicBezTo>
                  <a:lnTo>
                    <a:pt x="1221738" y="750315"/>
                  </a:lnTo>
                  <a:lnTo>
                    <a:pt x="1241345" y="788919"/>
                  </a:lnTo>
                  <a:lnTo>
                    <a:pt x="1241538" y="450803"/>
                  </a:lnTo>
                  <a:lnTo>
                    <a:pt x="1236643" y="445162"/>
                  </a:lnTo>
                  <a:lnTo>
                    <a:pt x="1239077" y="443862"/>
                  </a:lnTo>
                  <a:lnTo>
                    <a:pt x="1239409" y="433105"/>
                  </a:lnTo>
                  <a:lnTo>
                    <a:pt x="1237611" y="430976"/>
                  </a:lnTo>
                  <a:lnTo>
                    <a:pt x="1241510" y="426413"/>
                  </a:lnTo>
                  <a:lnTo>
                    <a:pt x="1246405" y="426413"/>
                  </a:lnTo>
                  <a:lnTo>
                    <a:pt x="1246405" y="434239"/>
                  </a:lnTo>
                  <a:lnTo>
                    <a:pt x="1253595" y="434239"/>
                  </a:lnTo>
                  <a:lnTo>
                    <a:pt x="1253595" y="426413"/>
                  </a:lnTo>
                  <a:lnTo>
                    <a:pt x="1261753" y="426413"/>
                  </a:lnTo>
                  <a:lnTo>
                    <a:pt x="1261753" y="434239"/>
                  </a:lnTo>
                  <a:lnTo>
                    <a:pt x="1269412" y="434239"/>
                  </a:lnTo>
                  <a:lnTo>
                    <a:pt x="1269412" y="426413"/>
                  </a:lnTo>
                  <a:lnTo>
                    <a:pt x="1277570" y="426413"/>
                  </a:lnTo>
                  <a:lnTo>
                    <a:pt x="1277570" y="434239"/>
                  </a:lnTo>
                  <a:lnTo>
                    <a:pt x="1284262" y="434239"/>
                  </a:lnTo>
                  <a:lnTo>
                    <a:pt x="1284262" y="426413"/>
                  </a:lnTo>
                  <a:lnTo>
                    <a:pt x="1293084" y="426413"/>
                  </a:lnTo>
                  <a:lnTo>
                    <a:pt x="1293084" y="434239"/>
                  </a:lnTo>
                  <a:lnTo>
                    <a:pt x="1299444" y="434239"/>
                  </a:lnTo>
                  <a:lnTo>
                    <a:pt x="1299444" y="426413"/>
                  </a:lnTo>
                  <a:lnTo>
                    <a:pt x="1307768" y="426413"/>
                  </a:lnTo>
                  <a:lnTo>
                    <a:pt x="1307768" y="434239"/>
                  </a:lnTo>
                  <a:lnTo>
                    <a:pt x="1313464" y="434239"/>
                  </a:lnTo>
                  <a:lnTo>
                    <a:pt x="1313464" y="426413"/>
                  </a:lnTo>
                  <a:lnTo>
                    <a:pt x="1321954" y="426413"/>
                  </a:lnTo>
                  <a:lnTo>
                    <a:pt x="1321954" y="434239"/>
                  </a:lnTo>
                  <a:lnTo>
                    <a:pt x="1328314" y="434239"/>
                  </a:lnTo>
                  <a:lnTo>
                    <a:pt x="1334315" y="666250"/>
                  </a:lnTo>
                  <a:lnTo>
                    <a:pt x="1336416" y="428736"/>
                  </a:lnTo>
                  <a:lnTo>
                    <a:pt x="1332047" y="421242"/>
                  </a:lnTo>
                  <a:lnTo>
                    <a:pt x="1335227" y="417702"/>
                  </a:lnTo>
                  <a:lnTo>
                    <a:pt x="1335227" y="402299"/>
                  </a:lnTo>
                  <a:lnTo>
                    <a:pt x="1333513" y="400087"/>
                  </a:lnTo>
                  <a:lnTo>
                    <a:pt x="1336804" y="395690"/>
                  </a:lnTo>
                  <a:lnTo>
                    <a:pt x="1340592" y="394114"/>
                  </a:lnTo>
                  <a:lnTo>
                    <a:pt x="1343662" y="396437"/>
                  </a:lnTo>
                  <a:lnTo>
                    <a:pt x="1346095" y="392648"/>
                  </a:lnTo>
                  <a:lnTo>
                    <a:pt x="1351847" y="391182"/>
                  </a:lnTo>
                  <a:lnTo>
                    <a:pt x="1354889" y="394003"/>
                  </a:lnTo>
                  <a:lnTo>
                    <a:pt x="1357461" y="390104"/>
                  </a:lnTo>
                  <a:lnTo>
                    <a:pt x="1360392" y="389136"/>
                  </a:lnTo>
                  <a:lnTo>
                    <a:pt x="1366144" y="389136"/>
                  </a:lnTo>
                  <a:lnTo>
                    <a:pt x="1366144" y="399755"/>
                  </a:lnTo>
                  <a:lnTo>
                    <a:pt x="1374329" y="399506"/>
                  </a:lnTo>
                  <a:lnTo>
                    <a:pt x="1374329" y="389108"/>
                  </a:lnTo>
                  <a:lnTo>
                    <a:pt x="1384478" y="389108"/>
                  </a:lnTo>
                  <a:lnTo>
                    <a:pt x="1384616" y="398870"/>
                  </a:lnTo>
                  <a:lnTo>
                    <a:pt x="1392442" y="398621"/>
                  </a:lnTo>
                  <a:lnTo>
                    <a:pt x="1392442" y="389081"/>
                  </a:lnTo>
                  <a:lnTo>
                    <a:pt x="1401014" y="389938"/>
                  </a:lnTo>
                  <a:lnTo>
                    <a:pt x="1404056" y="394943"/>
                  </a:lnTo>
                  <a:lnTo>
                    <a:pt x="1407236" y="391763"/>
                  </a:lnTo>
                  <a:lnTo>
                    <a:pt x="1414343" y="392980"/>
                  </a:lnTo>
                  <a:lnTo>
                    <a:pt x="1417026" y="397736"/>
                  </a:lnTo>
                  <a:lnTo>
                    <a:pt x="1420316" y="394556"/>
                  </a:lnTo>
                  <a:lnTo>
                    <a:pt x="1424464" y="395303"/>
                  </a:lnTo>
                  <a:lnTo>
                    <a:pt x="1427893" y="400197"/>
                  </a:lnTo>
                  <a:lnTo>
                    <a:pt x="1426677" y="401801"/>
                  </a:lnTo>
                  <a:lnTo>
                    <a:pt x="1426511" y="405700"/>
                  </a:lnTo>
                  <a:lnTo>
                    <a:pt x="1426511" y="417923"/>
                  </a:lnTo>
                  <a:lnTo>
                    <a:pt x="1427921" y="419416"/>
                  </a:lnTo>
                  <a:lnTo>
                    <a:pt x="1429746" y="428210"/>
                  </a:lnTo>
                  <a:lnTo>
                    <a:pt x="1424492" y="432248"/>
                  </a:lnTo>
                  <a:lnTo>
                    <a:pt x="1429193" y="721777"/>
                  </a:lnTo>
                  <a:lnTo>
                    <a:pt x="1429746" y="437502"/>
                  </a:lnTo>
                  <a:lnTo>
                    <a:pt x="1436936" y="430008"/>
                  </a:lnTo>
                  <a:lnTo>
                    <a:pt x="1433783" y="417951"/>
                  </a:lnTo>
                  <a:lnTo>
                    <a:pt x="1431101" y="413913"/>
                  </a:lnTo>
                  <a:lnTo>
                    <a:pt x="1431184" y="413471"/>
                  </a:lnTo>
                  <a:lnTo>
                    <a:pt x="1431184" y="403267"/>
                  </a:lnTo>
                  <a:cubicBezTo>
                    <a:pt x="1431184" y="403267"/>
                    <a:pt x="1433258" y="401193"/>
                    <a:pt x="1433258" y="401193"/>
                  </a:cubicBezTo>
                  <a:lnTo>
                    <a:pt x="1428280" y="391293"/>
                  </a:lnTo>
                  <a:lnTo>
                    <a:pt x="1421063" y="389413"/>
                  </a:lnTo>
                  <a:lnTo>
                    <a:pt x="1418381" y="391210"/>
                  </a:lnTo>
                  <a:lnTo>
                    <a:pt x="1416168" y="388030"/>
                  </a:lnTo>
                  <a:lnTo>
                    <a:pt x="1408343" y="386647"/>
                  </a:lnTo>
                  <a:lnTo>
                    <a:pt x="1404665" y="388279"/>
                  </a:lnTo>
                  <a:lnTo>
                    <a:pt x="1403199" y="384573"/>
                  </a:lnTo>
                  <a:lnTo>
                    <a:pt x="1392304" y="383218"/>
                  </a:lnTo>
                  <a:lnTo>
                    <a:pt x="1388405" y="386288"/>
                  </a:lnTo>
                  <a:lnTo>
                    <a:pt x="1382791" y="386150"/>
                  </a:lnTo>
                  <a:lnTo>
                    <a:pt x="1385473" y="383965"/>
                  </a:lnTo>
                  <a:lnTo>
                    <a:pt x="1385473" y="381393"/>
                  </a:lnTo>
                  <a:lnTo>
                    <a:pt x="1384257" y="379319"/>
                  </a:lnTo>
                  <a:lnTo>
                    <a:pt x="1384865" y="377743"/>
                  </a:lnTo>
                  <a:lnTo>
                    <a:pt x="1384976" y="370525"/>
                  </a:lnTo>
                  <a:lnTo>
                    <a:pt x="1383510" y="369779"/>
                  </a:lnTo>
                  <a:lnTo>
                    <a:pt x="1386441" y="366239"/>
                  </a:lnTo>
                  <a:lnTo>
                    <a:pt x="1391695" y="366239"/>
                  </a:lnTo>
                  <a:lnTo>
                    <a:pt x="1391695" y="374093"/>
                  </a:lnTo>
                  <a:lnTo>
                    <a:pt x="1398553" y="374093"/>
                  </a:lnTo>
                  <a:lnTo>
                    <a:pt x="1398553" y="366599"/>
                  </a:lnTo>
                  <a:lnTo>
                    <a:pt x="1407624" y="366599"/>
                  </a:lnTo>
                  <a:lnTo>
                    <a:pt x="1407624" y="374093"/>
                  </a:lnTo>
                  <a:lnTo>
                    <a:pt x="1415117" y="374093"/>
                  </a:lnTo>
                  <a:lnTo>
                    <a:pt x="1415117" y="366599"/>
                  </a:lnTo>
                  <a:lnTo>
                    <a:pt x="1423994" y="366599"/>
                  </a:lnTo>
                  <a:lnTo>
                    <a:pt x="1423994" y="374093"/>
                  </a:lnTo>
                  <a:lnTo>
                    <a:pt x="1430686" y="374093"/>
                  </a:lnTo>
                  <a:lnTo>
                    <a:pt x="1430686" y="366599"/>
                  </a:lnTo>
                  <a:lnTo>
                    <a:pt x="1439231" y="366599"/>
                  </a:lnTo>
                  <a:lnTo>
                    <a:pt x="1439231" y="374093"/>
                  </a:lnTo>
                  <a:lnTo>
                    <a:pt x="1446255" y="374093"/>
                  </a:lnTo>
                  <a:lnTo>
                    <a:pt x="1446255" y="366239"/>
                  </a:lnTo>
                  <a:lnTo>
                    <a:pt x="1455464" y="366239"/>
                  </a:lnTo>
                  <a:lnTo>
                    <a:pt x="1455464" y="374093"/>
                  </a:lnTo>
                  <a:lnTo>
                    <a:pt x="1462571" y="374093"/>
                  </a:lnTo>
                  <a:lnTo>
                    <a:pt x="1462571" y="366239"/>
                  </a:lnTo>
                  <a:lnTo>
                    <a:pt x="1471226" y="366239"/>
                  </a:lnTo>
                  <a:lnTo>
                    <a:pt x="1471226" y="374093"/>
                  </a:lnTo>
                  <a:lnTo>
                    <a:pt x="1478554" y="374093"/>
                  </a:lnTo>
                  <a:lnTo>
                    <a:pt x="1478554" y="366239"/>
                  </a:lnTo>
                  <a:lnTo>
                    <a:pt x="1487182" y="366239"/>
                  </a:lnTo>
                  <a:lnTo>
                    <a:pt x="1487182" y="374093"/>
                  </a:lnTo>
                  <a:lnTo>
                    <a:pt x="1494261" y="374093"/>
                  </a:lnTo>
                  <a:lnTo>
                    <a:pt x="1494261" y="366239"/>
                  </a:lnTo>
                  <a:lnTo>
                    <a:pt x="1503470" y="366239"/>
                  </a:lnTo>
                  <a:lnTo>
                    <a:pt x="1503470" y="374093"/>
                  </a:lnTo>
                  <a:lnTo>
                    <a:pt x="1510466" y="374093"/>
                  </a:lnTo>
                  <a:lnTo>
                    <a:pt x="1510466" y="366599"/>
                  </a:lnTo>
                  <a:lnTo>
                    <a:pt x="1519038" y="366599"/>
                  </a:lnTo>
                  <a:lnTo>
                    <a:pt x="1519038" y="374093"/>
                  </a:lnTo>
                  <a:lnTo>
                    <a:pt x="1525703" y="374093"/>
                  </a:lnTo>
                  <a:lnTo>
                    <a:pt x="1525703" y="366599"/>
                  </a:lnTo>
                  <a:lnTo>
                    <a:pt x="1534607" y="366599"/>
                  </a:lnTo>
                  <a:lnTo>
                    <a:pt x="1534607" y="374093"/>
                  </a:lnTo>
                  <a:lnTo>
                    <a:pt x="1542101" y="374093"/>
                  </a:lnTo>
                  <a:lnTo>
                    <a:pt x="1542101" y="366599"/>
                  </a:lnTo>
                  <a:lnTo>
                    <a:pt x="1551144" y="366599"/>
                  </a:lnTo>
                  <a:lnTo>
                    <a:pt x="1551144" y="374093"/>
                  </a:lnTo>
                  <a:lnTo>
                    <a:pt x="1558002" y="374093"/>
                  </a:lnTo>
                  <a:lnTo>
                    <a:pt x="1558002" y="366239"/>
                  </a:lnTo>
                  <a:lnTo>
                    <a:pt x="1563256" y="366239"/>
                  </a:lnTo>
                  <a:lnTo>
                    <a:pt x="1566187" y="369779"/>
                  </a:lnTo>
                  <a:lnTo>
                    <a:pt x="1564722" y="370525"/>
                  </a:lnTo>
                  <a:lnTo>
                    <a:pt x="1564832" y="377743"/>
                  </a:lnTo>
                  <a:lnTo>
                    <a:pt x="1565441" y="379319"/>
                  </a:lnTo>
                  <a:lnTo>
                    <a:pt x="1564224" y="381393"/>
                  </a:lnTo>
                  <a:lnTo>
                    <a:pt x="1564224" y="383965"/>
                  </a:lnTo>
                  <a:lnTo>
                    <a:pt x="1566906" y="386150"/>
                  </a:lnTo>
                  <a:lnTo>
                    <a:pt x="1561293" y="386288"/>
                  </a:lnTo>
                  <a:lnTo>
                    <a:pt x="1557366" y="383218"/>
                  </a:lnTo>
                  <a:lnTo>
                    <a:pt x="1546498" y="384573"/>
                  </a:lnTo>
                  <a:lnTo>
                    <a:pt x="1545033" y="388279"/>
                  </a:lnTo>
                  <a:lnTo>
                    <a:pt x="1541355" y="386647"/>
                  </a:lnTo>
                  <a:lnTo>
                    <a:pt x="1533529" y="388030"/>
                  </a:lnTo>
                  <a:lnTo>
                    <a:pt x="1531317" y="391210"/>
                  </a:lnTo>
                  <a:lnTo>
                    <a:pt x="1528634" y="389413"/>
                  </a:lnTo>
                  <a:lnTo>
                    <a:pt x="1521417" y="391293"/>
                  </a:lnTo>
                  <a:cubicBezTo>
                    <a:pt x="1521417" y="391293"/>
                    <a:pt x="1516439" y="401193"/>
                    <a:pt x="1516439" y="401193"/>
                  </a:cubicBezTo>
                  <a:lnTo>
                    <a:pt x="1518513" y="403267"/>
                  </a:lnTo>
                  <a:lnTo>
                    <a:pt x="1518513" y="413471"/>
                  </a:lnTo>
                  <a:lnTo>
                    <a:pt x="1518596" y="413913"/>
                  </a:lnTo>
                  <a:lnTo>
                    <a:pt x="1515914" y="417951"/>
                  </a:lnTo>
                  <a:lnTo>
                    <a:pt x="1512761" y="430008"/>
                  </a:lnTo>
                  <a:lnTo>
                    <a:pt x="1519951" y="437502"/>
                  </a:lnTo>
                  <a:lnTo>
                    <a:pt x="1520504" y="721777"/>
                  </a:lnTo>
                  <a:lnTo>
                    <a:pt x="1525205" y="432248"/>
                  </a:lnTo>
                  <a:lnTo>
                    <a:pt x="1519951" y="428210"/>
                  </a:lnTo>
                  <a:lnTo>
                    <a:pt x="1521776" y="419416"/>
                  </a:lnTo>
                  <a:lnTo>
                    <a:pt x="1523186" y="417923"/>
                  </a:lnTo>
                  <a:lnTo>
                    <a:pt x="1523186" y="405700"/>
                  </a:lnTo>
                  <a:lnTo>
                    <a:pt x="1522993" y="401801"/>
                  </a:lnTo>
                  <a:lnTo>
                    <a:pt x="1521776" y="400197"/>
                  </a:lnTo>
                  <a:lnTo>
                    <a:pt x="1525205" y="395303"/>
                  </a:lnTo>
                  <a:lnTo>
                    <a:pt x="1529381" y="394556"/>
                  </a:lnTo>
                  <a:lnTo>
                    <a:pt x="1532672" y="397736"/>
                  </a:lnTo>
                  <a:lnTo>
                    <a:pt x="1535354" y="392980"/>
                  </a:lnTo>
                  <a:lnTo>
                    <a:pt x="1542461" y="391763"/>
                  </a:lnTo>
                  <a:lnTo>
                    <a:pt x="1545641" y="394943"/>
                  </a:lnTo>
                  <a:lnTo>
                    <a:pt x="1548683" y="389938"/>
                  </a:lnTo>
                  <a:lnTo>
                    <a:pt x="1557255" y="389081"/>
                  </a:lnTo>
                  <a:lnTo>
                    <a:pt x="1557255" y="398621"/>
                  </a:lnTo>
                  <a:lnTo>
                    <a:pt x="1565081" y="398870"/>
                  </a:lnTo>
                  <a:lnTo>
                    <a:pt x="1565219" y="389108"/>
                  </a:lnTo>
                  <a:lnTo>
                    <a:pt x="1575368" y="389108"/>
                  </a:lnTo>
                  <a:lnTo>
                    <a:pt x="1575368" y="399506"/>
                  </a:lnTo>
                  <a:lnTo>
                    <a:pt x="1583554" y="399755"/>
                  </a:lnTo>
                  <a:lnTo>
                    <a:pt x="1583554" y="389136"/>
                  </a:lnTo>
                  <a:lnTo>
                    <a:pt x="1589306" y="389136"/>
                  </a:lnTo>
                  <a:lnTo>
                    <a:pt x="1592237" y="390104"/>
                  </a:lnTo>
                  <a:lnTo>
                    <a:pt x="1594808" y="394003"/>
                  </a:lnTo>
                  <a:lnTo>
                    <a:pt x="1597850" y="391182"/>
                  </a:lnTo>
                  <a:lnTo>
                    <a:pt x="1603602" y="392648"/>
                  </a:lnTo>
                  <a:lnTo>
                    <a:pt x="1606063" y="396437"/>
                  </a:lnTo>
                  <a:lnTo>
                    <a:pt x="1609105" y="394114"/>
                  </a:lnTo>
                  <a:lnTo>
                    <a:pt x="1612894" y="395690"/>
                  </a:lnTo>
                  <a:lnTo>
                    <a:pt x="1616184" y="400087"/>
                  </a:lnTo>
                  <a:lnTo>
                    <a:pt x="1614470" y="402299"/>
                  </a:lnTo>
                  <a:lnTo>
                    <a:pt x="1614470" y="417702"/>
                  </a:lnTo>
                  <a:lnTo>
                    <a:pt x="1617650" y="421242"/>
                  </a:lnTo>
                  <a:lnTo>
                    <a:pt x="1613253" y="428736"/>
                  </a:lnTo>
                  <a:lnTo>
                    <a:pt x="1615383" y="666250"/>
                  </a:lnTo>
                  <a:lnTo>
                    <a:pt x="1620581" y="449724"/>
                  </a:lnTo>
                  <a:lnTo>
                    <a:pt x="1620581" y="434073"/>
                  </a:lnTo>
                  <a:lnTo>
                    <a:pt x="1621411" y="434073"/>
                  </a:lnTo>
                  <a:lnTo>
                    <a:pt x="1621411" y="434239"/>
                  </a:lnTo>
                  <a:lnTo>
                    <a:pt x="1627771" y="434239"/>
                  </a:lnTo>
                  <a:lnTo>
                    <a:pt x="1627771" y="426413"/>
                  </a:lnTo>
                  <a:lnTo>
                    <a:pt x="1636261" y="426413"/>
                  </a:lnTo>
                  <a:lnTo>
                    <a:pt x="1636261" y="434239"/>
                  </a:lnTo>
                  <a:lnTo>
                    <a:pt x="1641957" y="434239"/>
                  </a:lnTo>
                  <a:lnTo>
                    <a:pt x="1641957" y="426413"/>
                  </a:lnTo>
                  <a:lnTo>
                    <a:pt x="1650281" y="426413"/>
                  </a:lnTo>
                  <a:lnTo>
                    <a:pt x="1650281" y="434239"/>
                  </a:lnTo>
                  <a:lnTo>
                    <a:pt x="1656641" y="434239"/>
                  </a:lnTo>
                  <a:lnTo>
                    <a:pt x="1656641" y="426413"/>
                  </a:lnTo>
                  <a:lnTo>
                    <a:pt x="1665463" y="426413"/>
                  </a:lnTo>
                  <a:lnTo>
                    <a:pt x="1665463" y="434239"/>
                  </a:lnTo>
                  <a:lnTo>
                    <a:pt x="1672155" y="434239"/>
                  </a:lnTo>
                  <a:lnTo>
                    <a:pt x="1672155" y="426413"/>
                  </a:lnTo>
                  <a:lnTo>
                    <a:pt x="1680312" y="426413"/>
                  </a:lnTo>
                  <a:lnTo>
                    <a:pt x="1680312" y="434239"/>
                  </a:lnTo>
                  <a:lnTo>
                    <a:pt x="1687972" y="434239"/>
                  </a:lnTo>
                  <a:lnTo>
                    <a:pt x="1687972" y="426413"/>
                  </a:lnTo>
                  <a:lnTo>
                    <a:pt x="1696130" y="426413"/>
                  </a:lnTo>
                  <a:lnTo>
                    <a:pt x="1696130" y="434239"/>
                  </a:lnTo>
                  <a:lnTo>
                    <a:pt x="1703292" y="434239"/>
                  </a:lnTo>
                  <a:lnTo>
                    <a:pt x="1703292" y="426413"/>
                  </a:lnTo>
                  <a:lnTo>
                    <a:pt x="1708187" y="426413"/>
                  </a:lnTo>
                  <a:lnTo>
                    <a:pt x="1712114" y="430976"/>
                  </a:lnTo>
                  <a:lnTo>
                    <a:pt x="1710316" y="433105"/>
                  </a:lnTo>
                  <a:lnTo>
                    <a:pt x="1710648" y="443862"/>
                  </a:lnTo>
                  <a:lnTo>
                    <a:pt x="1713109" y="445162"/>
                  </a:lnTo>
                  <a:lnTo>
                    <a:pt x="1708215" y="450803"/>
                  </a:lnTo>
                  <a:lnTo>
                    <a:pt x="1718833" y="837645"/>
                  </a:lnTo>
                  <a:lnTo>
                    <a:pt x="1723009" y="669347"/>
                  </a:lnTo>
                  <a:lnTo>
                    <a:pt x="1731803" y="669153"/>
                  </a:lnTo>
                  <a:lnTo>
                    <a:pt x="1731803" y="663125"/>
                  </a:lnTo>
                  <a:lnTo>
                    <a:pt x="1856989" y="663125"/>
                  </a:lnTo>
                  <a:lnTo>
                    <a:pt x="1856989" y="633923"/>
                  </a:lnTo>
                  <a:lnTo>
                    <a:pt x="1921089" y="633923"/>
                  </a:lnTo>
                  <a:lnTo>
                    <a:pt x="1921089" y="371549"/>
                  </a:lnTo>
                  <a:lnTo>
                    <a:pt x="1923108" y="371549"/>
                  </a:lnTo>
                  <a:lnTo>
                    <a:pt x="1923108" y="363502"/>
                  </a:lnTo>
                  <a:lnTo>
                    <a:pt x="1922693" y="362340"/>
                  </a:lnTo>
                  <a:lnTo>
                    <a:pt x="1922693" y="360570"/>
                  </a:lnTo>
                  <a:lnTo>
                    <a:pt x="1923523" y="359907"/>
                  </a:lnTo>
                  <a:lnTo>
                    <a:pt x="1923523" y="356644"/>
                  </a:lnTo>
                  <a:lnTo>
                    <a:pt x="1924352" y="356229"/>
                  </a:lnTo>
                  <a:lnTo>
                    <a:pt x="1924352" y="337867"/>
                  </a:lnTo>
                  <a:lnTo>
                    <a:pt x="1922666" y="335433"/>
                  </a:lnTo>
                  <a:lnTo>
                    <a:pt x="1922666" y="329294"/>
                  </a:lnTo>
                  <a:lnTo>
                    <a:pt x="1924352" y="324510"/>
                  </a:lnTo>
                  <a:lnTo>
                    <a:pt x="1925348" y="324510"/>
                  </a:lnTo>
                  <a:lnTo>
                    <a:pt x="1925348" y="317127"/>
                  </a:lnTo>
                  <a:lnTo>
                    <a:pt x="1931902" y="312675"/>
                  </a:lnTo>
                  <a:lnTo>
                    <a:pt x="1934833" y="312675"/>
                  </a:lnTo>
                  <a:lnTo>
                    <a:pt x="1934833" y="311430"/>
                  </a:lnTo>
                  <a:lnTo>
                    <a:pt x="1936520" y="310822"/>
                  </a:lnTo>
                  <a:lnTo>
                    <a:pt x="1936520" y="306038"/>
                  </a:lnTo>
                  <a:lnTo>
                    <a:pt x="1938207" y="304545"/>
                  </a:lnTo>
                  <a:lnTo>
                    <a:pt x="1938207" y="300922"/>
                  </a:lnTo>
                  <a:lnTo>
                    <a:pt x="1939451" y="300922"/>
                  </a:lnTo>
                  <a:lnTo>
                    <a:pt x="1939451" y="303411"/>
                  </a:lnTo>
                  <a:lnTo>
                    <a:pt x="1943322" y="299982"/>
                  </a:lnTo>
                  <a:lnTo>
                    <a:pt x="1943322" y="257202"/>
                  </a:lnTo>
                  <a:lnTo>
                    <a:pt x="1946835" y="252335"/>
                  </a:lnTo>
                  <a:lnTo>
                    <a:pt x="1946835" y="246639"/>
                  </a:lnTo>
                  <a:lnTo>
                    <a:pt x="1948189" y="244371"/>
                  </a:lnTo>
                  <a:lnTo>
                    <a:pt x="1947277" y="243127"/>
                  </a:lnTo>
                  <a:lnTo>
                    <a:pt x="1948687" y="240113"/>
                  </a:lnTo>
                  <a:lnTo>
                    <a:pt x="1950125" y="242214"/>
                  </a:lnTo>
                  <a:lnTo>
                    <a:pt x="1952227" y="240113"/>
                  </a:lnTo>
                  <a:lnTo>
                    <a:pt x="1952227" y="236020"/>
                  </a:lnTo>
                  <a:lnTo>
                    <a:pt x="1954080" y="234167"/>
                  </a:lnTo>
                  <a:lnTo>
                    <a:pt x="1954080" y="229632"/>
                  </a:lnTo>
                  <a:lnTo>
                    <a:pt x="1957758" y="226203"/>
                  </a:lnTo>
                  <a:lnTo>
                    <a:pt x="1962790" y="226203"/>
                  </a:lnTo>
                  <a:lnTo>
                    <a:pt x="1963454" y="225539"/>
                  </a:lnTo>
                  <a:lnTo>
                    <a:pt x="1963454" y="203306"/>
                  </a:lnTo>
                  <a:lnTo>
                    <a:pt x="1968570" y="199379"/>
                  </a:lnTo>
                  <a:lnTo>
                    <a:pt x="1968570" y="197941"/>
                  </a:lnTo>
                  <a:lnTo>
                    <a:pt x="1971363" y="196448"/>
                  </a:lnTo>
                  <a:lnTo>
                    <a:pt x="1971363" y="192217"/>
                  </a:lnTo>
                  <a:cubicBezTo>
                    <a:pt x="1971114" y="191968"/>
                    <a:pt x="1970865" y="191664"/>
                    <a:pt x="1970589" y="191498"/>
                  </a:cubicBezTo>
                  <a:cubicBezTo>
                    <a:pt x="1969759" y="191028"/>
                    <a:pt x="1968929" y="190917"/>
                    <a:pt x="1967989" y="190834"/>
                  </a:cubicBezTo>
                  <a:cubicBezTo>
                    <a:pt x="1966109" y="190696"/>
                    <a:pt x="1966524" y="187848"/>
                    <a:pt x="1964726" y="187488"/>
                  </a:cubicBezTo>
                  <a:cubicBezTo>
                    <a:pt x="1964699" y="186852"/>
                    <a:pt x="1964505" y="186161"/>
                    <a:pt x="1965113" y="185995"/>
                  </a:cubicBezTo>
                  <a:cubicBezTo>
                    <a:pt x="1965915" y="185774"/>
                    <a:pt x="1967077" y="186078"/>
                    <a:pt x="1967796" y="186410"/>
                  </a:cubicBezTo>
                  <a:cubicBezTo>
                    <a:pt x="1968625" y="186825"/>
                    <a:pt x="1969151" y="186908"/>
                    <a:pt x="1970063" y="187074"/>
                  </a:cubicBezTo>
                  <a:cubicBezTo>
                    <a:pt x="1970616" y="187184"/>
                    <a:pt x="1971031" y="187350"/>
                    <a:pt x="1971391" y="187682"/>
                  </a:cubicBezTo>
                  <a:lnTo>
                    <a:pt x="1971391" y="185497"/>
                  </a:lnTo>
                  <a:cubicBezTo>
                    <a:pt x="1971142" y="185553"/>
                    <a:pt x="1970865" y="185663"/>
                    <a:pt x="1970616" y="185719"/>
                  </a:cubicBezTo>
                  <a:cubicBezTo>
                    <a:pt x="1969759" y="185885"/>
                    <a:pt x="1969206" y="185774"/>
                    <a:pt x="1968487" y="185331"/>
                  </a:cubicBezTo>
                  <a:cubicBezTo>
                    <a:pt x="1967215" y="184585"/>
                    <a:pt x="1965915" y="184806"/>
                    <a:pt x="1964505" y="184723"/>
                  </a:cubicBezTo>
                  <a:cubicBezTo>
                    <a:pt x="1964560" y="184253"/>
                    <a:pt x="1964422" y="183755"/>
                    <a:pt x="1964118" y="183451"/>
                  </a:cubicBezTo>
                  <a:cubicBezTo>
                    <a:pt x="1964588" y="182621"/>
                    <a:pt x="1965335" y="183036"/>
                    <a:pt x="1966164" y="182787"/>
                  </a:cubicBezTo>
                  <a:cubicBezTo>
                    <a:pt x="1967077" y="182483"/>
                    <a:pt x="1967298" y="181488"/>
                    <a:pt x="1968238" y="181377"/>
                  </a:cubicBezTo>
                  <a:cubicBezTo>
                    <a:pt x="1968985" y="181294"/>
                    <a:pt x="1970561" y="181571"/>
                    <a:pt x="1971391" y="182151"/>
                  </a:cubicBezTo>
                  <a:lnTo>
                    <a:pt x="1971391" y="180879"/>
                  </a:lnTo>
                  <a:cubicBezTo>
                    <a:pt x="1971031" y="180769"/>
                    <a:pt x="1970561" y="180271"/>
                    <a:pt x="1970395" y="180133"/>
                  </a:cubicBezTo>
                  <a:cubicBezTo>
                    <a:pt x="1969704" y="179580"/>
                    <a:pt x="1969151" y="179663"/>
                    <a:pt x="1968293" y="179663"/>
                  </a:cubicBezTo>
                  <a:cubicBezTo>
                    <a:pt x="1967049" y="179635"/>
                    <a:pt x="1966164" y="179109"/>
                    <a:pt x="1965030" y="178612"/>
                  </a:cubicBezTo>
                  <a:cubicBezTo>
                    <a:pt x="1964145" y="178225"/>
                    <a:pt x="1963122" y="177948"/>
                    <a:pt x="1962182" y="178363"/>
                  </a:cubicBezTo>
                  <a:cubicBezTo>
                    <a:pt x="1962182" y="177091"/>
                    <a:pt x="1962348" y="175653"/>
                    <a:pt x="1961076" y="174906"/>
                  </a:cubicBezTo>
                  <a:cubicBezTo>
                    <a:pt x="1961684" y="174381"/>
                    <a:pt x="1961933" y="173966"/>
                    <a:pt x="1962763" y="173938"/>
                  </a:cubicBezTo>
                  <a:cubicBezTo>
                    <a:pt x="1964062" y="173883"/>
                    <a:pt x="1965252" y="174436"/>
                    <a:pt x="1966579" y="174298"/>
                  </a:cubicBezTo>
                  <a:cubicBezTo>
                    <a:pt x="1968266" y="174132"/>
                    <a:pt x="1969870" y="173800"/>
                    <a:pt x="1971418" y="174657"/>
                  </a:cubicBezTo>
                  <a:lnTo>
                    <a:pt x="1971418" y="171422"/>
                  </a:lnTo>
                  <a:lnTo>
                    <a:pt x="1972248" y="171422"/>
                  </a:lnTo>
                  <a:lnTo>
                    <a:pt x="1972248" y="196420"/>
                  </a:lnTo>
                  <a:lnTo>
                    <a:pt x="1975207" y="197997"/>
                  </a:lnTo>
                  <a:lnTo>
                    <a:pt x="1975207" y="199407"/>
                  </a:lnTo>
                  <a:lnTo>
                    <a:pt x="1980323" y="203361"/>
                  </a:lnTo>
                  <a:lnTo>
                    <a:pt x="1980323" y="225595"/>
                  </a:lnTo>
                  <a:lnTo>
                    <a:pt x="1980986" y="226258"/>
                  </a:lnTo>
                  <a:lnTo>
                    <a:pt x="1986019" y="226258"/>
                  </a:lnTo>
                  <a:lnTo>
                    <a:pt x="1989725" y="229715"/>
                  </a:lnTo>
                  <a:lnTo>
                    <a:pt x="1989725" y="234250"/>
                  </a:lnTo>
                  <a:lnTo>
                    <a:pt x="1991577" y="236103"/>
                  </a:lnTo>
                  <a:lnTo>
                    <a:pt x="1991577" y="240223"/>
                  </a:lnTo>
                  <a:lnTo>
                    <a:pt x="1993679" y="242325"/>
                  </a:lnTo>
                  <a:lnTo>
                    <a:pt x="1995117" y="240223"/>
                  </a:lnTo>
                  <a:lnTo>
                    <a:pt x="1996527" y="243237"/>
                  </a:lnTo>
                  <a:lnTo>
                    <a:pt x="1995615" y="244509"/>
                  </a:lnTo>
                  <a:lnTo>
                    <a:pt x="1996970" y="246777"/>
                  </a:lnTo>
                  <a:lnTo>
                    <a:pt x="1996970" y="252474"/>
                  </a:lnTo>
                  <a:lnTo>
                    <a:pt x="2000482" y="257341"/>
                  </a:lnTo>
                  <a:lnTo>
                    <a:pt x="2000482" y="300120"/>
                  </a:lnTo>
                  <a:lnTo>
                    <a:pt x="2004353" y="303549"/>
                  </a:lnTo>
                  <a:lnTo>
                    <a:pt x="2004353" y="301033"/>
                  </a:lnTo>
                  <a:lnTo>
                    <a:pt x="2005625" y="301033"/>
                  </a:lnTo>
                  <a:lnTo>
                    <a:pt x="2005625" y="304655"/>
                  </a:lnTo>
                  <a:lnTo>
                    <a:pt x="2007312" y="306149"/>
                  </a:lnTo>
                  <a:lnTo>
                    <a:pt x="2007312" y="310933"/>
                  </a:lnTo>
                  <a:lnTo>
                    <a:pt x="2008999" y="311513"/>
                  </a:lnTo>
                  <a:lnTo>
                    <a:pt x="2008999" y="312785"/>
                  </a:lnTo>
                  <a:lnTo>
                    <a:pt x="2011930" y="312785"/>
                  </a:lnTo>
                  <a:lnTo>
                    <a:pt x="2018484" y="317238"/>
                  </a:lnTo>
                  <a:lnTo>
                    <a:pt x="2018484" y="324621"/>
                  </a:lnTo>
                  <a:lnTo>
                    <a:pt x="2019480" y="324621"/>
                  </a:lnTo>
                  <a:lnTo>
                    <a:pt x="2021166" y="329405"/>
                  </a:lnTo>
                  <a:lnTo>
                    <a:pt x="2021166" y="335516"/>
                  </a:lnTo>
                  <a:lnTo>
                    <a:pt x="2019480" y="337950"/>
                  </a:lnTo>
                  <a:lnTo>
                    <a:pt x="2019480" y="356312"/>
                  </a:lnTo>
                  <a:lnTo>
                    <a:pt x="2020337" y="356726"/>
                  </a:lnTo>
                  <a:lnTo>
                    <a:pt x="2020337" y="360017"/>
                  </a:lnTo>
                  <a:lnTo>
                    <a:pt x="2021166" y="360681"/>
                  </a:lnTo>
                  <a:lnTo>
                    <a:pt x="2021166" y="362451"/>
                  </a:lnTo>
                  <a:lnTo>
                    <a:pt x="2020752" y="363612"/>
                  </a:lnTo>
                  <a:lnTo>
                    <a:pt x="2020752" y="371659"/>
                  </a:lnTo>
                  <a:lnTo>
                    <a:pt x="2022770" y="371659"/>
                  </a:lnTo>
                  <a:lnTo>
                    <a:pt x="2022770" y="634033"/>
                  </a:lnTo>
                  <a:lnTo>
                    <a:pt x="2086871" y="634033"/>
                  </a:lnTo>
                  <a:lnTo>
                    <a:pt x="2086871" y="663235"/>
                  </a:lnTo>
                  <a:lnTo>
                    <a:pt x="2212057" y="663235"/>
                  </a:lnTo>
                  <a:lnTo>
                    <a:pt x="2212057" y="669264"/>
                  </a:lnTo>
                  <a:lnTo>
                    <a:pt x="2220602" y="668600"/>
                  </a:lnTo>
                  <a:lnTo>
                    <a:pt x="2228206" y="843230"/>
                  </a:lnTo>
                  <a:lnTo>
                    <a:pt x="2237387" y="623027"/>
                  </a:lnTo>
                  <a:lnTo>
                    <a:pt x="2256689" y="623027"/>
                  </a:lnTo>
                  <a:cubicBezTo>
                    <a:pt x="2276295" y="574690"/>
                    <a:pt x="2322504" y="540704"/>
                    <a:pt x="2376428" y="540704"/>
                  </a:cubicBezTo>
                  <a:cubicBezTo>
                    <a:pt x="2430352" y="540704"/>
                    <a:pt x="2476560" y="574662"/>
                    <a:pt x="2496167" y="623027"/>
                  </a:cubicBezTo>
                  <a:lnTo>
                    <a:pt x="2517681" y="623027"/>
                  </a:lnTo>
                  <a:lnTo>
                    <a:pt x="2517681" y="638873"/>
                  </a:lnTo>
                  <a:lnTo>
                    <a:pt x="2400210" y="638873"/>
                  </a:lnTo>
                  <a:lnTo>
                    <a:pt x="2406376" y="840908"/>
                  </a:lnTo>
                  <a:lnTo>
                    <a:pt x="2413483" y="651289"/>
                  </a:lnTo>
                  <a:lnTo>
                    <a:pt x="2854525" y="651289"/>
                  </a:lnTo>
                  <a:lnTo>
                    <a:pt x="2862849" y="838999"/>
                  </a:lnTo>
                  <a:lnTo>
                    <a:pt x="2868435" y="637380"/>
                  </a:lnTo>
                  <a:lnTo>
                    <a:pt x="2674641" y="637380"/>
                  </a:lnTo>
                  <a:lnTo>
                    <a:pt x="2674806" y="627175"/>
                  </a:lnTo>
                  <a:lnTo>
                    <a:pt x="2580039" y="627175"/>
                  </a:lnTo>
                  <a:cubicBezTo>
                    <a:pt x="2580039" y="627175"/>
                    <a:pt x="2580122" y="636522"/>
                    <a:pt x="2580122" y="636522"/>
                  </a:cubicBezTo>
                  <a:lnTo>
                    <a:pt x="2580039" y="636522"/>
                  </a:lnTo>
                  <a:lnTo>
                    <a:pt x="2580039" y="637352"/>
                  </a:lnTo>
                  <a:lnTo>
                    <a:pt x="2531590" y="637352"/>
                  </a:lnTo>
                  <a:lnTo>
                    <a:pt x="2531590" y="609090"/>
                  </a:lnTo>
                  <a:lnTo>
                    <a:pt x="2505237" y="609090"/>
                  </a:lnTo>
                  <a:cubicBezTo>
                    <a:pt x="2494286" y="586276"/>
                    <a:pt x="2477805" y="566753"/>
                    <a:pt x="2457175" y="552318"/>
                  </a:cubicBezTo>
                  <a:cubicBezTo>
                    <a:pt x="2433338" y="535615"/>
                    <a:pt x="2405409" y="526766"/>
                    <a:pt x="2376456" y="526766"/>
                  </a:cubicBezTo>
                  <a:cubicBezTo>
                    <a:pt x="2357264" y="526766"/>
                    <a:pt x="2334865" y="532546"/>
                    <a:pt x="2317471" y="540040"/>
                  </a:cubicBezTo>
                  <a:lnTo>
                    <a:pt x="2321121" y="160112"/>
                  </a:lnTo>
                  <a:lnTo>
                    <a:pt x="2407925" y="160112"/>
                  </a:lnTo>
                  <a:lnTo>
                    <a:pt x="2407925" y="146257"/>
                  </a:lnTo>
                  <a:lnTo>
                    <a:pt x="2488258" y="146257"/>
                  </a:lnTo>
                  <a:lnTo>
                    <a:pt x="2488258" y="160112"/>
                  </a:lnTo>
                  <a:lnTo>
                    <a:pt x="2526143" y="160112"/>
                  </a:lnTo>
                  <a:close/>
                  <a:moveTo>
                    <a:pt x="2169913" y="0"/>
                  </a:moveTo>
                  <a:lnTo>
                    <a:pt x="2174974" y="0"/>
                  </a:lnTo>
                  <a:lnTo>
                    <a:pt x="2174974" y="37000"/>
                  </a:lnTo>
                  <a:lnTo>
                    <a:pt x="2224971" y="37000"/>
                  </a:lnTo>
                  <a:lnTo>
                    <a:pt x="2224971" y="49610"/>
                  </a:lnTo>
                  <a:lnTo>
                    <a:pt x="2278342" y="49610"/>
                  </a:lnTo>
                  <a:lnTo>
                    <a:pt x="2278342" y="91615"/>
                  </a:lnTo>
                  <a:lnTo>
                    <a:pt x="2302289" y="91615"/>
                  </a:lnTo>
                  <a:lnTo>
                    <a:pt x="2305663" y="545931"/>
                  </a:lnTo>
                  <a:cubicBezTo>
                    <a:pt x="2303423" y="547314"/>
                    <a:pt x="2297809" y="550687"/>
                    <a:pt x="2295625" y="552208"/>
                  </a:cubicBezTo>
                  <a:cubicBezTo>
                    <a:pt x="2275023" y="566643"/>
                    <a:pt x="2258542" y="586139"/>
                    <a:pt x="2247563" y="608980"/>
                  </a:cubicBezTo>
                  <a:lnTo>
                    <a:pt x="2223395" y="608980"/>
                  </a:lnTo>
                  <a:lnTo>
                    <a:pt x="2223395" y="649161"/>
                  </a:lnTo>
                  <a:lnTo>
                    <a:pt x="2100752" y="649161"/>
                  </a:lnTo>
                  <a:lnTo>
                    <a:pt x="2100752" y="619959"/>
                  </a:lnTo>
                  <a:lnTo>
                    <a:pt x="2086843" y="619959"/>
                  </a:lnTo>
                  <a:lnTo>
                    <a:pt x="2040164" y="619599"/>
                  </a:lnTo>
                  <a:lnTo>
                    <a:pt x="2042598" y="91588"/>
                  </a:lnTo>
                  <a:lnTo>
                    <a:pt x="2066545" y="91588"/>
                  </a:lnTo>
                  <a:lnTo>
                    <a:pt x="2066545" y="49582"/>
                  </a:lnTo>
                  <a:lnTo>
                    <a:pt x="2119916" y="49582"/>
                  </a:lnTo>
                  <a:lnTo>
                    <a:pt x="2119916" y="36972"/>
                  </a:lnTo>
                  <a:lnTo>
                    <a:pt x="2169913" y="36972"/>
                  </a:lnTo>
                  <a:close/>
                </a:path>
              </a:pathLst>
            </a:custGeom>
            <a:solidFill>
              <a:schemeClr val="bg1">
                <a:alpha val="17000"/>
              </a:schemeClr>
            </a:solidFill>
            <a:ln w="2761" cap="flat">
              <a:noFill/>
              <a:prstDash val="solid"/>
              <a:miter/>
            </a:ln>
          </p:spPr>
          <p:txBody>
            <a:bodyPr rtlCol="0" anchor="ctr"/>
            <a:lstStyle/>
            <a:p>
              <a:endParaRPr lang="en-US" sz="2419"/>
            </a:p>
          </p:txBody>
        </p:sp>
        <p:sp>
          <p:nvSpPr>
            <p:cNvPr id="27" name="Freeform: Shape 26">
              <a:extLst>
                <a:ext uri="{FF2B5EF4-FFF2-40B4-BE49-F238E27FC236}">
                  <a16:creationId xmlns:a16="http://schemas.microsoft.com/office/drawing/2014/main" id="{0EBD523E-D661-D7D3-3336-879B37AF4459}"/>
                </a:ext>
              </a:extLst>
            </p:cNvPr>
            <p:cNvSpPr/>
            <p:nvPr/>
          </p:nvSpPr>
          <p:spPr>
            <a:xfrm flipV="1">
              <a:off x="3600750" y="3446476"/>
              <a:ext cx="4977649" cy="671294"/>
            </a:xfrm>
            <a:custGeom>
              <a:avLst/>
              <a:gdLst>
                <a:gd name="connsiteX0" fmla="*/ 1968135 w 4012966"/>
                <a:gd name="connsiteY0" fmla="*/ 139020 h 541195"/>
                <a:gd name="connsiteX1" fmla="*/ 1968135 w 4012966"/>
                <a:gd name="connsiteY1" fmla="*/ 133183 h 541195"/>
                <a:gd name="connsiteX2" fmla="*/ 1970402 w 4012966"/>
                <a:gd name="connsiteY2" fmla="*/ 133183 h 541195"/>
                <a:gd name="connsiteX3" fmla="*/ 1970402 w 4012966"/>
                <a:gd name="connsiteY3" fmla="*/ 137097 h 541195"/>
                <a:gd name="connsiteX4" fmla="*/ 1969131 w 4012966"/>
                <a:gd name="connsiteY4" fmla="*/ 137097 h 541195"/>
                <a:gd name="connsiteX5" fmla="*/ 1969131 w 4012966"/>
                <a:gd name="connsiteY5" fmla="*/ 138402 h 541195"/>
                <a:gd name="connsiteX6" fmla="*/ 1981961 w 4012966"/>
                <a:gd name="connsiteY6" fmla="*/ 139037 h 541195"/>
                <a:gd name="connsiteX7" fmla="*/ 1980966 w 4012966"/>
                <a:gd name="connsiteY7" fmla="*/ 138419 h 541195"/>
                <a:gd name="connsiteX8" fmla="*/ 1980966 w 4012966"/>
                <a:gd name="connsiteY8" fmla="*/ 137114 h 541195"/>
                <a:gd name="connsiteX9" fmla="*/ 1979694 w 4012966"/>
                <a:gd name="connsiteY9" fmla="*/ 137114 h 541195"/>
                <a:gd name="connsiteX10" fmla="*/ 1979694 w 4012966"/>
                <a:gd name="connsiteY10" fmla="*/ 133217 h 541195"/>
                <a:gd name="connsiteX11" fmla="*/ 1981961 w 4012966"/>
                <a:gd name="connsiteY11" fmla="*/ 133217 h 541195"/>
                <a:gd name="connsiteX12" fmla="*/ 2633305 w 4012966"/>
                <a:gd name="connsiteY12" fmla="*/ 174092 h 541195"/>
                <a:gd name="connsiteX13" fmla="*/ 2633305 w 4012966"/>
                <a:gd name="connsiteY13" fmla="*/ 168084 h 541195"/>
                <a:gd name="connsiteX14" fmla="*/ 2637315 w 4012966"/>
                <a:gd name="connsiteY14" fmla="*/ 168084 h 541195"/>
                <a:gd name="connsiteX15" fmla="*/ 2637315 w 4012966"/>
                <a:gd name="connsiteY15" fmla="*/ 174092 h 541195"/>
                <a:gd name="connsiteX16" fmla="*/ 2626309 w 4012966"/>
                <a:gd name="connsiteY16" fmla="*/ 174092 h 541195"/>
                <a:gd name="connsiteX17" fmla="*/ 2626309 w 4012966"/>
                <a:gd name="connsiteY17" fmla="*/ 168084 h 541195"/>
                <a:gd name="connsiteX18" fmla="*/ 2631673 w 4012966"/>
                <a:gd name="connsiteY18" fmla="*/ 168084 h 541195"/>
                <a:gd name="connsiteX19" fmla="*/ 2631673 w 4012966"/>
                <a:gd name="connsiteY19" fmla="*/ 174092 h 541195"/>
                <a:gd name="connsiteX20" fmla="*/ 2619728 w 4012966"/>
                <a:gd name="connsiteY20" fmla="*/ 174092 h 541195"/>
                <a:gd name="connsiteX21" fmla="*/ 2619728 w 4012966"/>
                <a:gd name="connsiteY21" fmla="*/ 168084 h 541195"/>
                <a:gd name="connsiteX22" fmla="*/ 2624125 w 4012966"/>
                <a:gd name="connsiteY22" fmla="*/ 168084 h 541195"/>
                <a:gd name="connsiteX23" fmla="*/ 2624125 w 4012966"/>
                <a:gd name="connsiteY23" fmla="*/ 174092 h 541195"/>
                <a:gd name="connsiteX24" fmla="*/ 2639472 w 4012966"/>
                <a:gd name="connsiteY24" fmla="*/ 174110 h 541195"/>
                <a:gd name="connsiteX25" fmla="*/ 2639472 w 4012966"/>
                <a:gd name="connsiteY25" fmla="*/ 168101 h 541195"/>
                <a:gd name="connsiteX26" fmla="*/ 2643869 w 4012966"/>
                <a:gd name="connsiteY26" fmla="*/ 168101 h 541195"/>
                <a:gd name="connsiteX27" fmla="*/ 2643869 w 4012966"/>
                <a:gd name="connsiteY27" fmla="*/ 174110 h 541195"/>
                <a:gd name="connsiteX28" fmla="*/ 2626724 w 4012966"/>
                <a:gd name="connsiteY28" fmla="*/ 185818 h 541195"/>
                <a:gd name="connsiteX29" fmla="*/ 2626724 w 4012966"/>
                <a:gd name="connsiteY29" fmla="*/ 184770 h 541195"/>
                <a:gd name="connsiteX30" fmla="*/ 2631785 w 4012966"/>
                <a:gd name="connsiteY30" fmla="*/ 181629 h 541195"/>
                <a:gd name="connsiteX31" fmla="*/ 2636845 w 4012966"/>
                <a:gd name="connsiteY31" fmla="*/ 184770 h 541195"/>
                <a:gd name="connsiteX32" fmla="*/ 2636872 w 4012966"/>
                <a:gd name="connsiteY32" fmla="*/ 184770 h 541195"/>
                <a:gd name="connsiteX33" fmla="*/ 2636872 w 4012966"/>
                <a:gd name="connsiteY33" fmla="*/ 185818 h 541195"/>
                <a:gd name="connsiteX34" fmla="*/ 2626724 w 4012966"/>
                <a:gd name="connsiteY34" fmla="*/ 192118 h 541195"/>
                <a:gd name="connsiteX35" fmla="*/ 2626724 w 4012966"/>
                <a:gd name="connsiteY35" fmla="*/ 188667 h 541195"/>
                <a:gd name="connsiteX36" fmla="*/ 2636872 w 4012966"/>
                <a:gd name="connsiteY36" fmla="*/ 188667 h 541195"/>
                <a:gd name="connsiteX37" fmla="*/ 2636872 w 4012966"/>
                <a:gd name="connsiteY37" fmla="*/ 192118 h 541195"/>
                <a:gd name="connsiteX38" fmla="*/ 2621165 w 4012966"/>
                <a:gd name="connsiteY38" fmla="*/ 235414 h 541195"/>
                <a:gd name="connsiteX39" fmla="*/ 2621165 w 4012966"/>
                <a:gd name="connsiteY39" fmla="*/ 218882 h 541195"/>
                <a:gd name="connsiteX40" fmla="*/ 2625729 w 4012966"/>
                <a:gd name="connsiteY40" fmla="*/ 216049 h 541195"/>
                <a:gd name="connsiteX41" fmla="*/ 2630291 w 4012966"/>
                <a:gd name="connsiteY41" fmla="*/ 218882 h 541195"/>
                <a:gd name="connsiteX42" fmla="*/ 2630319 w 4012966"/>
                <a:gd name="connsiteY42" fmla="*/ 218882 h 541195"/>
                <a:gd name="connsiteX43" fmla="*/ 2630319 w 4012966"/>
                <a:gd name="connsiteY43" fmla="*/ 235414 h 541195"/>
                <a:gd name="connsiteX44" fmla="*/ 2633084 w 4012966"/>
                <a:gd name="connsiteY44" fmla="*/ 235431 h 541195"/>
                <a:gd name="connsiteX45" fmla="*/ 2633084 w 4012966"/>
                <a:gd name="connsiteY45" fmla="*/ 218899 h 541195"/>
                <a:gd name="connsiteX46" fmla="*/ 2637675 w 4012966"/>
                <a:gd name="connsiteY46" fmla="*/ 216066 h 541195"/>
                <a:gd name="connsiteX47" fmla="*/ 2642237 w 4012966"/>
                <a:gd name="connsiteY47" fmla="*/ 218899 h 541195"/>
                <a:gd name="connsiteX48" fmla="*/ 2642237 w 4012966"/>
                <a:gd name="connsiteY48" fmla="*/ 235431 h 541195"/>
                <a:gd name="connsiteX49" fmla="*/ 2600343 w 4012966"/>
                <a:gd name="connsiteY49" fmla="*/ 343396 h 541195"/>
                <a:gd name="connsiteX50" fmla="*/ 2663253 w 4012966"/>
                <a:gd name="connsiteY50" fmla="*/ 343396 h 541195"/>
                <a:gd name="connsiteX51" fmla="*/ 2660433 w 4012966"/>
                <a:gd name="connsiteY51" fmla="*/ 246641 h 541195"/>
                <a:gd name="connsiteX52" fmla="*/ 2663254 w 4012966"/>
                <a:gd name="connsiteY52" fmla="*/ 245353 h 541195"/>
                <a:gd name="connsiteX53" fmla="*/ 2663254 w 4012966"/>
                <a:gd name="connsiteY53" fmla="*/ 241559 h 541195"/>
                <a:gd name="connsiteX54" fmla="*/ 2658332 w 4012966"/>
                <a:gd name="connsiteY54" fmla="*/ 240272 h 541195"/>
                <a:gd name="connsiteX55" fmla="*/ 2658332 w 4012966"/>
                <a:gd name="connsiteY55" fmla="*/ 209543 h 541195"/>
                <a:gd name="connsiteX56" fmla="*/ 2660433 w 4012966"/>
                <a:gd name="connsiteY56" fmla="*/ 208890 h 541195"/>
                <a:gd name="connsiteX57" fmla="*/ 2660793 w 4012966"/>
                <a:gd name="connsiteY57" fmla="*/ 205096 h 541195"/>
                <a:gd name="connsiteX58" fmla="*/ 2657281 w 4012966"/>
                <a:gd name="connsiteY58" fmla="*/ 205096 h 541195"/>
                <a:gd name="connsiteX59" fmla="*/ 2657281 w 4012966"/>
                <a:gd name="connsiteY59" fmla="*/ 198710 h 541195"/>
                <a:gd name="connsiteX60" fmla="*/ 2653852 w 4012966"/>
                <a:gd name="connsiteY60" fmla="*/ 196307 h 541195"/>
                <a:gd name="connsiteX61" fmla="*/ 2655566 w 4012966"/>
                <a:gd name="connsiteY61" fmla="*/ 194264 h 541195"/>
                <a:gd name="connsiteX62" fmla="*/ 2655566 w 4012966"/>
                <a:gd name="connsiteY62" fmla="*/ 191122 h 541195"/>
                <a:gd name="connsiteX63" fmla="*/ 2652192 w 4012966"/>
                <a:gd name="connsiteY63" fmla="*/ 187980 h 541195"/>
                <a:gd name="connsiteX64" fmla="*/ 2652192 w 4012966"/>
                <a:gd name="connsiteY64" fmla="*/ 181680 h 541195"/>
                <a:gd name="connsiteX65" fmla="*/ 2654737 w 4012966"/>
                <a:gd name="connsiteY65" fmla="*/ 180479 h 541195"/>
                <a:gd name="connsiteX66" fmla="*/ 2654737 w 4012966"/>
                <a:gd name="connsiteY66" fmla="*/ 178161 h 541195"/>
                <a:gd name="connsiteX67" fmla="*/ 2652192 w 4012966"/>
                <a:gd name="connsiteY67" fmla="*/ 176221 h 541195"/>
                <a:gd name="connsiteX68" fmla="*/ 2646690 w 4012966"/>
                <a:gd name="connsiteY68" fmla="*/ 176221 h 541195"/>
                <a:gd name="connsiteX69" fmla="*/ 2646690 w 4012966"/>
                <a:gd name="connsiteY69" fmla="*/ 174092 h 541195"/>
                <a:gd name="connsiteX70" fmla="*/ 2645362 w 4012966"/>
                <a:gd name="connsiteY70" fmla="*/ 174092 h 541195"/>
                <a:gd name="connsiteX71" fmla="*/ 2645362 w 4012966"/>
                <a:gd name="connsiteY71" fmla="*/ 168084 h 541195"/>
                <a:gd name="connsiteX72" fmla="*/ 2647906 w 4012966"/>
                <a:gd name="connsiteY72" fmla="*/ 168084 h 541195"/>
                <a:gd name="connsiteX73" fmla="*/ 2647906 w 4012966"/>
                <a:gd name="connsiteY73" fmla="*/ 166333 h 541195"/>
                <a:gd name="connsiteX74" fmla="*/ 2646552 w 4012966"/>
                <a:gd name="connsiteY74" fmla="*/ 166333 h 541195"/>
                <a:gd name="connsiteX75" fmla="*/ 2634025 w 4012966"/>
                <a:gd name="connsiteY75" fmla="*/ 157904 h 541195"/>
                <a:gd name="connsiteX76" fmla="*/ 2634025 w 4012966"/>
                <a:gd name="connsiteY76" fmla="*/ 151895 h 541195"/>
                <a:gd name="connsiteX77" fmla="*/ 2632531 w 4012966"/>
                <a:gd name="connsiteY77" fmla="*/ 151895 h 541195"/>
                <a:gd name="connsiteX78" fmla="*/ 2632531 w 4012966"/>
                <a:gd name="connsiteY78" fmla="*/ 150470 h 541195"/>
                <a:gd name="connsiteX79" fmla="*/ 2633887 w 4012966"/>
                <a:gd name="connsiteY79" fmla="*/ 149200 h 541195"/>
                <a:gd name="connsiteX80" fmla="*/ 2631785 w 4012966"/>
                <a:gd name="connsiteY80" fmla="*/ 147844 h 541195"/>
                <a:gd name="connsiteX81" fmla="*/ 2629711 w 4012966"/>
                <a:gd name="connsiteY81" fmla="*/ 149200 h 541195"/>
                <a:gd name="connsiteX82" fmla="*/ 2630900 w 4012966"/>
                <a:gd name="connsiteY82" fmla="*/ 150419 h 541195"/>
                <a:gd name="connsiteX83" fmla="*/ 2630900 w 4012966"/>
                <a:gd name="connsiteY83" fmla="*/ 151878 h 541195"/>
                <a:gd name="connsiteX84" fmla="*/ 2629572 w 4012966"/>
                <a:gd name="connsiteY84" fmla="*/ 151878 h 541195"/>
                <a:gd name="connsiteX85" fmla="*/ 2629572 w 4012966"/>
                <a:gd name="connsiteY85" fmla="*/ 157886 h 541195"/>
                <a:gd name="connsiteX86" fmla="*/ 2617046 w 4012966"/>
                <a:gd name="connsiteY86" fmla="*/ 166316 h 541195"/>
                <a:gd name="connsiteX87" fmla="*/ 2615718 w 4012966"/>
                <a:gd name="connsiteY87" fmla="*/ 166316 h 541195"/>
                <a:gd name="connsiteX88" fmla="*/ 2615718 w 4012966"/>
                <a:gd name="connsiteY88" fmla="*/ 168067 h 541195"/>
                <a:gd name="connsiteX89" fmla="*/ 2618262 w 4012966"/>
                <a:gd name="connsiteY89" fmla="*/ 168067 h 541195"/>
                <a:gd name="connsiteX90" fmla="*/ 2618262 w 4012966"/>
                <a:gd name="connsiteY90" fmla="*/ 174075 h 541195"/>
                <a:gd name="connsiteX91" fmla="*/ 2616907 w 4012966"/>
                <a:gd name="connsiteY91" fmla="*/ 174075 h 541195"/>
                <a:gd name="connsiteX92" fmla="*/ 2616907 w 4012966"/>
                <a:gd name="connsiteY92" fmla="*/ 176204 h 541195"/>
                <a:gd name="connsiteX93" fmla="*/ 2611404 w 4012966"/>
                <a:gd name="connsiteY93" fmla="*/ 176204 h 541195"/>
                <a:gd name="connsiteX94" fmla="*/ 2608860 w 4012966"/>
                <a:gd name="connsiteY94" fmla="*/ 178144 h 541195"/>
                <a:gd name="connsiteX95" fmla="*/ 2608860 w 4012966"/>
                <a:gd name="connsiteY95" fmla="*/ 180461 h 541195"/>
                <a:gd name="connsiteX96" fmla="*/ 2611404 w 4012966"/>
                <a:gd name="connsiteY96" fmla="*/ 181663 h 541195"/>
                <a:gd name="connsiteX97" fmla="*/ 2611404 w 4012966"/>
                <a:gd name="connsiteY97" fmla="*/ 187964 h 541195"/>
                <a:gd name="connsiteX98" fmla="*/ 2608058 w 4012966"/>
                <a:gd name="connsiteY98" fmla="*/ 191105 h 541195"/>
                <a:gd name="connsiteX99" fmla="*/ 2608058 w 4012966"/>
                <a:gd name="connsiteY99" fmla="*/ 194247 h 541195"/>
                <a:gd name="connsiteX100" fmla="*/ 2609773 w 4012966"/>
                <a:gd name="connsiteY100" fmla="*/ 196290 h 541195"/>
                <a:gd name="connsiteX101" fmla="*/ 2606343 w 4012966"/>
                <a:gd name="connsiteY101" fmla="*/ 198693 h 541195"/>
                <a:gd name="connsiteX102" fmla="*/ 2606343 w 4012966"/>
                <a:gd name="connsiteY102" fmla="*/ 205079 h 541195"/>
                <a:gd name="connsiteX103" fmla="*/ 2602832 w 4012966"/>
                <a:gd name="connsiteY103" fmla="*/ 205079 h 541195"/>
                <a:gd name="connsiteX104" fmla="*/ 2603191 w 4012966"/>
                <a:gd name="connsiteY104" fmla="*/ 208873 h 541195"/>
                <a:gd name="connsiteX105" fmla="*/ 2605265 w 4012966"/>
                <a:gd name="connsiteY105" fmla="*/ 209525 h 541195"/>
                <a:gd name="connsiteX106" fmla="*/ 2605265 w 4012966"/>
                <a:gd name="connsiteY106" fmla="*/ 240255 h 541195"/>
                <a:gd name="connsiteX107" fmla="*/ 2600343 w 4012966"/>
                <a:gd name="connsiteY107" fmla="*/ 241543 h 541195"/>
                <a:gd name="connsiteX108" fmla="*/ 2600343 w 4012966"/>
                <a:gd name="connsiteY108" fmla="*/ 245336 h 541195"/>
                <a:gd name="connsiteX109" fmla="*/ 2603191 w 4012966"/>
                <a:gd name="connsiteY109" fmla="*/ 246624 h 541195"/>
                <a:gd name="connsiteX110" fmla="*/ 2663254 w 4012966"/>
                <a:gd name="connsiteY110" fmla="*/ 343412 h 541195"/>
                <a:gd name="connsiteX111" fmla="*/ 2663281 w 4012966"/>
                <a:gd name="connsiteY111" fmla="*/ 343396 h 541195"/>
                <a:gd name="connsiteX112" fmla="*/ 2663253 w 4012966"/>
                <a:gd name="connsiteY112" fmla="*/ 343396 h 541195"/>
                <a:gd name="connsiteX113" fmla="*/ 3500595 w 4012966"/>
                <a:gd name="connsiteY113" fmla="*/ 354125 h 541195"/>
                <a:gd name="connsiteX114" fmla="*/ 3500595 w 4012966"/>
                <a:gd name="connsiteY114" fmla="*/ 319979 h 541195"/>
                <a:gd name="connsiteX115" fmla="*/ 3506818 w 4012966"/>
                <a:gd name="connsiteY115" fmla="*/ 312099 h 541195"/>
                <a:gd name="connsiteX116" fmla="*/ 3513040 w 4012966"/>
                <a:gd name="connsiteY116" fmla="*/ 319979 h 541195"/>
                <a:gd name="connsiteX117" fmla="*/ 3513040 w 4012966"/>
                <a:gd name="connsiteY117" fmla="*/ 354125 h 541195"/>
                <a:gd name="connsiteX118" fmla="*/ 3478445 w 4012966"/>
                <a:gd name="connsiteY118" fmla="*/ 354125 h 541195"/>
                <a:gd name="connsiteX119" fmla="*/ 3478445 w 4012966"/>
                <a:gd name="connsiteY119" fmla="*/ 319979 h 541195"/>
                <a:gd name="connsiteX120" fmla="*/ 3484308 w 4012966"/>
                <a:gd name="connsiteY120" fmla="*/ 312099 h 541195"/>
                <a:gd name="connsiteX121" fmla="*/ 3490170 w 4012966"/>
                <a:gd name="connsiteY121" fmla="*/ 319979 h 541195"/>
                <a:gd name="connsiteX122" fmla="*/ 3490170 w 4012966"/>
                <a:gd name="connsiteY122" fmla="*/ 354125 h 541195"/>
                <a:gd name="connsiteX123" fmla="*/ 3490142 w 4012966"/>
                <a:gd name="connsiteY123" fmla="*/ 354125 h 541195"/>
                <a:gd name="connsiteX124" fmla="*/ 3444598 w 4012966"/>
                <a:gd name="connsiteY124" fmla="*/ 355361 h 541195"/>
                <a:gd name="connsiteX125" fmla="*/ 3444598 w 4012966"/>
                <a:gd name="connsiteY125" fmla="*/ 349661 h 541195"/>
                <a:gd name="connsiteX126" fmla="*/ 3448082 w 4012966"/>
                <a:gd name="connsiteY126" fmla="*/ 349661 h 541195"/>
                <a:gd name="connsiteX127" fmla="*/ 3448082 w 4012966"/>
                <a:gd name="connsiteY127" fmla="*/ 314983 h 541195"/>
                <a:gd name="connsiteX128" fmla="*/ 3386387 w 4012966"/>
                <a:gd name="connsiteY128" fmla="*/ 319241 h 541195"/>
                <a:gd name="connsiteX129" fmla="*/ 3253126 w 4012966"/>
                <a:gd name="connsiteY129" fmla="*/ 363876 h 541195"/>
                <a:gd name="connsiteX130" fmla="*/ 3288771 w 4012966"/>
                <a:gd name="connsiteY130" fmla="*/ 339893 h 541195"/>
                <a:gd name="connsiteX131" fmla="*/ 3288771 w 4012966"/>
                <a:gd name="connsiteY131" fmla="*/ 331687 h 541195"/>
                <a:gd name="connsiteX132" fmla="*/ 3241290 w 4012966"/>
                <a:gd name="connsiteY132" fmla="*/ 340116 h 541195"/>
                <a:gd name="connsiteX133" fmla="*/ 3248508 w 4012966"/>
                <a:gd name="connsiteY133" fmla="*/ 341971 h 541195"/>
                <a:gd name="connsiteX134" fmla="*/ 3243779 w 4012966"/>
                <a:gd name="connsiteY134" fmla="*/ 346674 h 541195"/>
                <a:gd name="connsiteX135" fmla="*/ 3243752 w 4012966"/>
                <a:gd name="connsiteY135" fmla="*/ 346674 h 541195"/>
                <a:gd name="connsiteX136" fmla="*/ 3247457 w 4012966"/>
                <a:gd name="connsiteY136" fmla="*/ 352614 h 541195"/>
                <a:gd name="connsiteX137" fmla="*/ 3249393 w 4012966"/>
                <a:gd name="connsiteY137" fmla="*/ 355704 h 541195"/>
                <a:gd name="connsiteX138" fmla="*/ 3251356 w 4012966"/>
                <a:gd name="connsiteY138" fmla="*/ 356116 h 541195"/>
                <a:gd name="connsiteX139" fmla="*/ 3251356 w 4012966"/>
                <a:gd name="connsiteY139" fmla="*/ 360734 h 541195"/>
                <a:gd name="connsiteX140" fmla="*/ 3253126 w 4012966"/>
                <a:gd name="connsiteY140" fmla="*/ 361284 h 541195"/>
                <a:gd name="connsiteX141" fmla="*/ 2638616 w 4012966"/>
                <a:gd name="connsiteY141" fmla="*/ 367154 h 541195"/>
                <a:gd name="connsiteX142" fmla="*/ 2636320 w 4012966"/>
                <a:gd name="connsiteY142" fmla="*/ 362073 h 541195"/>
                <a:gd name="connsiteX143" fmla="*/ 2640911 w 4012966"/>
                <a:gd name="connsiteY143" fmla="*/ 362073 h 541195"/>
                <a:gd name="connsiteX144" fmla="*/ 2671219 w 4012966"/>
                <a:gd name="connsiteY144" fmla="*/ 367738 h 541195"/>
                <a:gd name="connsiteX145" fmla="*/ 2668205 w 4012966"/>
                <a:gd name="connsiteY145" fmla="*/ 362073 h 541195"/>
                <a:gd name="connsiteX146" fmla="*/ 2674233 w 4012966"/>
                <a:gd name="connsiteY146" fmla="*/ 362073 h 541195"/>
                <a:gd name="connsiteX147" fmla="*/ 2606704 w 4012966"/>
                <a:gd name="connsiteY147" fmla="*/ 368081 h 541195"/>
                <a:gd name="connsiteX148" fmla="*/ 2603137 w 4012966"/>
                <a:gd name="connsiteY148" fmla="*/ 362073 h 541195"/>
                <a:gd name="connsiteX149" fmla="*/ 2610244 w 4012966"/>
                <a:gd name="connsiteY149" fmla="*/ 362073 h 541195"/>
                <a:gd name="connsiteX150" fmla="*/ 2590582 w 4012966"/>
                <a:gd name="connsiteY150" fmla="*/ 368820 h 541195"/>
                <a:gd name="connsiteX151" fmla="*/ 2585273 w 4012966"/>
                <a:gd name="connsiteY151" fmla="*/ 362073 h 541195"/>
                <a:gd name="connsiteX152" fmla="*/ 2595891 w 4012966"/>
                <a:gd name="connsiteY152" fmla="*/ 362073 h 541195"/>
                <a:gd name="connsiteX153" fmla="*/ 2623545 w 4012966"/>
                <a:gd name="connsiteY153" fmla="*/ 368940 h 541195"/>
                <a:gd name="connsiteX154" fmla="*/ 2617793 w 4012966"/>
                <a:gd name="connsiteY154" fmla="*/ 362073 h 541195"/>
                <a:gd name="connsiteX155" fmla="*/ 2629297 w 4012966"/>
                <a:gd name="connsiteY155" fmla="*/ 362073 h 541195"/>
                <a:gd name="connsiteX156" fmla="*/ 2654544 w 4012966"/>
                <a:gd name="connsiteY156" fmla="*/ 369077 h 541195"/>
                <a:gd name="connsiteX157" fmla="*/ 2648267 w 4012966"/>
                <a:gd name="connsiteY157" fmla="*/ 362073 h 541195"/>
                <a:gd name="connsiteX158" fmla="*/ 2660822 w 4012966"/>
                <a:gd name="connsiteY158" fmla="*/ 362073 h 541195"/>
                <a:gd name="connsiteX159" fmla="*/ 2583171 w 4012966"/>
                <a:gd name="connsiteY159" fmla="*/ 378193 h 541195"/>
                <a:gd name="connsiteX160" fmla="*/ 2583171 w 4012966"/>
                <a:gd name="connsiteY160" fmla="*/ 364802 h 541195"/>
                <a:gd name="connsiteX161" fmla="*/ 2588452 w 4012966"/>
                <a:gd name="connsiteY161" fmla="*/ 371497 h 541195"/>
                <a:gd name="connsiteX162" fmla="*/ 2676888 w 4012966"/>
                <a:gd name="connsiteY162" fmla="*/ 378331 h 541195"/>
                <a:gd name="connsiteX163" fmla="*/ 2673237 w 4012966"/>
                <a:gd name="connsiteY163" fmla="*/ 371497 h 541195"/>
                <a:gd name="connsiteX164" fmla="*/ 2676888 w 4012966"/>
                <a:gd name="connsiteY164" fmla="*/ 364665 h 541195"/>
                <a:gd name="connsiteX165" fmla="*/ 2632780 w 4012966"/>
                <a:gd name="connsiteY165" fmla="*/ 379978 h 541195"/>
                <a:gd name="connsiteX166" fmla="*/ 2625674 w 4012966"/>
                <a:gd name="connsiteY166" fmla="*/ 371497 h 541195"/>
                <a:gd name="connsiteX167" fmla="*/ 2632780 w 4012966"/>
                <a:gd name="connsiteY167" fmla="*/ 363017 h 541195"/>
                <a:gd name="connsiteX168" fmla="*/ 2636625 w 4012966"/>
                <a:gd name="connsiteY168" fmla="*/ 371497 h 541195"/>
                <a:gd name="connsiteX169" fmla="*/ 2599541 w 4012966"/>
                <a:gd name="connsiteY169" fmla="*/ 380167 h 541195"/>
                <a:gd name="connsiteX170" fmla="*/ 2592683 w 4012966"/>
                <a:gd name="connsiteY170" fmla="*/ 371497 h 541195"/>
                <a:gd name="connsiteX171" fmla="*/ 2599541 w 4012966"/>
                <a:gd name="connsiteY171" fmla="*/ 362828 h 541195"/>
                <a:gd name="connsiteX172" fmla="*/ 2604685 w 4012966"/>
                <a:gd name="connsiteY172" fmla="*/ 371497 h 541195"/>
                <a:gd name="connsiteX173" fmla="*/ 2644534 w 4012966"/>
                <a:gd name="connsiteY173" fmla="*/ 380201 h 541195"/>
                <a:gd name="connsiteX174" fmla="*/ 2640579 w 4012966"/>
                <a:gd name="connsiteY174" fmla="*/ 371497 h 541195"/>
                <a:gd name="connsiteX175" fmla="*/ 2644534 w 4012966"/>
                <a:gd name="connsiteY175" fmla="*/ 362794 h 541195"/>
                <a:gd name="connsiteX176" fmla="*/ 2652360 w 4012966"/>
                <a:gd name="connsiteY176" fmla="*/ 371497 h 541195"/>
                <a:gd name="connsiteX177" fmla="*/ 2664555 w 4012966"/>
                <a:gd name="connsiteY177" fmla="*/ 380236 h 541195"/>
                <a:gd name="connsiteX178" fmla="*/ 2656701 w 4012966"/>
                <a:gd name="connsiteY178" fmla="*/ 371497 h 541195"/>
                <a:gd name="connsiteX179" fmla="*/ 2664555 w 4012966"/>
                <a:gd name="connsiteY179" fmla="*/ 362742 h 541195"/>
                <a:gd name="connsiteX180" fmla="*/ 2669228 w 4012966"/>
                <a:gd name="connsiteY180" fmla="*/ 371497 h 541195"/>
                <a:gd name="connsiteX181" fmla="*/ 2613950 w 4012966"/>
                <a:gd name="connsiteY181" fmla="*/ 380356 h 541195"/>
                <a:gd name="connsiteX182" fmla="*/ 2608695 w 4012966"/>
                <a:gd name="connsiteY182" fmla="*/ 371497 h 541195"/>
                <a:gd name="connsiteX183" fmla="*/ 2613950 w 4012966"/>
                <a:gd name="connsiteY183" fmla="*/ 362622 h 541195"/>
                <a:gd name="connsiteX184" fmla="*/ 2621388 w 4012966"/>
                <a:gd name="connsiteY184" fmla="*/ 371497 h 541195"/>
                <a:gd name="connsiteX185" fmla="*/ 2668205 w 4012966"/>
                <a:gd name="connsiteY185" fmla="*/ 380940 h 541195"/>
                <a:gd name="connsiteX186" fmla="*/ 2671219 w 4012966"/>
                <a:gd name="connsiteY186" fmla="*/ 375257 h 541195"/>
                <a:gd name="connsiteX187" fmla="*/ 2674260 w 4012966"/>
                <a:gd name="connsiteY187" fmla="*/ 380940 h 541195"/>
                <a:gd name="connsiteX188" fmla="*/ 2648239 w 4012966"/>
                <a:gd name="connsiteY188" fmla="*/ 380940 h 541195"/>
                <a:gd name="connsiteX189" fmla="*/ 2654544 w 4012966"/>
                <a:gd name="connsiteY189" fmla="*/ 373918 h 541195"/>
                <a:gd name="connsiteX190" fmla="*/ 2660849 w 4012966"/>
                <a:gd name="connsiteY190" fmla="*/ 380940 h 541195"/>
                <a:gd name="connsiteX191" fmla="*/ 2648267 w 4012966"/>
                <a:gd name="connsiteY191" fmla="*/ 380940 h 541195"/>
                <a:gd name="connsiteX192" fmla="*/ 2636293 w 4012966"/>
                <a:gd name="connsiteY192" fmla="*/ 380940 h 541195"/>
                <a:gd name="connsiteX193" fmla="*/ 2638616 w 4012966"/>
                <a:gd name="connsiteY193" fmla="*/ 375841 h 541195"/>
                <a:gd name="connsiteX194" fmla="*/ 2640911 w 4012966"/>
                <a:gd name="connsiteY194" fmla="*/ 380940 h 541195"/>
                <a:gd name="connsiteX195" fmla="*/ 2617765 w 4012966"/>
                <a:gd name="connsiteY195" fmla="*/ 380940 h 541195"/>
                <a:gd name="connsiteX196" fmla="*/ 2623545 w 4012966"/>
                <a:gd name="connsiteY196" fmla="*/ 374056 h 541195"/>
                <a:gd name="connsiteX197" fmla="*/ 2629324 w 4012966"/>
                <a:gd name="connsiteY197" fmla="*/ 380940 h 541195"/>
                <a:gd name="connsiteX198" fmla="*/ 2617793 w 4012966"/>
                <a:gd name="connsiteY198" fmla="*/ 380940 h 541195"/>
                <a:gd name="connsiteX199" fmla="*/ 2603109 w 4012966"/>
                <a:gd name="connsiteY199" fmla="*/ 380940 h 541195"/>
                <a:gd name="connsiteX200" fmla="*/ 2606677 w 4012966"/>
                <a:gd name="connsiteY200" fmla="*/ 374914 h 541195"/>
                <a:gd name="connsiteX201" fmla="*/ 2610244 w 4012966"/>
                <a:gd name="connsiteY201" fmla="*/ 380940 h 541195"/>
                <a:gd name="connsiteX202" fmla="*/ 2585245 w 4012966"/>
                <a:gd name="connsiteY202" fmla="*/ 380940 h 541195"/>
                <a:gd name="connsiteX203" fmla="*/ 2590582 w 4012966"/>
                <a:gd name="connsiteY203" fmla="*/ 374176 h 541195"/>
                <a:gd name="connsiteX204" fmla="*/ 2595919 w 4012966"/>
                <a:gd name="connsiteY204" fmla="*/ 380940 h 541195"/>
                <a:gd name="connsiteX205" fmla="*/ 1726583 w 4012966"/>
                <a:gd name="connsiteY205" fmla="*/ 402983 h 541195"/>
                <a:gd name="connsiteX206" fmla="*/ 1734962 w 4012966"/>
                <a:gd name="connsiteY206" fmla="*/ 402983 h 541195"/>
                <a:gd name="connsiteX207" fmla="*/ 1846238 w 4012966"/>
                <a:gd name="connsiteY207" fmla="*/ 402983 h 541195"/>
                <a:gd name="connsiteX208" fmla="*/ 1846238 w 4012966"/>
                <a:gd name="connsiteY208" fmla="*/ 393489 h 541195"/>
                <a:gd name="connsiteX209" fmla="*/ 1846238 w 4012966"/>
                <a:gd name="connsiteY209" fmla="*/ 384854 h 541195"/>
                <a:gd name="connsiteX210" fmla="*/ 1860176 w 4012966"/>
                <a:gd name="connsiteY210" fmla="*/ 384854 h 541195"/>
                <a:gd name="connsiteX211" fmla="*/ 1905305 w 4012966"/>
                <a:gd name="connsiteY211" fmla="*/ 384854 h 541195"/>
                <a:gd name="connsiteX212" fmla="*/ 1902900 w 4012966"/>
                <a:gd name="connsiteY212" fmla="*/ 185045 h 541195"/>
                <a:gd name="connsiteX213" fmla="*/ 1869827 w 4012966"/>
                <a:gd name="connsiteY213" fmla="*/ 185045 h 541195"/>
                <a:gd name="connsiteX214" fmla="*/ 1869827 w 4012966"/>
                <a:gd name="connsiteY214" fmla="*/ 190590 h 541195"/>
                <a:gd name="connsiteX215" fmla="*/ 1798371 w 4012966"/>
                <a:gd name="connsiteY215" fmla="*/ 190590 h 541195"/>
                <a:gd name="connsiteX216" fmla="*/ 1798371 w 4012966"/>
                <a:gd name="connsiteY216" fmla="*/ 185045 h 541195"/>
                <a:gd name="connsiteX217" fmla="*/ 1789439 w 4012966"/>
                <a:gd name="connsiteY217" fmla="*/ 185045 h 541195"/>
                <a:gd name="connsiteX218" fmla="*/ 1789439 w 4012966"/>
                <a:gd name="connsiteY218" fmla="*/ 170075 h 541195"/>
                <a:gd name="connsiteX219" fmla="*/ 1779622 w 4012966"/>
                <a:gd name="connsiteY219" fmla="*/ 170075 h 541195"/>
                <a:gd name="connsiteX220" fmla="*/ 1779622 w 4012966"/>
                <a:gd name="connsiteY220" fmla="*/ 164530 h 541195"/>
                <a:gd name="connsiteX221" fmla="*/ 1749231 w 4012966"/>
                <a:gd name="connsiteY221" fmla="*/ 164530 h 541195"/>
                <a:gd name="connsiteX222" fmla="*/ 1694754 w 4012966"/>
                <a:gd name="connsiteY222" fmla="*/ 164530 h 541195"/>
                <a:gd name="connsiteX223" fmla="*/ 1664363 w 4012966"/>
                <a:gd name="connsiteY223" fmla="*/ 164530 h 541195"/>
                <a:gd name="connsiteX224" fmla="*/ 1664363 w 4012966"/>
                <a:gd name="connsiteY224" fmla="*/ 170075 h 541195"/>
                <a:gd name="connsiteX225" fmla="*/ 1654547 w 4012966"/>
                <a:gd name="connsiteY225" fmla="*/ 170075 h 541195"/>
                <a:gd name="connsiteX226" fmla="*/ 1654547 w 4012966"/>
                <a:gd name="connsiteY226" fmla="*/ 185045 h 541195"/>
                <a:gd name="connsiteX227" fmla="*/ 1645615 w 4012966"/>
                <a:gd name="connsiteY227" fmla="*/ 185045 h 541195"/>
                <a:gd name="connsiteX228" fmla="*/ 1645615 w 4012966"/>
                <a:gd name="connsiteY228" fmla="*/ 190590 h 541195"/>
                <a:gd name="connsiteX229" fmla="*/ 1574131 w 4012966"/>
                <a:gd name="connsiteY229" fmla="*/ 190590 h 541195"/>
                <a:gd name="connsiteX230" fmla="*/ 1574131 w 4012966"/>
                <a:gd name="connsiteY230" fmla="*/ 185045 h 541195"/>
                <a:gd name="connsiteX231" fmla="*/ 1541085 w 4012966"/>
                <a:gd name="connsiteY231" fmla="*/ 185045 h 541195"/>
                <a:gd name="connsiteX232" fmla="*/ 1541085 w 4012966"/>
                <a:gd name="connsiteY232" fmla="*/ 218126 h 541195"/>
                <a:gd name="connsiteX233" fmla="*/ 1546007 w 4012966"/>
                <a:gd name="connsiteY233" fmla="*/ 218126 h 541195"/>
                <a:gd name="connsiteX234" fmla="*/ 1546007 w 4012966"/>
                <a:gd name="connsiteY234" fmla="*/ 217903 h 541195"/>
                <a:gd name="connsiteX235" fmla="*/ 1561216 w 4012966"/>
                <a:gd name="connsiteY235" fmla="*/ 217903 h 541195"/>
                <a:gd name="connsiteX236" fmla="*/ 1566470 w 4012966"/>
                <a:gd name="connsiteY236" fmla="*/ 217903 h 541195"/>
                <a:gd name="connsiteX237" fmla="*/ 1573605 w 4012966"/>
                <a:gd name="connsiteY237" fmla="*/ 217903 h 541195"/>
                <a:gd name="connsiteX238" fmla="*/ 1578167 w 4012966"/>
                <a:gd name="connsiteY238" fmla="*/ 221303 h 541195"/>
                <a:gd name="connsiteX239" fmla="*/ 1581099 w 4012966"/>
                <a:gd name="connsiteY239" fmla="*/ 223517 h 541195"/>
                <a:gd name="connsiteX240" fmla="*/ 1592548 w 4012966"/>
                <a:gd name="connsiteY240" fmla="*/ 232083 h 541195"/>
                <a:gd name="connsiteX241" fmla="*/ 1593764 w 4012966"/>
                <a:gd name="connsiteY241" fmla="*/ 232083 h 541195"/>
                <a:gd name="connsiteX242" fmla="*/ 1594981 w 4012966"/>
                <a:gd name="connsiteY242" fmla="*/ 232083 h 541195"/>
                <a:gd name="connsiteX243" fmla="*/ 1596751 w 4012966"/>
                <a:gd name="connsiteY243" fmla="*/ 232461 h 541195"/>
                <a:gd name="connsiteX244" fmla="*/ 1596862 w 4012966"/>
                <a:gd name="connsiteY244" fmla="*/ 232409 h 541195"/>
                <a:gd name="connsiteX245" fmla="*/ 1604826 w 4012966"/>
                <a:gd name="connsiteY245" fmla="*/ 233680 h 541195"/>
                <a:gd name="connsiteX246" fmla="*/ 1609029 w 4012966"/>
                <a:gd name="connsiteY246" fmla="*/ 234332 h 541195"/>
                <a:gd name="connsiteX247" fmla="*/ 1610107 w 4012966"/>
                <a:gd name="connsiteY247" fmla="*/ 233834 h 541195"/>
                <a:gd name="connsiteX248" fmla="*/ 1618210 w 4012966"/>
                <a:gd name="connsiteY248" fmla="*/ 235929 h 541195"/>
                <a:gd name="connsiteX249" fmla="*/ 1621999 w 4012966"/>
                <a:gd name="connsiteY249" fmla="*/ 236924 h 541195"/>
                <a:gd name="connsiteX250" fmla="*/ 1625787 w 4012966"/>
                <a:gd name="connsiteY250" fmla="*/ 237903 h 541195"/>
                <a:gd name="connsiteX251" fmla="*/ 1628276 w 4012966"/>
                <a:gd name="connsiteY251" fmla="*/ 239963 h 541195"/>
                <a:gd name="connsiteX252" fmla="*/ 1631566 w 4012966"/>
                <a:gd name="connsiteY252" fmla="*/ 242693 h 541195"/>
                <a:gd name="connsiteX253" fmla="*/ 1638535 w 4012966"/>
                <a:gd name="connsiteY253" fmla="*/ 248461 h 541195"/>
                <a:gd name="connsiteX254" fmla="*/ 1632894 w 4012966"/>
                <a:gd name="connsiteY254" fmla="*/ 252958 h 541195"/>
                <a:gd name="connsiteX255" fmla="*/ 1632894 w 4012966"/>
                <a:gd name="connsiteY255" fmla="*/ 255259 h 541195"/>
                <a:gd name="connsiteX256" fmla="*/ 1639475 w 4012966"/>
                <a:gd name="connsiteY256" fmla="*/ 255259 h 541195"/>
                <a:gd name="connsiteX257" fmla="*/ 1654657 w 4012966"/>
                <a:gd name="connsiteY257" fmla="*/ 255259 h 541195"/>
                <a:gd name="connsiteX258" fmla="*/ 1668705 w 4012966"/>
                <a:gd name="connsiteY258" fmla="*/ 255259 h 541195"/>
                <a:gd name="connsiteX259" fmla="*/ 1683858 w 4012966"/>
                <a:gd name="connsiteY259" fmla="*/ 255259 h 541195"/>
                <a:gd name="connsiteX260" fmla="*/ 1698709 w 4012966"/>
                <a:gd name="connsiteY260" fmla="*/ 255259 h 541195"/>
                <a:gd name="connsiteX261" fmla="*/ 1699317 w 4012966"/>
                <a:gd name="connsiteY261" fmla="*/ 255259 h 541195"/>
                <a:gd name="connsiteX262" fmla="*/ 1714526 w 4012966"/>
                <a:gd name="connsiteY262" fmla="*/ 255259 h 541195"/>
                <a:gd name="connsiteX263" fmla="*/ 1718370 w 4012966"/>
                <a:gd name="connsiteY263" fmla="*/ 255259 h 541195"/>
                <a:gd name="connsiteX264" fmla="*/ 1722933 w 4012966"/>
                <a:gd name="connsiteY264" fmla="*/ 258555 h 541195"/>
                <a:gd name="connsiteX265" fmla="*/ 1726832 w 4012966"/>
                <a:gd name="connsiteY265" fmla="*/ 261388 h 541195"/>
                <a:gd name="connsiteX266" fmla="*/ 1735266 w 4012966"/>
                <a:gd name="connsiteY266" fmla="*/ 267482 h 541195"/>
                <a:gd name="connsiteX267" fmla="*/ 1731090 w 4012966"/>
                <a:gd name="connsiteY267" fmla="*/ 270538 h 541195"/>
                <a:gd name="connsiteX268" fmla="*/ 1740244 w 4012966"/>
                <a:gd name="connsiteY268" fmla="*/ 273577 h 541195"/>
                <a:gd name="connsiteX269" fmla="*/ 1727745 w 4012966"/>
                <a:gd name="connsiteY269" fmla="*/ 282503 h 541195"/>
                <a:gd name="connsiteX270" fmla="*/ 1726583 w 4012966"/>
                <a:gd name="connsiteY270" fmla="*/ 283344 h 541195"/>
                <a:gd name="connsiteX271" fmla="*/ 2103884 w 4012966"/>
                <a:gd name="connsiteY271" fmla="*/ 403000 h 541195"/>
                <a:gd name="connsiteX272" fmla="*/ 2226526 w 4012966"/>
                <a:gd name="connsiteY272" fmla="*/ 403000 h 541195"/>
                <a:gd name="connsiteX273" fmla="*/ 2226526 w 4012966"/>
                <a:gd name="connsiteY273" fmla="*/ 378056 h 541195"/>
                <a:gd name="connsiteX274" fmla="*/ 2250695 w 4012966"/>
                <a:gd name="connsiteY274" fmla="*/ 378056 h 541195"/>
                <a:gd name="connsiteX275" fmla="*/ 2298756 w 4012966"/>
                <a:gd name="connsiteY275" fmla="*/ 342812 h 541195"/>
                <a:gd name="connsiteX276" fmla="*/ 2308795 w 4012966"/>
                <a:gd name="connsiteY276" fmla="*/ 338915 h 541195"/>
                <a:gd name="connsiteX277" fmla="*/ 2305421 w 4012966"/>
                <a:gd name="connsiteY277" fmla="*/ 56875 h 541195"/>
                <a:gd name="connsiteX278" fmla="*/ 2281474 w 4012966"/>
                <a:gd name="connsiteY278" fmla="*/ 56875 h 541195"/>
                <a:gd name="connsiteX279" fmla="*/ 2281474 w 4012966"/>
                <a:gd name="connsiteY279" fmla="*/ 30798 h 541195"/>
                <a:gd name="connsiteX280" fmla="*/ 2228102 w 4012966"/>
                <a:gd name="connsiteY280" fmla="*/ 30798 h 541195"/>
                <a:gd name="connsiteX281" fmla="*/ 2228102 w 4012966"/>
                <a:gd name="connsiteY281" fmla="*/ 22970 h 541195"/>
                <a:gd name="connsiteX282" fmla="*/ 2178105 w 4012966"/>
                <a:gd name="connsiteY282" fmla="*/ 22970 h 541195"/>
                <a:gd name="connsiteX283" fmla="*/ 2178105 w 4012966"/>
                <a:gd name="connsiteY283" fmla="*/ 0 h 541195"/>
                <a:gd name="connsiteX284" fmla="*/ 2173044 w 4012966"/>
                <a:gd name="connsiteY284" fmla="*/ 0 h 541195"/>
                <a:gd name="connsiteX285" fmla="*/ 2173044 w 4012966"/>
                <a:gd name="connsiteY285" fmla="*/ 22953 h 541195"/>
                <a:gd name="connsiteX286" fmla="*/ 2123047 w 4012966"/>
                <a:gd name="connsiteY286" fmla="*/ 22953 h 541195"/>
                <a:gd name="connsiteX287" fmla="*/ 2123047 w 4012966"/>
                <a:gd name="connsiteY287" fmla="*/ 30781 h 541195"/>
                <a:gd name="connsiteX288" fmla="*/ 2069677 w 4012966"/>
                <a:gd name="connsiteY288" fmla="*/ 30781 h 541195"/>
                <a:gd name="connsiteX289" fmla="*/ 2069677 w 4012966"/>
                <a:gd name="connsiteY289" fmla="*/ 56858 h 541195"/>
                <a:gd name="connsiteX290" fmla="*/ 2045729 w 4012966"/>
                <a:gd name="connsiteY290" fmla="*/ 56858 h 541195"/>
                <a:gd name="connsiteX291" fmla="*/ 2043296 w 4012966"/>
                <a:gd name="connsiteY291" fmla="*/ 384648 h 541195"/>
                <a:gd name="connsiteX292" fmla="*/ 2089974 w 4012966"/>
                <a:gd name="connsiteY292" fmla="*/ 384871 h 541195"/>
                <a:gd name="connsiteX293" fmla="*/ 2103884 w 4012966"/>
                <a:gd name="connsiteY293" fmla="*/ 384871 h 541195"/>
                <a:gd name="connsiteX294" fmla="*/ 758305 w 4012966"/>
                <a:gd name="connsiteY294" fmla="*/ 434484 h 541195"/>
                <a:gd name="connsiteX295" fmla="*/ 758111 w 4012966"/>
                <a:gd name="connsiteY295" fmla="*/ 421557 h 541195"/>
                <a:gd name="connsiteX296" fmla="*/ 777081 w 4012966"/>
                <a:gd name="connsiteY296" fmla="*/ 418793 h 541195"/>
                <a:gd name="connsiteX297" fmla="*/ 926768 w 4012966"/>
                <a:gd name="connsiteY297" fmla="*/ 434519 h 541195"/>
                <a:gd name="connsiteX298" fmla="*/ 926768 w 4012966"/>
                <a:gd name="connsiteY298" fmla="*/ 434501 h 541195"/>
                <a:gd name="connsiteX299" fmla="*/ 907992 w 4012966"/>
                <a:gd name="connsiteY299" fmla="*/ 418810 h 541195"/>
                <a:gd name="connsiteX300" fmla="*/ 926962 w 4012966"/>
                <a:gd name="connsiteY300" fmla="*/ 421575 h 541195"/>
                <a:gd name="connsiteX301" fmla="*/ 158975 w 4012966"/>
                <a:gd name="connsiteY301" fmla="*/ 434519 h 541195"/>
                <a:gd name="connsiteX302" fmla="*/ 158975 w 4012966"/>
                <a:gd name="connsiteY302" fmla="*/ 434501 h 541195"/>
                <a:gd name="connsiteX303" fmla="*/ 140199 w 4012966"/>
                <a:gd name="connsiteY303" fmla="*/ 418810 h 541195"/>
                <a:gd name="connsiteX304" fmla="*/ 159170 w 4012966"/>
                <a:gd name="connsiteY304" fmla="*/ 421575 h 541195"/>
                <a:gd name="connsiteX305" fmla="*/ 812643 w 4012966"/>
                <a:gd name="connsiteY305" fmla="*/ 442655 h 541195"/>
                <a:gd name="connsiteX306" fmla="*/ 783110 w 4012966"/>
                <a:gd name="connsiteY306" fmla="*/ 417815 h 541195"/>
                <a:gd name="connsiteX307" fmla="*/ 811675 w 4012966"/>
                <a:gd name="connsiteY307" fmla="*/ 412150 h 541195"/>
                <a:gd name="connsiteX308" fmla="*/ 44823 w 4012966"/>
                <a:gd name="connsiteY308" fmla="*/ 442655 h 541195"/>
                <a:gd name="connsiteX309" fmla="*/ 15289 w 4012966"/>
                <a:gd name="connsiteY309" fmla="*/ 417815 h 541195"/>
                <a:gd name="connsiteX310" fmla="*/ 43855 w 4012966"/>
                <a:gd name="connsiteY310" fmla="*/ 412150 h 541195"/>
                <a:gd name="connsiteX311" fmla="*/ 872458 w 4012966"/>
                <a:gd name="connsiteY311" fmla="*/ 442673 h 541195"/>
                <a:gd name="connsiteX312" fmla="*/ 873425 w 4012966"/>
                <a:gd name="connsiteY312" fmla="*/ 412166 h 541195"/>
                <a:gd name="connsiteX313" fmla="*/ 901991 w 4012966"/>
                <a:gd name="connsiteY313" fmla="*/ 417832 h 541195"/>
                <a:gd name="connsiteX314" fmla="*/ 104637 w 4012966"/>
                <a:gd name="connsiteY314" fmla="*/ 442673 h 541195"/>
                <a:gd name="connsiteX315" fmla="*/ 105605 w 4012966"/>
                <a:gd name="connsiteY315" fmla="*/ 412166 h 541195"/>
                <a:gd name="connsiteX316" fmla="*/ 134171 w 4012966"/>
                <a:gd name="connsiteY316" fmla="*/ 417832 h 541195"/>
                <a:gd name="connsiteX317" fmla="*/ 870134 w 4012966"/>
                <a:gd name="connsiteY317" fmla="*/ 444184 h 541195"/>
                <a:gd name="connsiteX318" fmla="*/ 846325 w 4012966"/>
                <a:gd name="connsiteY318" fmla="*/ 437591 h 541195"/>
                <a:gd name="connsiteX319" fmla="*/ 846325 w 4012966"/>
                <a:gd name="connsiteY319" fmla="*/ 404115 h 541195"/>
                <a:gd name="connsiteX320" fmla="*/ 871158 w 4012966"/>
                <a:gd name="connsiteY320" fmla="*/ 411617 h 541195"/>
                <a:gd name="connsiteX321" fmla="*/ 814966 w 4012966"/>
                <a:gd name="connsiteY321" fmla="*/ 444184 h 541195"/>
                <a:gd name="connsiteX322" fmla="*/ 813943 w 4012966"/>
                <a:gd name="connsiteY322" fmla="*/ 411617 h 541195"/>
                <a:gd name="connsiteX323" fmla="*/ 838776 w 4012966"/>
                <a:gd name="connsiteY323" fmla="*/ 404115 h 541195"/>
                <a:gd name="connsiteX324" fmla="*/ 838776 w 4012966"/>
                <a:gd name="connsiteY324" fmla="*/ 437591 h 541195"/>
                <a:gd name="connsiteX325" fmla="*/ 102341 w 4012966"/>
                <a:gd name="connsiteY325" fmla="*/ 444184 h 541195"/>
                <a:gd name="connsiteX326" fmla="*/ 78532 w 4012966"/>
                <a:gd name="connsiteY326" fmla="*/ 437591 h 541195"/>
                <a:gd name="connsiteX327" fmla="*/ 78532 w 4012966"/>
                <a:gd name="connsiteY327" fmla="*/ 404115 h 541195"/>
                <a:gd name="connsiteX328" fmla="*/ 103364 w 4012966"/>
                <a:gd name="connsiteY328" fmla="*/ 411617 h 541195"/>
                <a:gd name="connsiteX329" fmla="*/ 47174 w 4012966"/>
                <a:gd name="connsiteY329" fmla="*/ 444184 h 541195"/>
                <a:gd name="connsiteX330" fmla="*/ 46151 w 4012966"/>
                <a:gd name="connsiteY330" fmla="*/ 411617 h 541195"/>
                <a:gd name="connsiteX331" fmla="*/ 71011 w 4012966"/>
                <a:gd name="connsiteY331" fmla="*/ 404115 h 541195"/>
                <a:gd name="connsiteX332" fmla="*/ 71011 w 4012966"/>
                <a:gd name="connsiteY332" fmla="*/ 437591 h 541195"/>
                <a:gd name="connsiteX333" fmla="*/ 70983 w 4012966"/>
                <a:gd name="connsiteY333" fmla="*/ 437591 h 541195"/>
                <a:gd name="connsiteX334" fmla="*/ 1055605 w 4012966"/>
                <a:gd name="connsiteY334" fmla="*/ 461316 h 541195"/>
                <a:gd name="connsiteX335" fmla="*/ 1055605 w 4012966"/>
                <a:gd name="connsiteY335" fmla="*/ 432029 h 541195"/>
                <a:gd name="connsiteX336" fmla="*/ 1079664 w 4012966"/>
                <a:gd name="connsiteY336" fmla="*/ 432974 h 541195"/>
                <a:gd name="connsiteX337" fmla="*/ 287784 w 4012966"/>
                <a:gd name="connsiteY337" fmla="*/ 461316 h 541195"/>
                <a:gd name="connsiteX338" fmla="*/ 287784 w 4012966"/>
                <a:gd name="connsiteY338" fmla="*/ 432029 h 541195"/>
                <a:gd name="connsiteX339" fmla="*/ 311843 w 4012966"/>
                <a:gd name="connsiteY339" fmla="*/ 432974 h 541195"/>
                <a:gd name="connsiteX340" fmla="*/ 629496 w 4012966"/>
                <a:gd name="connsiteY340" fmla="*/ 461334 h 541195"/>
                <a:gd name="connsiteX341" fmla="*/ 605438 w 4012966"/>
                <a:gd name="connsiteY341" fmla="*/ 432990 h 541195"/>
                <a:gd name="connsiteX342" fmla="*/ 629496 w 4012966"/>
                <a:gd name="connsiteY342" fmla="*/ 432046 h 541195"/>
                <a:gd name="connsiteX343" fmla="*/ 1021204 w 4012966"/>
                <a:gd name="connsiteY343" fmla="*/ 461488 h 541195"/>
                <a:gd name="connsiteX344" fmla="*/ 1021176 w 4012966"/>
                <a:gd name="connsiteY344" fmla="*/ 461471 h 541195"/>
                <a:gd name="connsiteX345" fmla="*/ 1021176 w 4012966"/>
                <a:gd name="connsiteY345" fmla="*/ 461449 h 541195"/>
                <a:gd name="connsiteX346" fmla="*/ 997119 w 4012966"/>
                <a:gd name="connsiteY346" fmla="*/ 428613 h 541195"/>
                <a:gd name="connsiteX347" fmla="*/ 1021979 w 4012966"/>
                <a:gd name="connsiteY347" fmla="*/ 430278 h 541195"/>
                <a:gd name="connsiteX348" fmla="*/ 1020845 w 4012966"/>
                <a:gd name="connsiteY348" fmla="*/ 430278 h 541195"/>
                <a:gd name="connsiteX349" fmla="*/ 1021125 w 4012966"/>
                <a:gd name="connsiteY349" fmla="*/ 456597 h 541195"/>
                <a:gd name="connsiteX350" fmla="*/ 1021176 w 4012966"/>
                <a:gd name="connsiteY350" fmla="*/ 461449 h 541195"/>
                <a:gd name="connsiteX351" fmla="*/ 253412 w 4012966"/>
                <a:gd name="connsiteY351" fmla="*/ 461488 h 541195"/>
                <a:gd name="connsiteX352" fmla="*/ 229326 w 4012966"/>
                <a:gd name="connsiteY352" fmla="*/ 428613 h 541195"/>
                <a:gd name="connsiteX353" fmla="*/ 254213 w 4012966"/>
                <a:gd name="connsiteY353" fmla="*/ 430278 h 541195"/>
                <a:gd name="connsiteX354" fmla="*/ 253080 w 4012966"/>
                <a:gd name="connsiteY354" fmla="*/ 430278 h 541195"/>
                <a:gd name="connsiteX355" fmla="*/ 253412 w 4012966"/>
                <a:gd name="connsiteY355" fmla="*/ 461471 h 541195"/>
                <a:gd name="connsiteX356" fmla="*/ 663841 w 4012966"/>
                <a:gd name="connsiteY356" fmla="*/ 461505 h 541195"/>
                <a:gd name="connsiteX357" fmla="*/ 664173 w 4012966"/>
                <a:gd name="connsiteY357" fmla="*/ 430312 h 541195"/>
                <a:gd name="connsiteX358" fmla="*/ 663039 w 4012966"/>
                <a:gd name="connsiteY358" fmla="*/ 430312 h 541195"/>
                <a:gd name="connsiteX359" fmla="*/ 663067 w 4012966"/>
                <a:gd name="connsiteY359" fmla="*/ 430295 h 541195"/>
                <a:gd name="connsiteX360" fmla="*/ 687927 w 4012966"/>
                <a:gd name="connsiteY360" fmla="*/ 428630 h 541195"/>
                <a:gd name="connsiteX361" fmla="*/ 1109473 w 4012966"/>
                <a:gd name="connsiteY361" fmla="*/ 462140 h 541195"/>
                <a:gd name="connsiteX362" fmla="*/ 1084890 w 4012966"/>
                <a:gd name="connsiteY362" fmla="*/ 433145 h 541195"/>
                <a:gd name="connsiteX363" fmla="*/ 1109170 w 4012966"/>
                <a:gd name="connsiteY363" fmla="*/ 433832 h 541195"/>
                <a:gd name="connsiteX364" fmla="*/ 341681 w 4012966"/>
                <a:gd name="connsiteY364" fmla="*/ 462140 h 541195"/>
                <a:gd name="connsiteX365" fmla="*/ 317070 w 4012966"/>
                <a:gd name="connsiteY365" fmla="*/ 433145 h 541195"/>
                <a:gd name="connsiteX366" fmla="*/ 341349 w 4012966"/>
                <a:gd name="connsiteY366" fmla="*/ 433832 h 541195"/>
                <a:gd name="connsiteX367" fmla="*/ 575627 w 4012966"/>
                <a:gd name="connsiteY367" fmla="*/ 462158 h 541195"/>
                <a:gd name="connsiteX368" fmla="*/ 575932 w 4012966"/>
                <a:gd name="connsiteY368" fmla="*/ 433849 h 541195"/>
                <a:gd name="connsiteX369" fmla="*/ 600211 w 4012966"/>
                <a:gd name="connsiteY369" fmla="*/ 433162 h 541195"/>
                <a:gd name="connsiteX370" fmla="*/ 963962 w 4012966"/>
                <a:gd name="connsiteY370" fmla="*/ 462553 h 541195"/>
                <a:gd name="connsiteX371" fmla="*/ 963879 w 4012966"/>
                <a:gd name="connsiteY371" fmla="*/ 425780 h 541195"/>
                <a:gd name="connsiteX372" fmla="*/ 992030 w 4012966"/>
                <a:gd name="connsiteY372" fmla="*/ 428235 h 541195"/>
                <a:gd name="connsiteX373" fmla="*/ 721139 w 4012966"/>
                <a:gd name="connsiteY373" fmla="*/ 462553 h 541195"/>
                <a:gd name="connsiteX374" fmla="*/ 693071 w 4012966"/>
                <a:gd name="connsiteY374" fmla="*/ 428235 h 541195"/>
                <a:gd name="connsiteX375" fmla="*/ 721222 w 4012966"/>
                <a:gd name="connsiteY375" fmla="*/ 425780 h 541195"/>
                <a:gd name="connsiteX376" fmla="*/ 196142 w 4012966"/>
                <a:gd name="connsiteY376" fmla="*/ 462553 h 541195"/>
                <a:gd name="connsiteX377" fmla="*/ 196059 w 4012966"/>
                <a:gd name="connsiteY377" fmla="*/ 425780 h 541195"/>
                <a:gd name="connsiteX378" fmla="*/ 224209 w 4012966"/>
                <a:gd name="connsiteY378" fmla="*/ 428235 h 541195"/>
                <a:gd name="connsiteX379" fmla="*/ 1171582 w 4012966"/>
                <a:gd name="connsiteY379" fmla="*/ 462604 h 541195"/>
                <a:gd name="connsiteX380" fmla="*/ 1170671 w 4012966"/>
                <a:gd name="connsiteY380" fmla="*/ 434741 h 541195"/>
                <a:gd name="connsiteX381" fmla="*/ 1170643 w 4012966"/>
                <a:gd name="connsiteY381" fmla="*/ 434741 h 541195"/>
                <a:gd name="connsiteX382" fmla="*/ 1170671 w 4012966"/>
                <a:gd name="connsiteY382" fmla="*/ 434725 h 541195"/>
                <a:gd name="connsiteX383" fmla="*/ 1170671 w 4012966"/>
                <a:gd name="connsiteY383" fmla="*/ 434741 h 541195"/>
                <a:gd name="connsiteX384" fmla="*/ 1194977 w 4012966"/>
                <a:gd name="connsiteY384" fmla="*/ 434810 h 541195"/>
                <a:gd name="connsiteX385" fmla="*/ 403763 w 4012966"/>
                <a:gd name="connsiteY385" fmla="*/ 462604 h 541195"/>
                <a:gd name="connsiteX386" fmla="*/ 402822 w 4012966"/>
                <a:gd name="connsiteY386" fmla="*/ 434741 h 541195"/>
                <a:gd name="connsiteX387" fmla="*/ 427157 w 4012966"/>
                <a:gd name="connsiteY387" fmla="*/ 434810 h 541195"/>
                <a:gd name="connsiteX388" fmla="*/ 513518 w 4012966"/>
                <a:gd name="connsiteY388" fmla="*/ 462639 h 541195"/>
                <a:gd name="connsiteX389" fmla="*/ 513518 w 4012966"/>
                <a:gd name="connsiteY389" fmla="*/ 462621 h 541195"/>
                <a:gd name="connsiteX390" fmla="*/ 490096 w 4012966"/>
                <a:gd name="connsiteY390" fmla="*/ 434827 h 541195"/>
                <a:gd name="connsiteX391" fmla="*/ 514431 w 4012966"/>
                <a:gd name="connsiteY391" fmla="*/ 434759 h 541195"/>
                <a:gd name="connsiteX392" fmla="*/ 1169315 w 4012966"/>
                <a:gd name="connsiteY392" fmla="*/ 462913 h 541195"/>
                <a:gd name="connsiteX393" fmla="*/ 1143404 w 4012966"/>
                <a:gd name="connsiteY393" fmla="*/ 434467 h 541195"/>
                <a:gd name="connsiteX394" fmla="*/ 1168375 w 4012966"/>
                <a:gd name="connsiteY394" fmla="*/ 434725 h 541195"/>
                <a:gd name="connsiteX395" fmla="*/ 515758 w 4012966"/>
                <a:gd name="connsiteY395" fmla="*/ 462913 h 541195"/>
                <a:gd name="connsiteX396" fmla="*/ 516698 w 4012966"/>
                <a:gd name="connsiteY396" fmla="*/ 434725 h 541195"/>
                <a:gd name="connsiteX397" fmla="*/ 541669 w 4012966"/>
                <a:gd name="connsiteY397" fmla="*/ 434467 h 541195"/>
                <a:gd name="connsiteX398" fmla="*/ 401494 w 4012966"/>
                <a:gd name="connsiteY398" fmla="*/ 462913 h 541195"/>
                <a:gd name="connsiteX399" fmla="*/ 375556 w 4012966"/>
                <a:gd name="connsiteY399" fmla="*/ 434467 h 541195"/>
                <a:gd name="connsiteX400" fmla="*/ 375584 w 4012966"/>
                <a:gd name="connsiteY400" fmla="*/ 434467 h 541195"/>
                <a:gd name="connsiteX401" fmla="*/ 400554 w 4012966"/>
                <a:gd name="connsiteY401" fmla="*/ 434725 h 541195"/>
                <a:gd name="connsiteX402" fmla="*/ 1023500 w 4012966"/>
                <a:gd name="connsiteY402" fmla="*/ 463222 h 541195"/>
                <a:gd name="connsiteX403" fmla="*/ 1023140 w 4012966"/>
                <a:gd name="connsiteY403" fmla="*/ 430347 h 541195"/>
                <a:gd name="connsiteX404" fmla="*/ 1050821 w 4012966"/>
                <a:gd name="connsiteY404" fmla="*/ 431806 h 541195"/>
                <a:gd name="connsiteX405" fmla="*/ 255707 w 4012966"/>
                <a:gd name="connsiteY405" fmla="*/ 463222 h 541195"/>
                <a:gd name="connsiteX406" fmla="*/ 255347 w 4012966"/>
                <a:gd name="connsiteY406" fmla="*/ 430349 h 541195"/>
                <a:gd name="connsiteX407" fmla="*/ 255319 w 4012966"/>
                <a:gd name="connsiteY407" fmla="*/ 430347 h 541195"/>
                <a:gd name="connsiteX408" fmla="*/ 255347 w 4012966"/>
                <a:gd name="connsiteY408" fmla="*/ 430347 h 541195"/>
                <a:gd name="connsiteX409" fmla="*/ 255347 w 4012966"/>
                <a:gd name="connsiteY409" fmla="*/ 430349 h 541195"/>
                <a:gd name="connsiteX410" fmla="*/ 283001 w 4012966"/>
                <a:gd name="connsiteY410" fmla="*/ 431806 h 541195"/>
                <a:gd name="connsiteX411" fmla="*/ 661574 w 4012966"/>
                <a:gd name="connsiteY411" fmla="*/ 463239 h 541195"/>
                <a:gd name="connsiteX412" fmla="*/ 634252 w 4012966"/>
                <a:gd name="connsiteY412" fmla="*/ 431823 h 541195"/>
                <a:gd name="connsiteX413" fmla="*/ 661933 w 4012966"/>
                <a:gd name="connsiteY413" fmla="*/ 430364 h 541195"/>
                <a:gd name="connsiteX414" fmla="*/ 1111769 w 4012966"/>
                <a:gd name="connsiteY414" fmla="*/ 463290 h 541195"/>
                <a:gd name="connsiteX415" fmla="*/ 1111437 w 4012966"/>
                <a:gd name="connsiteY415" fmla="*/ 433883 h 541195"/>
                <a:gd name="connsiteX416" fmla="*/ 1137597 w 4012966"/>
                <a:gd name="connsiteY416" fmla="*/ 434381 h 541195"/>
                <a:gd name="connsiteX417" fmla="*/ 343948 w 4012966"/>
                <a:gd name="connsiteY417" fmla="*/ 463290 h 541195"/>
                <a:gd name="connsiteX418" fmla="*/ 343616 w 4012966"/>
                <a:gd name="connsiteY418" fmla="*/ 433883 h 541195"/>
                <a:gd name="connsiteX419" fmla="*/ 369776 w 4012966"/>
                <a:gd name="connsiteY419" fmla="*/ 434381 h 541195"/>
                <a:gd name="connsiteX420" fmla="*/ 573304 w 4012966"/>
                <a:gd name="connsiteY420" fmla="*/ 463308 h 541195"/>
                <a:gd name="connsiteX421" fmla="*/ 573304 w 4012966"/>
                <a:gd name="connsiteY421" fmla="*/ 463277 h 541195"/>
                <a:gd name="connsiteX422" fmla="*/ 547476 w 4012966"/>
                <a:gd name="connsiteY422" fmla="*/ 434398 h 541195"/>
                <a:gd name="connsiteX423" fmla="*/ 573637 w 4012966"/>
                <a:gd name="connsiteY423" fmla="*/ 433900 h 541195"/>
                <a:gd name="connsiteX424" fmla="*/ 573304 w 4012966"/>
                <a:gd name="connsiteY424" fmla="*/ 463277 h 541195"/>
                <a:gd name="connsiteX425" fmla="*/ 573332 w 4012966"/>
                <a:gd name="connsiteY425" fmla="*/ 463308 h 541195"/>
                <a:gd name="connsiteX426" fmla="*/ 961666 w 4012966"/>
                <a:gd name="connsiteY426" fmla="*/ 463685 h 541195"/>
                <a:gd name="connsiteX427" fmla="*/ 961666 w 4012966"/>
                <a:gd name="connsiteY427" fmla="*/ 463662 h 541195"/>
                <a:gd name="connsiteX428" fmla="*/ 929008 w 4012966"/>
                <a:gd name="connsiteY428" fmla="*/ 436355 h 541195"/>
                <a:gd name="connsiteX429" fmla="*/ 929230 w 4012966"/>
                <a:gd name="connsiteY429" fmla="*/ 421849 h 541195"/>
                <a:gd name="connsiteX430" fmla="*/ 962717 w 4012966"/>
                <a:gd name="connsiteY430" fmla="*/ 425660 h 541195"/>
                <a:gd name="connsiteX431" fmla="*/ 961584 w 4012966"/>
                <a:gd name="connsiteY431" fmla="*/ 425660 h 541195"/>
                <a:gd name="connsiteX432" fmla="*/ 961666 w 4012966"/>
                <a:gd name="connsiteY432" fmla="*/ 463662 h 541195"/>
                <a:gd name="connsiteX433" fmla="*/ 961694 w 4012966"/>
                <a:gd name="connsiteY433" fmla="*/ 463685 h 541195"/>
                <a:gd name="connsiteX434" fmla="*/ 193846 w 4012966"/>
                <a:gd name="connsiteY434" fmla="*/ 463685 h 541195"/>
                <a:gd name="connsiteX435" fmla="*/ 193846 w 4012966"/>
                <a:gd name="connsiteY435" fmla="*/ 463663 h 541195"/>
                <a:gd name="connsiteX436" fmla="*/ 161187 w 4012966"/>
                <a:gd name="connsiteY436" fmla="*/ 436355 h 541195"/>
                <a:gd name="connsiteX437" fmla="*/ 161437 w 4012966"/>
                <a:gd name="connsiteY437" fmla="*/ 421849 h 541195"/>
                <a:gd name="connsiteX438" fmla="*/ 194925 w 4012966"/>
                <a:gd name="connsiteY438" fmla="*/ 425660 h 541195"/>
                <a:gd name="connsiteX439" fmla="*/ 193763 w 4012966"/>
                <a:gd name="connsiteY439" fmla="*/ 425660 h 541195"/>
                <a:gd name="connsiteX440" fmla="*/ 193846 w 4012966"/>
                <a:gd name="connsiteY440" fmla="*/ 463663 h 541195"/>
                <a:gd name="connsiteX441" fmla="*/ 193874 w 4012966"/>
                <a:gd name="connsiteY441" fmla="*/ 463685 h 541195"/>
                <a:gd name="connsiteX442" fmla="*/ 723406 w 4012966"/>
                <a:gd name="connsiteY442" fmla="*/ 463703 h 541195"/>
                <a:gd name="connsiteX443" fmla="*/ 723489 w 4012966"/>
                <a:gd name="connsiteY443" fmla="*/ 425677 h 541195"/>
                <a:gd name="connsiteX444" fmla="*/ 722355 w 4012966"/>
                <a:gd name="connsiteY444" fmla="*/ 425677 h 541195"/>
                <a:gd name="connsiteX445" fmla="*/ 755844 w 4012966"/>
                <a:gd name="connsiteY445" fmla="*/ 421866 h 541195"/>
                <a:gd name="connsiteX446" fmla="*/ 756092 w 4012966"/>
                <a:gd name="connsiteY446" fmla="*/ 436372 h 541195"/>
                <a:gd name="connsiteX447" fmla="*/ 1141220 w 4012966"/>
                <a:gd name="connsiteY447" fmla="*/ 464355 h 541195"/>
                <a:gd name="connsiteX448" fmla="*/ 1141220 w 4012966"/>
                <a:gd name="connsiteY448" fmla="*/ 437900 h 541195"/>
                <a:gd name="connsiteX449" fmla="*/ 1165333 w 4012966"/>
                <a:gd name="connsiteY449" fmla="*/ 464355 h 541195"/>
                <a:gd name="connsiteX450" fmla="*/ 1116110 w 4012966"/>
                <a:gd name="connsiteY450" fmla="*/ 464355 h 541195"/>
                <a:gd name="connsiteX451" fmla="*/ 1138951 w 4012966"/>
                <a:gd name="connsiteY451" fmla="*/ 438810 h 541195"/>
                <a:gd name="connsiteX452" fmla="*/ 1138951 w 4012966"/>
                <a:gd name="connsiteY452" fmla="*/ 464355 h 541195"/>
                <a:gd name="connsiteX453" fmla="*/ 373399 w 4012966"/>
                <a:gd name="connsiteY453" fmla="*/ 464355 h 541195"/>
                <a:gd name="connsiteX454" fmla="*/ 373399 w 4012966"/>
                <a:gd name="connsiteY454" fmla="*/ 437900 h 541195"/>
                <a:gd name="connsiteX455" fmla="*/ 397485 w 4012966"/>
                <a:gd name="connsiteY455" fmla="*/ 464355 h 541195"/>
                <a:gd name="connsiteX456" fmla="*/ 348290 w 4012966"/>
                <a:gd name="connsiteY456" fmla="*/ 464355 h 541195"/>
                <a:gd name="connsiteX457" fmla="*/ 371132 w 4012966"/>
                <a:gd name="connsiteY457" fmla="*/ 438810 h 541195"/>
                <a:gd name="connsiteX458" fmla="*/ 371132 w 4012966"/>
                <a:gd name="connsiteY458" fmla="*/ 464355 h 541195"/>
                <a:gd name="connsiteX459" fmla="*/ 1198102 w 4012966"/>
                <a:gd name="connsiteY459" fmla="*/ 464372 h 541195"/>
                <a:gd name="connsiteX460" fmla="*/ 1197798 w 4012966"/>
                <a:gd name="connsiteY460" fmla="*/ 438330 h 541195"/>
                <a:gd name="connsiteX461" fmla="*/ 1218649 w 4012966"/>
                <a:gd name="connsiteY461" fmla="*/ 464372 h 541195"/>
                <a:gd name="connsiteX462" fmla="*/ 1175315 w 4012966"/>
                <a:gd name="connsiteY462" fmla="*/ 464372 h 541195"/>
                <a:gd name="connsiteX463" fmla="*/ 1195586 w 4012966"/>
                <a:gd name="connsiteY463" fmla="*/ 440304 h 541195"/>
                <a:gd name="connsiteX464" fmla="*/ 1195862 w 4012966"/>
                <a:gd name="connsiteY464" fmla="*/ 464372 h 541195"/>
                <a:gd name="connsiteX465" fmla="*/ 1175344 w 4012966"/>
                <a:gd name="connsiteY465" fmla="*/ 464372 h 541195"/>
                <a:gd name="connsiteX466" fmla="*/ 1082401 w 4012966"/>
                <a:gd name="connsiteY466" fmla="*/ 464372 h 541195"/>
                <a:gd name="connsiteX467" fmla="*/ 1082705 w 4012966"/>
                <a:gd name="connsiteY467" fmla="*/ 436750 h 541195"/>
                <a:gd name="connsiteX468" fmla="*/ 1106127 w 4012966"/>
                <a:gd name="connsiteY468" fmla="*/ 464372 h 541195"/>
                <a:gd name="connsiteX469" fmla="*/ 1058232 w 4012966"/>
                <a:gd name="connsiteY469" fmla="*/ 464372 h 541195"/>
                <a:gd name="connsiteX470" fmla="*/ 1080410 w 4012966"/>
                <a:gd name="connsiteY470" fmla="*/ 438226 h 541195"/>
                <a:gd name="connsiteX471" fmla="*/ 1080133 w 4012966"/>
                <a:gd name="connsiteY471" fmla="*/ 464372 h 541195"/>
                <a:gd name="connsiteX472" fmla="*/ 1027758 w 4012966"/>
                <a:gd name="connsiteY472" fmla="*/ 464372 h 541195"/>
                <a:gd name="connsiteX473" fmla="*/ 1051070 w 4012966"/>
                <a:gd name="connsiteY473" fmla="*/ 437557 h 541195"/>
                <a:gd name="connsiteX474" fmla="*/ 1051070 w 4012966"/>
                <a:gd name="connsiteY474" fmla="*/ 464372 h 541195"/>
                <a:gd name="connsiteX475" fmla="*/ 546149 w 4012966"/>
                <a:gd name="connsiteY475" fmla="*/ 464372 h 541195"/>
                <a:gd name="connsiteX476" fmla="*/ 546149 w 4012966"/>
                <a:gd name="connsiteY476" fmla="*/ 438827 h 541195"/>
                <a:gd name="connsiteX477" fmla="*/ 568991 w 4012966"/>
                <a:gd name="connsiteY477" fmla="*/ 464372 h 541195"/>
                <a:gd name="connsiteX478" fmla="*/ 519768 w 4012966"/>
                <a:gd name="connsiteY478" fmla="*/ 464372 h 541195"/>
                <a:gd name="connsiteX479" fmla="*/ 543881 w 4012966"/>
                <a:gd name="connsiteY479" fmla="*/ 437918 h 541195"/>
                <a:gd name="connsiteX480" fmla="*/ 543881 w 4012966"/>
                <a:gd name="connsiteY480" fmla="*/ 464372 h 541195"/>
                <a:gd name="connsiteX481" fmla="*/ 489238 w 4012966"/>
                <a:gd name="connsiteY481" fmla="*/ 464372 h 541195"/>
                <a:gd name="connsiteX482" fmla="*/ 489515 w 4012966"/>
                <a:gd name="connsiteY482" fmla="*/ 440304 h 541195"/>
                <a:gd name="connsiteX483" fmla="*/ 509785 w 4012966"/>
                <a:gd name="connsiteY483" fmla="*/ 464372 h 541195"/>
                <a:gd name="connsiteX484" fmla="*/ 489266 w 4012966"/>
                <a:gd name="connsiteY484" fmla="*/ 464372 h 541195"/>
                <a:gd name="connsiteX485" fmla="*/ 466425 w 4012966"/>
                <a:gd name="connsiteY485" fmla="*/ 464372 h 541195"/>
                <a:gd name="connsiteX486" fmla="*/ 487275 w 4012966"/>
                <a:gd name="connsiteY486" fmla="*/ 438330 h 541195"/>
                <a:gd name="connsiteX487" fmla="*/ 486971 w 4012966"/>
                <a:gd name="connsiteY487" fmla="*/ 464372 h 541195"/>
                <a:gd name="connsiteX488" fmla="*/ 460921 w 4012966"/>
                <a:gd name="connsiteY488" fmla="*/ 464372 h 541195"/>
                <a:gd name="connsiteX489" fmla="*/ 460921 w 4012966"/>
                <a:gd name="connsiteY489" fmla="*/ 434725 h 541195"/>
                <a:gd name="connsiteX490" fmla="*/ 484925 w 4012966"/>
                <a:gd name="connsiteY490" fmla="*/ 434810 h 541195"/>
                <a:gd name="connsiteX491" fmla="*/ 461281 w 4012966"/>
                <a:gd name="connsiteY491" fmla="*/ 464372 h 541195"/>
                <a:gd name="connsiteX492" fmla="*/ 455972 w 4012966"/>
                <a:gd name="connsiteY492" fmla="*/ 464372 h 541195"/>
                <a:gd name="connsiteX493" fmla="*/ 432328 w 4012966"/>
                <a:gd name="connsiteY493" fmla="*/ 434810 h 541195"/>
                <a:gd name="connsiteX494" fmla="*/ 456331 w 4012966"/>
                <a:gd name="connsiteY494" fmla="*/ 434725 h 541195"/>
                <a:gd name="connsiteX495" fmla="*/ 456331 w 4012966"/>
                <a:gd name="connsiteY495" fmla="*/ 464372 h 541195"/>
                <a:gd name="connsiteX496" fmla="*/ 430282 w 4012966"/>
                <a:gd name="connsiteY496" fmla="*/ 464372 h 541195"/>
                <a:gd name="connsiteX497" fmla="*/ 430005 w 4012966"/>
                <a:gd name="connsiteY497" fmla="*/ 438330 h 541195"/>
                <a:gd name="connsiteX498" fmla="*/ 450856 w 4012966"/>
                <a:gd name="connsiteY498" fmla="*/ 464372 h 541195"/>
                <a:gd name="connsiteX499" fmla="*/ 430309 w 4012966"/>
                <a:gd name="connsiteY499" fmla="*/ 464372 h 541195"/>
                <a:gd name="connsiteX500" fmla="*/ 407496 w 4012966"/>
                <a:gd name="connsiteY500" fmla="*/ 464372 h 541195"/>
                <a:gd name="connsiteX501" fmla="*/ 427765 w 4012966"/>
                <a:gd name="connsiteY501" fmla="*/ 440304 h 541195"/>
                <a:gd name="connsiteX502" fmla="*/ 428042 w 4012966"/>
                <a:gd name="connsiteY502" fmla="*/ 464372 h 541195"/>
                <a:gd name="connsiteX503" fmla="*/ 407523 w 4012966"/>
                <a:gd name="connsiteY503" fmla="*/ 464372 h 541195"/>
                <a:gd name="connsiteX504" fmla="*/ 314608 w 4012966"/>
                <a:gd name="connsiteY504" fmla="*/ 464372 h 541195"/>
                <a:gd name="connsiteX505" fmla="*/ 314913 w 4012966"/>
                <a:gd name="connsiteY505" fmla="*/ 436750 h 541195"/>
                <a:gd name="connsiteX506" fmla="*/ 338334 w 4012966"/>
                <a:gd name="connsiteY506" fmla="*/ 464372 h 541195"/>
                <a:gd name="connsiteX507" fmla="*/ 290439 w 4012966"/>
                <a:gd name="connsiteY507" fmla="*/ 464372 h 541195"/>
                <a:gd name="connsiteX508" fmla="*/ 312617 w 4012966"/>
                <a:gd name="connsiteY508" fmla="*/ 438226 h 541195"/>
                <a:gd name="connsiteX509" fmla="*/ 312341 w 4012966"/>
                <a:gd name="connsiteY509" fmla="*/ 464372 h 541195"/>
                <a:gd name="connsiteX510" fmla="*/ 259938 w 4012966"/>
                <a:gd name="connsiteY510" fmla="*/ 464372 h 541195"/>
                <a:gd name="connsiteX511" fmla="*/ 283249 w 4012966"/>
                <a:gd name="connsiteY511" fmla="*/ 437557 h 541195"/>
                <a:gd name="connsiteX512" fmla="*/ 283249 w 4012966"/>
                <a:gd name="connsiteY512" fmla="*/ 464372 h 541195"/>
                <a:gd name="connsiteX513" fmla="*/ 994574 w 4012966"/>
                <a:gd name="connsiteY513" fmla="*/ 464389 h 541195"/>
                <a:gd name="connsiteX514" fmla="*/ 995183 w 4012966"/>
                <a:gd name="connsiteY514" fmla="*/ 432870 h 541195"/>
                <a:gd name="connsiteX515" fmla="*/ 1018301 w 4012966"/>
                <a:gd name="connsiteY515" fmla="*/ 464389 h 541195"/>
                <a:gd name="connsiteX516" fmla="*/ 967640 w 4012966"/>
                <a:gd name="connsiteY516" fmla="*/ 464389 h 541195"/>
                <a:gd name="connsiteX517" fmla="*/ 992915 w 4012966"/>
                <a:gd name="connsiteY517" fmla="*/ 433489 h 541195"/>
                <a:gd name="connsiteX518" fmla="*/ 992335 w 4012966"/>
                <a:gd name="connsiteY518" fmla="*/ 464389 h 541195"/>
                <a:gd name="connsiteX519" fmla="*/ 928565 w 4012966"/>
                <a:gd name="connsiteY519" fmla="*/ 464389 h 541195"/>
                <a:gd name="connsiteX520" fmla="*/ 928925 w 4012966"/>
                <a:gd name="connsiteY520" fmla="*/ 441179 h 541195"/>
                <a:gd name="connsiteX521" fmla="*/ 956662 w 4012966"/>
                <a:gd name="connsiteY521" fmla="*/ 464389 h 541195"/>
                <a:gd name="connsiteX522" fmla="*/ 904452 w 4012966"/>
                <a:gd name="connsiteY522" fmla="*/ 464389 h 541195"/>
                <a:gd name="connsiteX523" fmla="*/ 905503 w 4012966"/>
                <a:gd name="connsiteY523" fmla="*/ 421591 h 541195"/>
                <a:gd name="connsiteX524" fmla="*/ 926686 w 4012966"/>
                <a:gd name="connsiteY524" fmla="*/ 439308 h 541195"/>
                <a:gd name="connsiteX525" fmla="*/ 926298 w 4012966"/>
                <a:gd name="connsiteY525" fmla="*/ 464372 h 541195"/>
                <a:gd name="connsiteX526" fmla="*/ 926298 w 4012966"/>
                <a:gd name="connsiteY526" fmla="*/ 464389 h 541195"/>
                <a:gd name="connsiteX527" fmla="*/ 894386 w 4012966"/>
                <a:gd name="connsiteY527" fmla="*/ 464389 h 541195"/>
                <a:gd name="connsiteX528" fmla="*/ 875085 w 4012966"/>
                <a:gd name="connsiteY528" fmla="*/ 445677 h 541195"/>
                <a:gd name="connsiteX529" fmla="*/ 874172 w 4012966"/>
                <a:gd name="connsiteY529" fmla="*/ 446124 h 541195"/>
                <a:gd name="connsiteX530" fmla="*/ 903290 w 4012966"/>
                <a:gd name="connsiteY530" fmla="*/ 421643 h 541195"/>
                <a:gd name="connsiteX531" fmla="*/ 902212 w 4012966"/>
                <a:gd name="connsiteY531" fmla="*/ 464389 h 541195"/>
                <a:gd name="connsiteX532" fmla="*/ 902184 w 4012966"/>
                <a:gd name="connsiteY532" fmla="*/ 464389 h 541195"/>
                <a:gd name="connsiteX533" fmla="*/ 852437 w 4012966"/>
                <a:gd name="connsiteY533" fmla="*/ 464389 h 541195"/>
                <a:gd name="connsiteX534" fmla="*/ 869969 w 4012966"/>
                <a:gd name="connsiteY534" fmla="*/ 449643 h 541195"/>
                <a:gd name="connsiteX535" fmla="*/ 869498 w 4012966"/>
                <a:gd name="connsiteY535" fmla="*/ 464389 h 541195"/>
                <a:gd name="connsiteX536" fmla="*/ 846325 w 4012966"/>
                <a:gd name="connsiteY536" fmla="*/ 464389 h 541195"/>
                <a:gd name="connsiteX537" fmla="*/ 846325 w 4012966"/>
                <a:gd name="connsiteY537" fmla="*/ 439256 h 541195"/>
                <a:gd name="connsiteX538" fmla="*/ 869028 w 4012966"/>
                <a:gd name="connsiteY538" fmla="*/ 445540 h 541195"/>
                <a:gd name="connsiteX539" fmla="*/ 846601 w 4012966"/>
                <a:gd name="connsiteY539" fmla="*/ 464389 h 541195"/>
                <a:gd name="connsiteX540" fmla="*/ 838471 w 4012966"/>
                <a:gd name="connsiteY540" fmla="*/ 464389 h 541195"/>
                <a:gd name="connsiteX541" fmla="*/ 816072 w 4012966"/>
                <a:gd name="connsiteY541" fmla="*/ 445540 h 541195"/>
                <a:gd name="connsiteX542" fmla="*/ 838776 w 4012966"/>
                <a:gd name="connsiteY542" fmla="*/ 439256 h 541195"/>
                <a:gd name="connsiteX543" fmla="*/ 838776 w 4012966"/>
                <a:gd name="connsiteY543" fmla="*/ 464389 h 541195"/>
                <a:gd name="connsiteX544" fmla="*/ 815603 w 4012966"/>
                <a:gd name="connsiteY544" fmla="*/ 464389 h 541195"/>
                <a:gd name="connsiteX545" fmla="*/ 815132 w 4012966"/>
                <a:gd name="connsiteY545" fmla="*/ 449643 h 541195"/>
                <a:gd name="connsiteX546" fmla="*/ 832664 w 4012966"/>
                <a:gd name="connsiteY546" fmla="*/ 464389 h 541195"/>
                <a:gd name="connsiteX547" fmla="*/ 793480 w 4012966"/>
                <a:gd name="connsiteY547" fmla="*/ 464389 h 541195"/>
                <a:gd name="connsiteX548" fmla="*/ 811675 w 4012966"/>
                <a:gd name="connsiteY548" fmla="*/ 446759 h 541195"/>
                <a:gd name="connsiteX549" fmla="*/ 812781 w 4012966"/>
                <a:gd name="connsiteY549" fmla="*/ 447685 h 541195"/>
                <a:gd name="connsiteX550" fmla="*/ 813307 w 4012966"/>
                <a:gd name="connsiteY550" fmla="*/ 464389 h 541195"/>
                <a:gd name="connsiteX551" fmla="*/ 782916 w 4012966"/>
                <a:gd name="connsiteY551" fmla="*/ 464389 h 541195"/>
                <a:gd name="connsiteX552" fmla="*/ 781865 w 4012966"/>
                <a:gd name="connsiteY552" fmla="*/ 421643 h 541195"/>
                <a:gd name="connsiteX553" fmla="*/ 810984 w 4012966"/>
                <a:gd name="connsiteY553" fmla="*/ 446124 h 541195"/>
                <a:gd name="connsiteX554" fmla="*/ 810072 w 4012966"/>
                <a:gd name="connsiteY554" fmla="*/ 445677 h 541195"/>
                <a:gd name="connsiteX555" fmla="*/ 790742 w 4012966"/>
                <a:gd name="connsiteY555" fmla="*/ 464389 h 541195"/>
                <a:gd name="connsiteX556" fmla="*/ 782943 w 4012966"/>
                <a:gd name="connsiteY556" fmla="*/ 464389 h 541195"/>
                <a:gd name="connsiteX557" fmla="*/ 728412 w 4012966"/>
                <a:gd name="connsiteY557" fmla="*/ 464389 h 541195"/>
                <a:gd name="connsiteX558" fmla="*/ 756148 w 4012966"/>
                <a:gd name="connsiteY558" fmla="*/ 441179 h 541195"/>
                <a:gd name="connsiteX559" fmla="*/ 756507 w 4012966"/>
                <a:gd name="connsiteY559" fmla="*/ 464389 h 541195"/>
                <a:gd name="connsiteX560" fmla="*/ 692766 w 4012966"/>
                <a:gd name="connsiteY560" fmla="*/ 464389 h 541195"/>
                <a:gd name="connsiteX561" fmla="*/ 692186 w 4012966"/>
                <a:gd name="connsiteY561" fmla="*/ 433489 h 541195"/>
                <a:gd name="connsiteX562" fmla="*/ 717461 w 4012966"/>
                <a:gd name="connsiteY562" fmla="*/ 464389 h 541195"/>
                <a:gd name="connsiteX563" fmla="*/ 666800 w 4012966"/>
                <a:gd name="connsiteY563" fmla="*/ 464389 h 541195"/>
                <a:gd name="connsiteX564" fmla="*/ 689891 w 4012966"/>
                <a:gd name="connsiteY564" fmla="*/ 432870 h 541195"/>
                <a:gd name="connsiteX565" fmla="*/ 690499 w 4012966"/>
                <a:gd name="connsiteY565" fmla="*/ 464389 h 541195"/>
                <a:gd name="connsiteX566" fmla="*/ 634003 w 4012966"/>
                <a:gd name="connsiteY566" fmla="*/ 464389 h 541195"/>
                <a:gd name="connsiteX567" fmla="*/ 634003 w 4012966"/>
                <a:gd name="connsiteY567" fmla="*/ 437574 h 541195"/>
                <a:gd name="connsiteX568" fmla="*/ 657315 w 4012966"/>
                <a:gd name="connsiteY568" fmla="*/ 464389 h 541195"/>
                <a:gd name="connsiteX569" fmla="*/ 604940 w 4012966"/>
                <a:gd name="connsiteY569" fmla="*/ 464389 h 541195"/>
                <a:gd name="connsiteX570" fmla="*/ 604663 w 4012966"/>
                <a:gd name="connsiteY570" fmla="*/ 438244 h 541195"/>
                <a:gd name="connsiteX571" fmla="*/ 626841 w 4012966"/>
                <a:gd name="connsiteY571" fmla="*/ 464389 h 541195"/>
                <a:gd name="connsiteX572" fmla="*/ 578946 w 4012966"/>
                <a:gd name="connsiteY572" fmla="*/ 464389 h 541195"/>
                <a:gd name="connsiteX573" fmla="*/ 602368 w 4012966"/>
                <a:gd name="connsiteY573" fmla="*/ 436767 h 541195"/>
                <a:gd name="connsiteX574" fmla="*/ 602672 w 4012966"/>
                <a:gd name="connsiteY574" fmla="*/ 464389 h 541195"/>
                <a:gd name="connsiteX575" fmla="*/ 226781 w 4012966"/>
                <a:gd name="connsiteY575" fmla="*/ 464389 h 541195"/>
                <a:gd name="connsiteX576" fmla="*/ 227390 w 4012966"/>
                <a:gd name="connsiteY576" fmla="*/ 432870 h 541195"/>
                <a:gd name="connsiteX577" fmla="*/ 250508 w 4012966"/>
                <a:gd name="connsiteY577" fmla="*/ 464389 h 541195"/>
                <a:gd name="connsiteX578" fmla="*/ 226809 w 4012966"/>
                <a:gd name="connsiteY578" fmla="*/ 464389 h 541195"/>
                <a:gd name="connsiteX579" fmla="*/ 199820 w 4012966"/>
                <a:gd name="connsiteY579" fmla="*/ 464389 h 541195"/>
                <a:gd name="connsiteX580" fmla="*/ 225095 w 4012966"/>
                <a:gd name="connsiteY580" fmla="*/ 433489 h 541195"/>
                <a:gd name="connsiteX581" fmla="*/ 224486 w 4012966"/>
                <a:gd name="connsiteY581" fmla="*/ 464389 h 541195"/>
                <a:gd name="connsiteX582" fmla="*/ 160746 w 4012966"/>
                <a:gd name="connsiteY582" fmla="*/ 464389 h 541195"/>
                <a:gd name="connsiteX583" fmla="*/ 161105 w 4012966"/>
                <a:gd name="connsiteY583" fmla="*/ 441179 h 541195"/>
                <a:gd name="connsiteX584" fmla="*/ 188841 w 4012966"/>
                <a:gd name="connsiteY584" fmla="*/ 464389 h 541195"/>
                <a:gd name="connsiteX585" fmla="*/ 136660 w 4012966"/>
                <a:gd name="connsiteY585" fmla="*/ 464389 h 541195"/>
                <a:gd name="connsiteX586" fmla="*/ 137711 w 4012966"/>
                <a:gd name="connsiteY586" fmla="*/ 421591 h 541195"/>
                <a:gd name="connsiteX587" fmla="*/ 158920 w 4012966"/>
                <a:gd name="connsiteY587" fmla="*/ 439308 h 541195"/>
                <a:gd name="connsiteX588" fmla="*/ 158505 w 4012966"/>
                <a:gd name="connsiteY588" fmla="*/ 464372 h 541195"/>
                <a:gd name="connsiteX589" fmla="*/ 158505 w 4012966"/>
                <a:gd name="connsiteY589" fmla="*/ 464389 h 541195"/>
                <a:gd name="connsiteX590" fmla="*/ 126594 w 4012966"/>
                <a:gd name="connsiteY590" fmla="*/ 464389 h 541195"/>
                <a:gd name="connsiteX591" fmla="*/ 107292 w 4012966"/>
                <a:gd name="connsiteY591" fmla="*/ 445677 h 541195"/>
                <a:gd name="connsiteX592" fmla="*/ 106379 w 4012966"/>
                <a:gd name="connsiteY592" fmla="*/ 446124 h 541195"/>
                <a:gd name="connsiteX593" fmla="*/ 135470 w 4012966"/>
                <a:gd name="connsiteY593" fmla="*/ 421643 h 541195"/>
                <a:gd name="connsiteX594" fmla="*/ 134419 w 4012966"/>
                <a:gd name="connsiteY594" fmla="*/ 464389 h 541195"/>
                <a:gd name="connsiteX595" fmla="*/ 134391 w 4012966"/>
                <a:gd name="connsiteY595" fmla="*/ 464389 h 541195"/>
                <a:gd name="connsiteX596" fmla="*/ 84644 w 4012966"/>
                <a:gd name="connsiteY596" fmla="*/ 464389 h 541195"/>
                <a:gd name="connsiteX597" fmla="*/ 102176 w 4012966"/>
                <a:gd name="connsiteY597" fmla="*/ 449643 h 541195"/>
                <a:gd name="connsiteX598" fmla="*/ 101705 w 4012966"/>
                <a:gd name="connsiteY598" fmla="*/ 464389 h 541195"/>
                <a:gd name="connsiteX599" fmla="*/ 78504 w 4012966"/>
                <a:gd name="connsiteY599" fmla="*/ 464389 h 541195"/>
                <a:gd name="connsiteX600" fmla="*/ 78504 w 4012966"/>
                <a:gd name="connsiteY600" fmla="*/ 439256 h 541195"/>
                <a:gd name="connsiteX601" fmla="*/ 101208 w 4012966"/>
                <a:gd name="connsiteY601" fmla="*/ 445540 h 541195"/>
                <a:gd name="connsiteX602" fmla="*/ 78781 w 4012966"/>
                <a:gd name="connsiteY602" fmla="*/ 464389 h 541195"/>
                <a:gd name="connsiteX603" fmla="*/ 70678 w 4012966"/>
                <a:gd name="connsiteY603" fmla="*/ 464389 h 541195"/>
                <a:gd name="connsiteX604" fmla="*/ 48280 w 4012966"/>
                <a:gd name="connsiteY604" fmla="*/ 445540 h 541195"/>
                <a:gd name="connsiteX605" fmla="*/ 70983 w 4012966"/>
                <a:gd name="connsiteY605" fmla="*/ 439256 h 541195"/>
                <a:gd name="connsiteX606" fmla="*/ 70983 w 4012966"/>
                <a:gd name="connsiteY606" fmla="*/ 464389 h 541195"/>
                <a:gd name="connsiteX607" fmla="*/ 47810 w 4012966"/>
                <a:gd name="connsiteY607" fmla="*/ 464389 h 541195"/>
                <a:gd name="connsiteX608" fmla="*/ 47339 w 4012966"/>
                <a:gd name="connsiteY608" fmla="*/ 449643 h 541195"/>
                <a:gd name="connsiteX609" fmla="*/ 64871 w 4012966"/>
                <a:gd name="connsiteY609" fmla="*/ 464389 h 541195"/>
                <a:gd name="connsiteX610" fmla="*/ 25687 w 4012966"/>
                <a:gd name="connsiteY610" fmla="*/ 464389 h 541195"/>
                <a:gd name="connsiteX611" fmla="*/ 43882 w 4012966"/>
                <a:gd name="connsiteY611" fmla="*/ 446759 h 541195"/>
                <a:gd name="connsiteX612" fmla="*/ 44988 w 4012966"/>
                <a:gd name="connsiteY612" fmla="*/ 447685 h 541195"/>
                <a:gd name="connsiteX613" fmla="*/ 45514 w 4012966"/>
                <a:gd name="connsiteY613" fmla="*/ 464389 h 541195"/>
                <a:gd name="connsiteX614" fmla="*/ 15124 w 4012966"/>
                <a:gd name="connsiteY614" fmla="*/ 464389 h 541195"/>
                <a:gd name="connsiteX615" fmla="*/ 14045 w 4012966"/>
                <a:gd name="connsiteY615" fmla="*/ 421643 h 541195"/>
                <a:gd name="connsiteX616" fmla="*/ 43164 w 4012966"/>
                <a:gd name="connsiteY616" fmla="*/ 446124 h 541195"/>
                <a:gd name="connsiteX617" fmla="*/ 42251 w 4012966"/>
                <a:gd name="connsiteY617" fmla="*/ 445677 h 541195"/>
                <a:gd name="connsiteX618" fmla="*/ 22949 w 4012966"/>
                <a:gd name="connsiteY618" fmla="*/ 464389 h 541195"/>
                <a:gd name="connsiteX619" fmla="*/ 15151 w 4012966"/>
                <a:gd name="connsiteY619" fmla="*/ 464389 h 541195"/>
                <a:gd name="connsiteX620" fmla="*/ 871738 w 4012966"/>
                <a:gd name="connsiteY620" fmla="*/ 464406 h 541195"/>
                <a:gd name="connsiteX621" fmla="*/ 871766 w 4012966"/>
                <a:gd name="connsiteY621" fmla="*/ 464389 h 541195"/>
                <a:gd name="connsiteX622" fmla="*/ 872291 w 4012966"/>
                <a:gd name="connsiteY622" fmla="*/ 447685 h 541195"/>
                <a:gd name="connsiteX623" fmla="*/ 873397 w 4012966"/>
                <a:gd name="connsiteY623" fmla="*/ 446759 h 541195"/>
                <a:gd name="connsiteX624" fmla="*/ 891593 w 4012966"/>
                <a:gd name="connsiteY624" fmla="*/ 464406 h 541195"/>
                <a:gd name="connsiteX625" fmla="*/ 758803 w 4012966"/>
                <a:gd name="connsiteY625" fmla="*/ 464406 h 541195"/>
                <a:gd name="connsiteX626" fmla="*/ 758803 w 4012966"/>
                <a:gd name="connsiteY626" fmla="*/ 464389 h 541195"/>
                <a:gd name="connsiteX627" fmla="*/ 758415 w 4012966"/>
                <a:gd name="connsiteY627" fmla="*/ 439325 h 541195"/>
                <a:gd name="connsiteX628" fmla="*/ 779625 w 4012966"/>
                <a:gd name="connsiteY628" fmla="*/ 421609 h 541195"/>
                <a:gd name="connsiteX629" fmla="*/ 780676 w 4012966"/>
                <a:gd name="connsiteY629" fmla="*/ 464406 h 541195"/>
                <a:gd name="connsiteX630" fmla="*/ 103973 w 4012966"/>
                <a:gd name="connsiteY630" fmla="*/ 464406 h 541195"/>
                <a:gd name="connsiteX631" fmla="*/ 103973 w 4012966"/>
                <a:gd name="connsiteY631" fmla="*/ 464389 h 541195"/>
                <a:gd name="connsiteX632" fmla="*/ 104499 w 4012966"/>
                <a:gd name="connsiteY632" fmla="*/ 447685 h 541195"/>
                <a:gd name="connsiteX633" fmla="*/ 105633 w 4012966"/>
                <a:gd name="connsiteY633" fmla="*/ 446759 h 541195"/>
                <a:gd name="connsiteX634" fmla="*/ 123828 w 4012966"/>
                <a:gd name="connsiteY634" fmla="*/ 464406 h 541195"/>
                <a:gd name="connsiteX635" fmla="*/ 1236291 w 4012966"/>
                <a:gd name="connsiteY635" fmla="*/ 465780 h 541195"/>
                <a:gd name="connsiteX636" fmla="*/ 1227801 w 4012966"/>
                <a:gd name="connsiteY636" fmla="*/ 340580 h 541195"/>
                <a:gd name="connsiteX637" fmla="*/ 1227801 w 4012966"/>
                <a:gd name="connsiteY637" fmla="*/ 339532 h 541195"/>
                <a:gd name="connsiteX638" fmla="*/ 1228714 w 4012966"/>
                <a:gd name="connsiteY638" fmla="*/ 338897 h 541195"/>
                <a:gd name="connsiteX639" fmla="*/ 1227801 w 4012966"/>
                <a:gd name="connsiteY639" fmla="*/ 338005 h 541195"/>
                <a:gd name="connsiteX640" fmla="*/ 1227801 w 4012966"/>
                <a:gd name="connsiteY640" fmla="*/ 335378 h 541195"/>
                <a:gd name="connsiteX641" fmla="*/ 1226585 w 4012966"/>
                <a:gd name="connsiteY641" fmla="*/ 334777 h 541195"/>
                <a:gd name="connsiteX642" fmla="*/ 1226585 w 4012966"/>
                <a:gd name="connsiteY642" fmla="*/ 328580 h 541195"/>
                <a:gd name="connsiteX643" fmla="*/ 1222409 w 4012966"/>
                <a:gd name="connsiteY643" fmla="*/ 328580 h 541195"/>
                <a:gd name="connsiteX644" fmla="*/ 1222409 w 4012966"/>
                <a:gd name="connsiteY644" fmla="*/ 334777 h 541195"/>
                <a:gd name="connsiteX645" fmla="*/ 1221137 w 4012966"/>
                <a:gd name="connsiteY645" fmla="*/ 335378 h 541195"/>
                <a:gd name="connsiteX646" fmla="*/ 1221137 w 4012966"/>
                <a:gd name="connsiteY646" fmla="*/ 338091 h 541195"/>
                <a:gd name="connsiteX647" fmla="*/ 1219920 w 4012966"/>
                <a:gd name="connsiteY647" fmla="*/ 338691 h 541195"/>
                <a:gd name="connsiteX648" fmla="*/ 1220473 w 4012966"/>
                <a:gd name="connsiteY648" fmla="*/ 339361 h 541195"/>
                <a:gd name="connsiteX649" fmla="*/ 1220473 w 4012966"/>
                <a:gd name="connsiteY649" fmla="*/ 340374 h 541195"/>
                <a:gd name="connsiteX650" fmla="*/ 1212178 w 4012966"/>
                <a:gd name="connsiteY650" fmla="*/ 340374 h 541195"/>
                <a:gd name="connsiteX651" fmla="*/ 1212178 w 4012966"/>
                <a:gd name="connsiteY651" fmla="*/ 291396 h 541195"/>
                <a:gd name="connsiteX652" fmla="*/ 1215441 w 4012966"/>
                <a:gd name="connsiteY652" fmla="*/ 288581 h 541195"/>
                <a:gd name="connsiteX653" fmla="*/ 1212178 w 4012966"/>
                <a:gd name="connsiteY653" fmla="*/ 288581 h 541195"/>
                <a:gd name="connsiteX654" fmla="*/ 1212178 w 4012966"/>
                <a:gd name="connsiteY654" fmla="*/ 287001 h 541195"/>
                <a:gd name="connsiteX655" fmla="*/ 1211956 w 4012966"/>
                <a:gd name="connsiteY655" fmla="*/ 287001 h 541195"/>
                <a:gd name="connsiteX656" fmla="*/ 1213284 w 4012966"/>
                <a:gd name="connsiteY656" fmla="*/ 285868 h 541195"/>
                <a:gd name="connsiteX657" fmla="*/ 1213394 w 4012966"/>
                <a:gd name="connsiteY657" fmla="*/ 279705 h 541195"/>
                <a:gd name="connsiteX658" fmla="*/ 1214473 w 4012966"/>
                <a:gd name="connsiteY658" fmla="*/ 278280 h 541195"/>
                <a:gd name="connsiteX659" fmla="*/ 1212066 w 4012966"/>
                <a:gd name="connsiteY659" fmla="*/ 278280 h 541195"/>
                <a:gd name="connsiteX660" fmla="*/ 1189225 w 4012966"/>
                <a:gd name="connsiteY660" fmla="*/ 244203 h 541195"/>
                <a:gd name="connsiteX661" fmla="*/ 1188976 w 4012966"/>
                <a:gd name="connsiteY661" fmla="*/ 244203 h 541195"/>
                <a:gd name="connsiteX662" fmla="*/ 1188976 w 4012966"/>
                <a:gd name="connsiteY662" fmla="*/ 238658 h 541195"/>
                <a:gd name="connsiteX663" fmla="*/ 1191880 w 4012966"/>
                <a:gd name="connsiteY663" fmla="*/ 238658 h 541195"/>
                <a:gd name="connsiteX664" fmla="*/ 1191880 w 4012966"/>
                <a:gd name="connsiteY664" fmla="*/ 237457 h 541195"/>
                <a:gd name="connsiteX665" fmla="*/ 1188976 w 4012966"/>
                <a:gd name="connsiteY665" fmla="*/ 237457 h 541195"/>
                <a:gd name="connsiteX666" fmla="*/ 1188976 w 4012966"/>
                <a:gd name="connsiteY666" fmla="*/ 234607 h 541195"/>
                <a:gd name="connsiteX667" fmla="*/ 1186930 w 4012966"/>
                <a:gd name="connsiteY667" fmla="*/ 234607 h 541195"/>
                <a:gd name="connsiteX668" fmla="*/ 1186930 w 4012966"/>
                <a:gd name="connsiteY668" fmla="*/ 237457 h 541195"/>
                <a:gd name="connsiteX669" fmla="*/ 1183778 w 4012966"/>
                <a:gd name="connsiteY669" fmla="*/ 237457 h 541195"/>
                <a:gd name="connsiteX670" fmla="*/ 1183778 w 4012966"/>
                <a:gd name="connsiteY670" fmla="*/ 238658 h 541195"/>
                <a:gd name="connsiteX671" fmla="*/ 1186930 w 4012966"/>
                <a:gd name="connsiteY671" fmla="*/ 238658 h 541195"/>
                <a:gd name="connsiteX672" fmla="*/ 1186930 w 4012966"/>
                <a:gd name="connsiteY672" fmla="*/ 244203 h 541195"/>
                <a:gd name="connsiteX673" fmla="*/ 1186681 w 4012966"/>
                <a:gd name="connsiteY673" fmla="*/ 244203 h 541195"/>
                <a:gd name="connsiteX674" fmla="*/ 1164199 w 4012966"/>
                <a:gd name="connsiteY674" fmla="*/ 278280 h 541195"/>
                <a:gd name="connsiteX675" fmla="*/ 1160687 w 4012966"/>
                <a:gd name="connsiteY675" fmla="*/ 278280 h 541195"/>
                <a:gd name="connsiteX676" fmla="*/ 1162374 w 4012966"/>
                <a:gd name="connsiteY676" fmla="*/ 279482 h 541195"/>
                <a:gd name="connsiteX677" fmla="*/ 1162374 w 4012966"/>
                <a:gd name="connsiteY677" fmla="*/ 285937 h 541195"/>
                <a:gd name="connsiteX678" fmla="*/ 1163590 w 4012966"/>
                <a:gd name="connsiteY678" fmla="*/ 287001 h 541195"/>
                <a:gd name="connsiteX679" fmla="*/ 1163590 w 4012966"/>
                <a:gd name="connsiteY679" fmla="*/ 288563 h 541195"/>
                <a:gd name="connsiteX680" fmla="*/ 1160687 w 4012966"/>
                <a:gd name="connsiteY680" fmla="*/ 288563 h 541195"/>
                <a:gd name="connsiteX681" fmla="*/ 1163590 w 4012966"/>
                <a:gd name="connsiteY681" fmla="*/ 291344 h 541195"/>
                <a:gd name="connsiteX682" fmla="*/ 1163590 w 4012966"/>
                <a:gd name="connsiteY682" fmla="*/ 340116 h 541195"/>
                <a:gd name="connsiteX683" fmla="*/ 1132038 w 4012966"/>
                <a:gd name="connsiteY683" fmla="*/ 340116 h 541195"/>
                <a:gd name="connsiteX684" fmla="*/ 1161793 w 4012966"/>
                <a:gd name="connsiteY684" fmla="*/ 380871 h 541195"/>
                <a:gd name="connsiteX685" fmla="*/ 1120839 w 4012966"/>
                <a:gd name="connsiteY685" fmla="*/ 338468 h 541195"/>
                <a:gd name="connsiteX686" fmla="*/ 1121696 w 4012966"/>
                <a:gd name="connsiteY686" fmla="*/ 337472 h 541195"/>
                <a:gd name="connsiteX687" fmla="*/ 1120424 w 4012966"/>
                <a:gd name="connsiteY687" fmla="*/ 336460 h 541195"/>
                <a:gd name="connsiteX688" fmla="*/ 1120424 w 4012966"/>
                <a:gd name="connsiteY688" fmla="*/ 334881 h 541195"/>
                <a:gd name="connsiteX689" fmla="*/ 1119511 w 4012966"/>
                <a:gd name="connsiteY689" fmla="*/ 334211 h 541195"/>
                <a:gd name="connsiteX690" fmla="*/ 1119511 w 4012966"/>
                <a:gd name="connsiteY690" fmla="*/ 330486 h 541195"/>
                <a:gd name="connsiteX691" fmla="*/ 1121696 w 4012966"/>
                <a:gd name="connsiteY691" fmla="*/ 330486 h 541195"/>
                <a:gd name="connsiteX692" fmla="*/ 1121696 w 4012966"/>
                <a:gd name="connsiteY692" fmla="*/ 329644 h 541195"/>
                <a:gd name="connsiteX693" fmla="*/ 1119511 w 4012966"/>
                <a:gd name="connsiteY693" fmla="*/ 329644 h 541195"/>
                <a:gd name="connsiteX694" fmla="*/ 1119511 w 4012966"/>
                <a:gd name="connsiteY694" fmla="*/ 328134 h 541195"/>
                <a:gd name="connsiteX695" fmla="*/ 1118157 w 4012966"/>
                <a:gd name="connsiteY695" fmla="*/ 328134 h 541195"/>
                <a:gd name="connsiteX696" fmla="*/ 1118157 w 4012966"/>
                <a:gd name="connsiteY696" fmla="*/ 329644 h 541195"/>
                <a:gd name="connsiteX697" fmla="*/ 1115889 w 4012966"/>
                <a:gd name="connsiteY697" fmla="*/ 329644 h 541195"/>
                <a:gd name="connsiteX698" fmla="*/ 1115889 w 4012966"/>
                <a:gd name="connsiteY698" fmla="*/ 330486 h 541195"/>
                <a:gd name="connsiteX699" fmla="*/ 1118157 w 4012966"/>
                <a:gd name="connsiteY699" fmla="*/ 330486 h 541195"/>
                <a:gd name="connsiteX700" fmla="*/ 1118157 w 4012966"/>
                <a:gd name="connsiteY700" fmla="*/ 334262 h 541195"/>
                <a:gd name="connsiteX701" fmla="*/ 1117437 w 4012966"/>
                <a:gd name="connsiteY701" fmla="*/ 334777 h 541195"/>
                <a:gd name="connsiteX702" fmla="*/ 1117437 w 4012966"/>
                <a:gd name="connsiteY702" fmla="*/ 336185 h 541195"/>
                <a:gd name="connsiteX703" fmla="*/ 1115889 w 4012966"/>
                <a:gd name="connsiteY703" fmla="*/ 337593 h 541195"/>
                <a:gd name="connsiteX704" fmla="*/ 1116691 w 4012966"/>
                <a:gd name="connsiteY704" fmla="*/ 338571 h 541195"/>
                <a:gd name="connsiteX705" fmla="*/ 1044239 w 4012966"/>
                <a:gd name="connsiteY705" fmla="*/ 415326 h 541195"/>
                <a:gd name="connsiteX706" fmla="*/ 1107731 w 4012966"/>
                <a:gd name="connsiteY706" fmla="*/ 339893 h 541195"/>
                <a:gd name="connsiteX707" fmla="*/ 1017029 w 4012966"/>
                <a:gd name="connsiteY707" fmla="*/ 339670 h 541195"/>
                <a:gd name="connsiteX708" fmla="*/ 1017029 w 4012966"/>
                <a:gd name="connsiteY708" fmla="*/ 337644 h 541195"/>
                <a:gd name="connsiteX709" fmla="*/ 1015839 w 4012966"/>
                <a:gd name="connsiteY709" fmla="*/ 336683 h 541195"/>
                <a:gd name="connsiteX710" fmla="*/ 1015839 w 4012966"/>
                <a:gd name="connsiteY710" fmla="*/ 334486 h 541195"/>
                <a:gd name="connsiteX711" fmla="*/ 1014843 w 4012966"/>
                <a:gd name="connsiteY711" fmla="*/ 333696 h 541195"/>
                <a:gd name="connsiteX712" fmla="*/ 1014843 w 4012966"/>
                <a:gd name="connsiteY712" fmla="*/ 327670 h 541195"/>
                <a:gd name="connsiteX713" fmla="*/ 1010668 w 4012966"/>
                <a:gd name="connsiteY713" fmla="*/ 327670 h 541195"/>
                <a:gd name="connsiteX714" fmla="*/ 1010668 w 4012966"/>
                <a:gd name="connsiteY714" fmla="*/ 333919 h 541195"/>
                <a:gd name="connsiteX715" fmla="*/ 1009756 w 4012966"/>
                <a:gd name="connsiteY715" fmla="*/ 334537 h 541195"/>
                <a:gd name="connsiteX716" fmla="*/ 1009756 w 4012966"/>
                <a:gd name="connsiteY716" fmla="*/ 336906 h 541195"/>
                <a:gd name="connsiteX717" fmla="*/ 1008290 w 4012966"/>
                <a:gd name="connsiteY717" fmla="*/ 337644 h 541195"/>
                <a:gd name="connsiteX718" fmla="*/ 1008290 w 4012966"/>
                <a:gd name="connsiteY718" fmla="*/ 417592 h 541195"/>
                <a:gd name="connsiteX719" fmla="*/ 1197742 w 4012966"/>
                <a:gd name="connsiteY719" fmla="*/ 423343 h 541195"/>
                <a:gd name="connsiteX720" fmla="*/ 1206370 w 4012966"/>
                <a:gd name="connsiteY720" fmla="*/ 423343 h 541195"/>
                <a:gd name="connsiteX721" fmla="*/ 1210214 w 4012966"/>
                <a:gd name="connsiteY721" fmla="*/ 428133 h 541195"/>
                <a:gd name="connsiteX722" fmla="*/ 50520 w 4012966"/>
                <a:gd name="connsiteY722" fmla="*/ 541195 h 541195"/>
                <a:gd name="connsiteX723" fmla="*/ 97087 w 4012966"/>
                <a:gd name="connsiteY723" fmla="*/ 541195 h 541195"/>
                <a:gd name="connsiteX724" fmla="*/ 97087 w 4012966"/>
                <a:gd name="connsiteY724" fmla="*/ 529624 h 541195"/>
                <a:gd name="connsiteX725" fmla="*/ 84616 w 4012966"/>
                <a:gd name="connsiteY725" fmla="*/ 529624 h 541195"/>
                <a:gd name="connsiteX726" fmla="*/ 81325 w 4012966"/>
                <a:gd name="connsiteY726" fmla="*/ 477076 h 541195"/>
                <a:gd name="connsiteX727" fmla="*/ 82376 w 4012966"/>
                <a:gd name="connsiteY727" fmla="*/ 477076 h 541195"/>
                <a:gd name="connsiteX728" fmla="*/ 82376 w 4012966"/>
                <a:gd name="connsiteY728" fmla="*/ 474501 h 541195"/>
                <a:gd name="connsiteX729" fmla="*/ 80108 w 4012966"/>
                <a:gd name="connsiteY729" fmla="*/ 474501 h 541195"/>
                <a:gd name="connsiteX730" fmla="*/ 80108 w 4012966"/>
                <a:gd name="connsiteY730" fmla="*/ 470140 h 541195"/>
                <a:gd name="connsiteX731" fmla="*/ 103669 w 4012966"/>
                <a:gd name="connsiteY731" fmla="*/ 470140 h 541195"/>
                <a:gd name="connsiteX732" fmla="*/ 813473 w 4012966"/>
                <a:gd name="connsiteY732" fmla="*/ 470140 h 541195"/>
                <a:gd name="connsiteX733" fmla="*/ 814607 w 4012966"/>
                <a:gd name="connsiteY733" fmla="*/ 470140 h 541195"/>
                <a:gd name="connsiteX734" fmla="*/ 837033 w 4012966"/>
                <a:gd name="connsiteY734" fmla="*/ 470140 h 541195"/>
                <a:gd name="connsiteX735" fmla="*/ 837033 w 4012966"/>
                <a:gd name="connsiteY735" fmla="*/ 474501 h 541195"/>
                <a:gd name="connsiteX736" fmla="*/ 834766 w 4012966"/>
                <a:gd name="connsiteY736" fmla="*/ 474501 h 541195"/>
                <a:gd name="connsiteX737" fmla="*/ 834766 w 4012966"/>
                <a:gd name="connsiteY737" fmla="*/ 477076 h 541195"/>
                <a:gd name="connsiteX738" fmla="*/ 835817 w 4012966"/>
                <a:gd name="connsiteY738" fmla="*/ 477076 h 541195"/>
                <a:gd name="connsiteX739" fmla="*/ 832554 w 4012966"/>
                <a:gd name="connsiteY739" fmla="*/ 529624 h 541195"/>
                <a:gd name="connsiteX740" fmla="*/ 820082 w 4012966"/>
                <a:gd name="connsiteY740" fmla="*/ 529624 h 541195"/>
                <a:gd name="connsiteX741" fmla="*/ 820082 w 4012966"/>
                <a:gd name="connsiteY741" fmla="*/ 541195 h 541195"/>
                <a:gd name="connsiteX742" fmla="*/ 866651 w 4012966"/>
                <a:gd name="connsiteY742" fmla="*/ 541195 h 541195"/>
                <a:gd name="connsiteX743" fmla="*/ 866651 w 4012966"/>
                <a:gd name="connsiteY743" fmla="*/ 529624 h 541195"/>
                <a:gd name="connsiteX744" fmla="*/ 854455 w 4012966"/>
                <a:gd name="connsiteY744" fmla="*/ 529624 h 541195"/>
                <a:gd name="connsiteX745" fmla="*/ 849975 w 4012966"/>
                <a:gd name="connsiteY745" fmla="*/ 477076 h 541195"/>
                <a:gd name="connsiteX746" fmla="*/ 850611 w 4012966"/>
                <a:gd name="connsiteY746" fmla="*/ 477076 h 541195"/>
                <a:gd name="connsiteX747" fmla="*/ 850611 w 4012966"/>
                <a:gd name="connsiteY747" fmla="*/ 474501 h 541195"/>
                <a:gd name="connsiteX748" fmla="*/ 848150 w 4012966"/>
                <a:gd name="connsiteY748" fmla="*/ 474501 h 541195"/>
                <a:gd name="connsiteX749" fmla="*/ 848150 w 4012966"/>
                <a:gd name="connsiteY749" fmla="*/ 470140 h 541195"/>
                <a:gd name="connsiteX750" fmla="*/ 871517 w 4012966"/>
                <a:gd name="connsiteY750" fmla="*/ 470140 h 541195"/>
                <a:gd name="connsiteX751" fmla="*/ 1008263 w 4012966"/>
                <a:gd name="connsiteY751" fmla="*/ 470140 h 541195"/>
                <a:gd name="connsiteX752" fmla="*/ 905862 w 4012966"/>
                <a:gd name="connsiteY752" fmla="*/ 541195 h 541195"/>
                <a:gd name="connsiteX753" fmla="*/ 4012469 w 4012966"/>
                <a:gd name="connsiteY753" fmla="*/ 540417 h 541195"/>
                <a:gd name="connsiteX754" fmla="*/ 4012966 w 4012966"/>
                <a:gd name="connsiteY754" fmla="*/ 530578 h 541195"/>
                <a:gd name="connsiteX755" fmla="*/ 4009693 w 4012966"/>
                <a:gd name="connsiteY755" fmla="*/ 465763 h 541195"/>
                <a:gd name="connsiteX756" fmla="*/ 3987044 w 4012966"/>
                <a:gd name="connsiteY756" fmla="*/ 465763 h 541195"/>
                <a:gd name="connsiteX757" fmla="*/ 3987044 w 4012966"/>
                <a:gd name="connsiteY757" fmla="*/ 465780 h 541195"/>
                <a:gd name="connsiteX758" fmla="*/ 3968351 w 4012966"/>
                <a:gd name="connsiteY758" fmla="*/ 424939 h 541195"/>
                <a:gd name="connsiteX759" fmla="*/ 3996474 w 4012966"/>
                <a:gd name="connsiteY759" fmla="*/ 416596 h 541195"/>
                <a:gd name="connsiteX760" fmla="*/ 4000374 w 4012966"/>
                <a:gd name="connsiteY760" fmla="*/ 412510 h 541195"/>
                <a:gd name="connsiteX761" fmla="*/ 4004991 w 4012966"/>
                <a:gd name="connsiteY761" fmla="*/ 403755 h 541195"/>
                <a:gd name="connsiteX762" fmla="*/ 4006411 w 4012966"/>
                <a:gd name="connsiteY762" fmla="*/ 400766 h 541195"/>
                <a:gd name="connsiteX763" fmla="*/ 4005634 w 4012966"/>
                <a:gd name="connsiteY763" fmla="*/ 385378 h 541195"/>
                <a:gd name="connsiteX764" fmla="*/ 4002032 w 4012966"/>
                <a:gd name="connsiteY764" fmla="*/ 383601 h 541195"/>
                <a:gd name="connsiteX765" fmla="*/ 3996806 w 4012966"/>
                <a:gd name="connsiteY765" fmla="*/ 382313 h 541195"/>
                <a:gd name="connsiteX766" fmla="*/ 3958396 w 4012966"/>
                <a:gd name="connsiteY766" fmla="*/ 372802 h 541195"/>
                <a:gd name="connsiteX767" fmla="*/ 3956100 w 4012966"/>
                <a:gd name="connsiteY767" fmla="*/ 376064 h 541195"/>
                <a:gd name="connsiteX768" fmla="*/ 3546528 w 4012966"/>
                <a:gd name="connsiteY768" fmla="*/ 313816 h 541195"/>
                <a:gd name="connsiteX769" fmla="*/ 3542628 w 4012966"/>
                <a:gd name="connsiteY769" fmla="*/ 313816 h 541195"/>
                <a:gd name="connsiteX770" fmla="*/ 3542628 w 4012966"/>
                <a:gd name="connsiteY770" fmla="*/ 349678 h 541195"/>
                <a:gd name="connsiteX771" fmla="*/ 3544868 w 4012966"/>
                <a:gd name="connsiteY771" fmla="*/ 349678 h 541195"/>
                <a:gd name="connsiteX772" fmla="*/ 3544868 w 4012966"/>
                <a:gd name="connsiteY772" fmla="*/ 360528 h 541195"/>
                <a:gd name="connsiteX773" fmla="*/ 3580348 w 4012966"/>
                <a:gd name="connsiteY773" fmla="*/ 344803 h 541195"/>
                <a:gd name="connsiteX774" fmla="*/ 3588118 w 4012966"/>
                <a:gd name="connsiteY774" fmla="*/ 341352 h 541195"/>
                <a:gd name="connsiteX775" fmla="*/ 3596082 w 4012966"/>
                <a:gd name="connsiteY775" fmla="*/ 344614 h 541195"/>
                <a:gd name="connsiteX776" fmla="*/ 3603853 w 4012966"/>
                <a:gd name="connsiteY776" fmla="*/ 347807 h 541195"/>
                <a:gd name="connsiteX777" fmla="*/ 3603853 w 4012966"/>
                <a:gd name="connsiteY777" fmla="*/ 345661 h 541195"/>
                <a:gd name="connsiteX778" fmla="*/ 3641655 w 4012966"/>
                <a:gd name="connsiteY778" fmla="*/ 345661 h 541195"/>
                <a:gd name="connsiteX779" fmla="*/ 3641655 w 4012966"/>
                <a:gd name="connsiteY779" fmla="*/ 363275 h 541195"/>
                <a:gd name="connsiteX780" fmla="*/ 3642872 w 4012966"/>
                <a:gd name="connsiteY780" fmla="*/ 363772 h 541195"/>
                <a:gd name="connsiteX781" fmla="*/ 3649122 w 4012966"/>
                <a:gd name="connsiteY781" fmla="*/ 366331 h 541195"/>
                <a:gd name="connsiteX782" fmla="*/ 3649122 w 4012966"/>
                <a:gd name="connsiteY782" fmla="*/ 370982 h 541195"/>
                <a:gd name="connsiteX783" fmla="*/ 3642706 w 4012966"/>
                <a:gd name="connsiteY783" fmla="*/ 521161 h 541195"/>
                <a:gd name="connsiteX784" fmla="*/ 3635184 w 4012966"/>
                <a:gd name="connsiteY784" fmla="*/ 370982 h 541195"/>
                <a:gd name="connsiteX785" fmla="*/ 3627718 w 4012966"/>
                <a:gd name="connsiteY785" fmla="*/ 367927 h 541195"/>
                <a:gd name="connsiteX786" fmla="*/ 3627718 w 4012966"/>
                <a:gd name="connsiteY786" fmla="*/ 354296 h 541195"/>
                <a:gd name="connsiteX787" fmla="*/ 3617763 w 4012966"/>
                <a:gd name="connsiteY787" fmla="*/ 354296 h 541195"/>
                <a:gd name="connsiteX788" fmla="*/ 3617763 w 4012966"/>
                <a:gd name="connsiteY788" fmla="*/ 363858 h 541195"/>
                <a:gd name="connsiteX789" fmla="*/ 3588395 w 4012966"/>
                <a:gd name="connsiteY789" fmla="*/ 351841 h 541195"/>
                <a:gd name="connsiteX790" fmla="*/ 3538204 w 4012966"/>
                <a:gd name="connsiteY790" fmla="*/ 374090 h 541195"/>
                <a:gd name="connsiteX791" fmla="*/ 3528636 w 4012966"/>
                <a:gd name="connsiteY791" fmla="*/ 374090 h 541195"/>
                <a:gd name="connsiteX792" fmla="*/ 3528636 w 4012966"/>
                <a:gd name="connsiteY792" fmla="*/ 360339 h 541195"/>
                <a:gd name="connsiteX793" fmla="*/ 3530876 w 4012966"/>
                <a:gd name="connsiteY793" fmla="*/ 360339 h 541195"/>
                <a:gd name="connsiteX794" fmla="*/ 3530876 w 4012966"/>
                <a:gd name="connsiteY794" fmla="*/ 358331 h 541195"/>
                <a:gd name="connsiteX795" fmla="*/ 3528636 w 4012966"/>
                <a:gd name="connsiteY795" fmla="*/ 358331 h 541195"/>
                <a:gd name="connsiteX796" fmla="*/ 3528636 w 4012966"/>
                <a:gd name="connsiteY796" fmla="*/ 301558 h 541195"/>
                <a:gd name="connsiteX797" fmla="*/ 3532618 w 4012966"/>
                <a:gd name="connsiteY797" fmla="*/ 296237 h 541195"/>
                <a:gd name="connsiteX798" fmla="*/ 3528636 w 4012966"/>
                <a:gd name="connsiteY798" fmla="*/ 296237 h 541195"/>
                <a:gd name="connsiteX799" fmla="*/ 3528636 w 4012966"/>
                <a:gd name="connsiteY799" fmla="*/ 282640 h 541195"/>
                <a:gd name="connsiteX800" fmla="*/ 3526893 w 4012966"/>
                <a:gd name="connsiteY800" fmla="*/ 282640 h 541195"/>
                <a:gd name="connsiteX801" fmla="*/ 3526893 w 4012966"/>
                <a:gd name="connsiteY801" fmla="*/ 279396 h 541195"/>
                <a:gd name="connsiteX802" fmla="*/ 3525760 w 4012966"/>
                <a:gd name="connsiteY802" fmla="*/ 279396 h 541195"/>
                <a:gd name="connsiteX803" fmla="*/ 3525760 w 4012966"/>
                <a:gd name="connsiteY803" fmla="*/ 276374 h 541195"/>
                <a:gd name="connsiteX804" fmla="*/ 3524764 w 4012966"/>
                <a:gd name="connsiteY804" fmla="*/ 276374 h 541195"/>
                <a:gd name="connsiteX805" fmla="*/ 3524764 w 4012966"/>
                <a:gd name="connsiteY805" fmla="*/ 272975 h 541195"/>
                <a:gd name="connsiteX806" fmla="*/ 3523631 w 4012966"/>
                <a:gd name="connsiteY806" fmla="*/ 272975 h 541195"/>
                <a:gd name="connsiteX807" fmla="*/ 3523631 w 4012966"/>
                <a:gd name="connsiteY807" fmla="*/ 269885 h 541195"/>
                <a:gd name="connsiteX808" fmla="*/ 3522525 w 4012966"/>
                <a:gd name="connsiteY808" fmla="*/ 269885 h 541195"/>
                <a:gd name="connsiteX809" fmla="*/ 3520340 w 4012966"/>
                <a:gd name="connsiteY809" fmla="*/ 262554 h 541195"/>
                <a:gd name="connsiteX810" fmla="*/ 3518266 w 4012966"/>
                <a:gd name="connsiteY810" fmla="*/ 269885 h 541195"/>
                <a:gd name="connsiteX811" fmla="*/ 3517050 w 4012966"/>
                <a:gd name="connsiteY811" fmla="*/ 269885 h 541195"/>
                <a:gd name="connsiteX812" fmla="*/ 3517050 w 4012966"/>
                <a:gd name="connsiteY812" fmla="*/ 272975 h 541195"/>
                <a:gd name="connsiteX813" fmla="*/ 3515943 w 4012966"/>
                <a:gd name="connsiteY813" fmla="*/ 272975 h 541195"/>
                <a:gd name="connsiteX814" fmla="*/ 3515943 w 4012966"/>
                <a:gd name="connsiteY814" fmla="*/ 276374 h 541195"/>
                <a:gd name="connsiteX815" fmla="*/ 3515196 w 4012966"/>
                <a:gd name="connsiteY815" fmla="*/ 276374 h 541195"/>
                <a:gd name="connsiteX816" fmla="*/ 3515196 w 4012966"/>
                <a:gd name="connsiteY816" fmla="*/ 279396 h 541195"/>
                <a:gd name="connsiteX817" fmla="*/ 3514091 w 4012966"/>
                <a:gd name="connsiteY817" fmla="*/ 279396 h 541195"/>
                <a:gd name="connsiteX818" fmla="*/ 3514091 w 4012966"/>
                <a:gd name="connsiteY818" fmla="*/ 282640 h 541195"/>
                <a:gd name="connsiteX819" fmla="*/ 3512984 w 4012966"/>
                <a:gd name="connsiteY819" fmla="*/ 282640 h 541195"/>
                <a:gd name="connsiteX820" fmla="*/ 3512984 w 4012966"/>
                <a:gd name="connsiteY820" fmla="*/ 284889 h 541195"/>
                <a:gd name="connsiteX821" fmla="*/ 3510108 w 4012966"/>
                <a:gd name="connsiteY821" fmla="*/ 284889 h 541195"/>
                <a:gd name="connsiteX822" fmla="*/ 3510108 w 4012966"/>
                <a:gd name="connsiteY822" fmla="*/ 288752 h 541195"/>
                <a:gd name="connsiteX823" fmla="*/ 3505269 w 4012966"/>
                <a:gd name="connsiteY823" fmla="*/ 288752 h 541195"/>
                <a:gd name="connsiteX824" fmla="*/ 3505269 w 4012966"/>
                <a:gd name="connsiteY824" fmla="*/ 282658 h 541195"/>
                <a:gd name="connsiteX825" fmla="*/ 3497858 w 4012966"/>
                <a:gd name="connsiteY825" fmla="*/ 282658 h 541195"/>
                <a:gd name="connsiteX826" fmla="*/ 3497858 w 4012966"/>
                <a:gd name="connsiteY826" fmla="*/ 278640 h 541195"/>
                <a:gd name="connsiteX827" fmla="*/ 3493682 w 4012966"/>
                <a:gd name="connsiteY827" fmla="*/ 278640 h 541195"/>
                <a:gd name="connsiteX828" fmla="*/ 3493682 w 4012966"/>
                <a:gd name="connsiteY828" fmla="*/ 282658 h 541195"/>
                <a:gd name="connsiteX829" fmla="*/ 3485967 w 4012966"/>
                <a:gd name="connsiteY829" fmla="*/ 282658 h 541195"/>
                <a:gd name="connsiteX830" fmla="*/ 3485967 w 4012966"/>
                <a:gd name="connsiteY830" fmla="*/ 288752 h 541195"/>
                <a:gd name="connsiteX831" fmla="*/ 3481127 w 4012966"/>
                <a:gd name="connsiteY831" fmla="*/ 288752 h 541195"/>
                <a:gd name="connsiteX832" fmla="*/ 3481127 w 4012966"/>
                <a:gd name="connsiteY832" fmla="*/ 284889 h 541195"/>
                <a:gd name="connsiteX833" fmla="*/ 3478390 w 4012966"/>
                <a:gd name="connsiteY833" fmla="*/ 284889 h 541195"/>
                <a:gd name="connsiteX834" fmla="*/ 3478390 w 4012966"/>
                <a:gd name="connsiteY834" fmla="*/ 282640 h 541195"/>
                <a:gd name="connsiteX835" fmla="*/ 3476150 w 4012966"/>
                <a:gd name="connsiteY835" fmla="*/ 282640 h 541195"/>
                <a:gd name="connsiteX836" fmla="*/ 3476150 w 4012966"/>
                <a:gd name="connsiteY836" fmla="*/ 279396 h 541195"/>
                <a:gd name="connsiteX837" fmla="*/ 3475017 w 4012966"/>
                <a:gd name="connsiteY837" fmla="*/ 279396 h 541195"/>
                <a:gd name="connsiteX838" fmla="*/ 3475017 w 4012966"/>
                <a:gd name="connsiteY838" fmla="*/ 276374 h 541195"/>
                <a:gd name="connsiteX839" fmla="*/ 3474021 w 4012966"/>
                <a:gd name="connsiteY839" fmla="*/ 276374 h 541195"/>
                <a:gd name="connsiteX840" fmla="*/ 3474021 w 4012966"/>
                <a:gd name="connsiteY840" fmla="*/ 272975 h 541195"/>
                <a:gd name="connsiteX841" fmla="*/ 3472915 w 4012966"/>
                <a:gd name="connsiteY841" fmla="*/ 272975 h 541195"/>
                <a:gd name="connsiteX842" fmla="*/ 3472915 w 4012966"/>
                <a:gd name="connsiteY842" fmla="*/ 269885 h 541195"/>
                <a:gd name="connsiteX843" fmla="*/ 3471809 w 4012966"/>
                <a:gd name="connsiteY843" fmla="*/ 269885 h 541195"/>
                <a:gd name="connsiteX844" fmla="*/ 3469623 w 4012966"/>
                <a:gd name="connsiteY844" fmla="*/ 262554 h 541195"/>
                <a:gd name="connsiteX845" fmla="*/ 3467550 w 4012966"/>
                <a:gd name="connsiteY845" fmla="*/ 269885 h 541195"/>
                <a:gd name="connsiteX846" fmla="*/ 3466305 w 4012966"/>
                <a:gd name="connsiteY846" fmla="*/ 269885 h 541195"/>
                <a:gd name="connsiteX847" fmla="*/ 3466305 w 4012966"/>
                <a:gd name="connsiteY847" fmla="*/ 272975 h 541195"/>
                <a:gd name="connsiteX848" fmla="*/ 3465199 w 4012966"/>
                <a:gd name="connsiteY848" fmla="*/ 272975 h 541195"/>
                <a:gd name="connsiteX849" fmla="*/ 3465199 w 4012966"/>
                <a:gd name="connsiteY849" fmla="*/ 276374 h 541195"/>
                <a:gd name="connsiteX850" fmla="*/ 3464453 w 4012966"/>
                <a:gd name="connsiteY850" fmla="*/ 276374 h 541195"/>
                <a:gd name="connsiteX851" fmla="*/ 3464453 w 4012966"/>
                <a:gd name="connsiteY851" fmla="*/ 279396 h 541195"/>
                <a:gd name="connsiteX852" fmla="*/ 3463319 w 4012966"/>
                <a:gd name="connsiteY852" fmla="*/ 279396 h 541195"/>
                <a:gd name="connsiteX853" fmla="*/ 3463319 w 4012966"/>
                <a:gd name="connsiteY853" fmla="*/ 282640 h 541195"/>
                <a:gd name="connsiteX854" fmla="*/ 3461964 w 4012966"/>
                <a:gd name="connsiteY854" fmla="*/ 282640 h 541195"/>
                <a:gd name="connsiteX855" fmla="*/ 3461964 w 4012966"/>
                <a:gd name="connsiteY855" fmla="*/ 296237 h 541195"/>
                <a:gd name="connsiteX856" fmla="*/ 3457235 w 4012966"/>
                <a:gd name="connsiteY856" fmla="*/ 296237 h 541195"/>
                <a:gd name="connsiteX857" fmla="*/ 3461964 w 4012966"/>
                <a:gd name="connsiteY857" fmla="*/ 301593 h 541195"/>
                <a:gd name="connsiteX858" fmla="*/ 3461964 w 4012966"/>
                <a:gd name="connsiteY858" fmla="*/ 358347 h 541195"/>
                <a:gd name="connsiteX859" fmla="*/ 3458479 w 4012966"/>
                <a:gd name="connsiteY859" fmla="*/ 358347 h 541195"/>
                <a:gd name="connsiteX860" fmla="*/ 3458479 w 4012966"/>
                <a:gd name="connsiteY860" fmla="*/ 360356 h 541195"/>
                <a:gd name="connsiteX861" fmla="*/ 3461964 w 4012966"/>
                <a:gd name="connsiteY861" fmla="*/ 360356 h 541195"/>
                <a:gd name="connsiteX862" fmla="*/ 3461964 w 4012966"/>
                <a:gd name="connsiteY862" fmla="*/ 374107 h 541195"/>
                <a:gd name="connsiteX863" fmla="*/ 3454995 w 4012966"/>
                <a:gd name="connsiteY863" fmla="*/ 374107 h 541195"/>
                <a:gd name="connsiteX864" fmla="*/ 3351960 w 4012966"/>
                <a:gd name="connsiteY864" fmla="*/ 310159 h 541195"/>
                <a:gd name="connsiteX865" fmla="*/ 3318111 w 4012966"/>
                <a:gd name="connsiteY865" fmla="*/ 332923 h 541195"/>
                <a:gd name="connsiteX866" fmla="*/ 3318111 w 4012966"/>
                <a:gd name="connsiteY866" fmla="*/ 321593 h 541195"/>
                <a:gd name="connsiteX867" fmla="*/ 3302681 w 4012966"/>
                <a:gd name="connsiteY867" fmla="*/ 321593 h 541195"/>
                <a:gd name="connsiteX868" fmla="*/ 3302681 w 4012966"/>
                <a:gd name="connsiteY868" fmla="*/ 343309 h 541195"/>
                <a:gd name="connsiteX869" fmla="*/ 3256887 w 4012966"/>
                <a:gd name="connsiteY869" fmla="*/ 374107 h 541195"/>
                <a:gd name="connsiteX870" fmla="*/ 3252214 w 4012966"/>
                <a:gd name="connsiteY870" fmla="*/ 521590 h 541195"/>
                <a:gd name="connsiteX871" fmla="*/ 3243614 w 4012966"/>
                <a:gd name="connsiteY871" fmla="*/ 413420 h 541195"/>
                <a:gd name="connsiteX872" fmla="*/ 3239189 w 4012966"/>
                <a:gd name="connsiteY872" fmla="*/ 409849 h 541195"/>
                <a:gd name="connsiteX873" fmla="*/ 3239189 w 4012966"/>
                <a:gd name="connsiteY873" fmla="*/ 366691 h 541195"/>
                <a:gd name="connsiteX874" fmla="*/ 3235981 w 4012966"/>
                <a:gd name="connsiteY874" fmla="*/ 365712 h 541195"/>
                <a:gd name="connsiteX875" fmla="*/ 3237419 w 4012966"/>
                <a:gd name="connsiteY875" fmla="*/ 364579 h 541195"/>
                <a:gd name="connsiteX876" fmla="*/ 3237419 w 4012966"/>
                <a:gd name="connsiteY876" fmla="*/ 362382 h 541195"/>
                <a:gd name="connsiteX877" fmla="*/ 3232995 w 4012966"/>
                <a:gd name="connsiteY877" fmla="*/ 361472 h 541195"/>
                <a:gd name="connsiteX878" fmla="*/ 3232995 w 4012966"/>
                <a:gd name="connsiteY878" fmla="*/ 356802 h 541195"/>
                <a:gd name="connsiteX879" fmla="*/ 3234460 w 4012966"/>
                <a:gd name="connsiteY879" fmla="*/ 355807 h 541195"/>
                <a:gd name="connsiteX880" fmla="*/ 3230617 w 4012966"/>
                <a:gd name="connsiteY880" fmla="*/ 349661 h 541195"/>
                <a:gd name="connsiteX881" fmla="*/ 3229290 w 4012966"/>
                <a:gd name="connsiteY881" fmla="*/ 349661 h 541195"/>
                <a:gd name="connsiteX882" fmla="*/ 3227216 w 4012966"/>
                <a:gd name="connsiteY882" fmla="*/ 346811 h 541195"/>
                <a:gd name="connsiteX883" fmla="*/ 3227962 w 4012966"/>
                <a:gd name="connsiteY883" fmla="*/ 346073 h 541195"/>
                <a:gd name="connsiteX884" fmla="*/ 3226192 w 4012966"/>
                <a:gd name="connsiteY884" fmla="*/ 345610 h 541195"/>
                <a:gd name="connsiteX885" fmla="*/ 3227381 w 4012966"/>
                <a:gd name="connsiteY885" fmla="*/ 344322 h 541195"/>
                <a:gd name="connsiteX886" fmla="*/ 3225169 w 4012966"/>
                <a:gd name="connsiteY886" fmla="*/ 341936 h 541195"/>
                <a:gd name="connsiteX887" fmla="*/ 3223261 w 4012966"/>
                <a:gd name="connsiteY887" fmla="*/ 344322 h 541195"/>
                <a:gd name="connsiteX888" fmla="*/ 3224422 w 4012966"/>
                <a:gd name="connsiteY888" fmla="*/ 345421 h 541195"/>
                <a:gd name="connsiteX889" fmla="*/ 3222072 w 4012966"/>
                <a:gd name="connsiteY889" fmla="*/ 345970 h 541195"/>
                <a:gd name="connsiteX890" fmla="*/ 3223399 w 4012966"/>
                <a:gd name="connsiteY890" fmla="*/ 346983 h 541195"/>
                <a:gd name="connsiteX891" fmla="*/ 3217066 w 4012966"/>
                <a:gd name="connsiteY891" fmla="*/ 355790 h 541195"/>
                <a:gd name="connsiteX892" fmla="*/ 3218837 w 4012966"/>
                <a:gd name="connsiteY892" fmla="*/ 357163 h 541195"/>
                <a:gd name="connsiteX893" fmla="*/ 3218587 w 4012966"/>
                <a:gd name="connsiteY893" fmla="*/ 360356 h 541195"/>
                <a:gd name="connsiteX894" fmla="*/ 3175283 w 4012966"/>
                <a:gd name="connsiteY894" fmla="*/ 347052 h 541195"/>
                <a:gd name="connsiteX895" fmla="*/ 3175283 w 4012966"/>
                <a:gd name="connsiteY895" fmla="*/ 336906 h 541195"/>
                <a:gd name="connsiteX896" fmla="*/ 3173209 w 4012966"/>
                <a:gd name="connsiteY896" fmla="*/ 336906 h 541195"/>
                <a:gd name="connsiteX897" fmla="*/ 3171743 w 4012966"/>
                <a:gd name="connsiteY897" fmla="*/ 333421 h 541195"/>
                <a:gd name="connsiteX898" fmla="*/ 3172323 w 4012966"/>
                <a:gd name="connsiteY898" fmla="*/ 333060 h 541195"/>
                <a:gd name="connsiteX899" fmla="*/ 3171439 w 4012966"/>
                <a:gd name="connsiteY899" fmla="*/ 332151 h 541195"/>
                <a:gd name="connsiteX900" fmla="*/ 3172186 w 4012966"/>
                <a:gd name="connsiteY900" fmla="*/ 330966 h 541195"/>
                <a:gd name="connsiteX901" fmla="*/ 3170277 w 4012966"/>
                <a:gd name="connsiteY901" fmla="*/ 329507 h 541195"/>
                <a:gd name="connsiteX902" fmla="*/ 3168507 w 4012966"/>
                <a:gd name="connsiteY902" fmla="*/ 330880 h 541195"/>
                <a:gd name="connsiteX903" fmla="*/ 3169393 w 4012966"/>
                <a:gd name="connsiteY903" fmla="*/ 332065 h 541195"/>
                <a:gd name="connsiteX904" fmla="*/ 3168507 w 4012966"/>
                <a:gd name="connsiteY904" fmla="*/ 332888 h 541195"/>
                <a:gd name="connsiteX905" fmla="*/ 3169254 w 4012966"/>
                <a:gd name="connsiteY905" fmla="*/ 333798 h 541195"/>
                <a:gd name="connsiteX906" fmla="*/ 3167319 w 4012966"/>
                <a:gd name="connsiteY906" fmla="*/ 337283 h 541195"/>
                <a:gd name="connsiteX907" fmla="*/ 3165245 w 4012966"/>
                <a:gd name="connsiteY907" fmla="*/ 337369 h 541195"/>
                <a:gd name="connsiteX908" fmla="*/ 3165245 w 4012966"/>
                <a:gd name="connsiteY908" fmla="*/ 343962 h 541195"/>
                <a:gd name="connsiteX909" fmla="*/ 3151805 w 4012966"/>
                <a:gd name="connsiteY909" fmla="*/ 339842 h 541195"/>
                <a:gd name="connsiteX910" fmla="*/ 3151805 w 4012966"/>
                <a:gd name="connsiteY910" fmla="*/ 331138 h 541195"/>
                <a:gd name="connsiteX911" fmla="*/ 3149150 w 4012966"/>
                <a:gd name="connsiteY911" fmla="*/ 331138 h 541195"/>
                <a:gd name="connsiteX912" fmla="*/ 3146192 w 4012966"/>
                <a:gd name="connsiteY912" fmla="*/ 326091 h 541195"/>
                <a:gd name="connsiteX913" fmla="*/ 3147823 w 4012966"/>
                <a:gd name="connsiteY913" fmla="*/ 326091 h 541195"/>
                <a:gd name="connsiteX914" fmla="*/ 3148985 w 4012966"/>
                <a:gd name="connsiteY914" fmla="*/ 323343 h 541195"/>
                <a:gd name="connsiteX915" fmla="*/ 3140135 w 4012966"/>
                <a:gd name="connsiteY915" fmla="*/ 320133 h 541195"/>
                <a:gd name="connsiteX916" fmla="*/ 3139112 w 4012966"/>
                <a:gd name="connsiteY916" fmla="*/ 279533 h 541195"/>
                <a:gd name="connsiteX917" fmla="*/ 3140744 w 4012966"/>
                <a:gd name="connsiteY917" fmla="*/ 278245 h 541195"/>
                <a:gd name="connsiteX918" fmla="*/ 3140744 w 4012966"/>
                <a:gd name="connsiteY918" fmla="*/ 276494 h 541195"/>
                <a:gd name="connsiteX919" fmla="*/ 3139112 w 4012966"/>
                <a:gd name="connsiteY919" fmla="*/ 275670 h 541195"/>
                <a:gd name="connsiteX920" fmla="*/ 3138531 w 4012966"/>
                <a:gd name="connsiteY920" fmla="*/ 263945 h 541195"/>
                <a:gd name="connsiteX921" fmla="*/ 3140881 w 4012966"/>
                <a:gd name="connsiteY921" fmla="*/ 262658 h 541195"/>
                <a:gd name="connsiteX922" fmla="*/ 3140881 w 4012966"/>
                <a:gd name="connsiteY922" fmla="*/ 261009 h 541195"/>
                <a:gd name="connsiteX923" fmla="*/ 3138531 w 4012966"/>
                <a:gd name="connsiteY923" fmla="*/ 260271 h 541195"/>
                <a:gd name="connsiteX924" fmla="*/ 3138531 w 4012966"/>
                <a:gd name="connsiteY924" fmla="*/ 255688 h 541195"/>
                <a:gd name="connsiteX925" fmla="*/ 3139416 w 4012966"/>
                <a:gd name="connsiteY925" fmla="*/ 254864 h 541195"/>
                <a:gd name="connsiteX926" fmla="*/ 3139555 w 4012966"/>
                <a:gd name="connsiteY926" fmla="*/ 253490 h 541195"/>
                <a:gd name="connsiteX927" fmla="*/ 3135434 w 4012966"/>
                <a:gd name="connsiteY927" fmla="*/ 250040 h 541195"/>
                <a:gd name="connsiteX928" fmla="*/ 3135434 w 4012966"/>
                <a:gd name="connsiteY928" fmla="*/ 246813 h 541195"/>
                <a:gd name="connsiteX929" fmla="*/ 3136595 w 4012966"/>
                <a:gd name="connsiteY929" fmla="*/ 245250 h 541195"/>
                <a:gd name="connsiteX930" fmla="*/ 3130401 w 4012966"/>
                <a:gd name="connsiteY930" fmla="*/ 237731 h 541195"/>
                <a:gd name="connsiteX931" fmla="*/ 3130982 w 4012966"/>
                <a:gd name="connsiteY931" fmla="*/ 235808 h 541195"/>
                <a:gd name="connsiteX932" fmla="*/ 3128908 w 4012966"/>
                <a:gd name="connsiteY932" fmla="*/ 233971 h 541195"/>
                <a:gd name="connsiteX933" fmla="*/ 3127442 w 4012966"/>
                <a:gd name="connsiteY933" fmla="*/ 235619 h 541195"/>
                <a:gd name="connsiteX934" fmla="*/ 3128328 w 4012966"/>
                <a:gd name="connsiteY934" fmla="*/ 237628 h 541195"/>
                <a:gd name="connsiteX935" fmla="*/ 3126557 w 4012966"/>
                <a:gd name="connsiteY935" fmla="*/ 239087 h 541195"/>
                <a:gd name="connsiteX936" fmla="*/ 3107587 w 4012966"/>
                <a:gd name="connsiteY936" fmla="*/ 159775 h 541195"/>
                <a:gd name="connsiteX937" fmla="*/ 3109716 w 4012966"/>
                <a:gd name="connsiteY937" fmla="*/ 157697 h 541195"/>
                <a:gd name="connsiteX938" fmla="*/ 3106674 w 4012966"/>
                <a:gd name="connsiteY938" fmla="*/ 155380 h 541195"/>
                <a:gd name="connsiteX939" fmla="*/ 3106674 w 4012966"/>
                <a:gd name="connsiteY939" fmla="*/ 147380 h 541195"/>
                <a:gd name="connsiteX940" fmla="*/ 3112648 w 4012966"/>
                <a:gd name="connsiteY940" fmla="*/ 147380 h 541195"/>
                <a:gd name="connsiteX941" fmla="*/ 3112648 w 4012966"/>
                <a:gd name="connsiteY941" fmla="*/ 147723 h 541195"/>
                <a:gd name="connsiteX942" fmla="*/ 3113754 w 4012966"/>
                <a:gd name="connsiteY942" fmla="*/ 148410 h 541195"/>
                <a:gd name="connsiteX943" fmla="*/ 3114860 w 4012966"/>
                <a:gd name="connsiteY943" fmla="*/ 147723 h 541195"/>
                <a:gd name="connsiteX944" fmla="*/ 3114860 w 4012966"/>
                <a:gd name="connsiteY944" fmla="*/ 147380 h 541195"/>
                <a:gd name="connsiteX945" fmla="*/ 3116354 w 4012966"/>
                <a:gd name="connsiteY945" fmla="*/ 146401 h 541195"/>
                <a:gd name="connsiteX946" fmla="*/ 3114860 w 4012966"/>
                <a:gd name="connsiteY946" fmla="*/ 145440 h 541195"/>
                <a:gd name="connsiteX947" fmla="*/ 3113754 w 4012966"/>
                <a:gd name="connsiteY947" fmla="*/ 144788 h 541195"/>
                <a:gd name="connsiteX948" fmla="*/ 3112648 w 4012966"/>
                <a:gd name="connsiteY948" fmla="*/ 145440 h 541195"/>
                <a:gd name="connsiteX949" fmla="*/ 3106674 w 4012966"/>
                <a:gd name="connsiteY949" fmla="*/ 145440 h 541195"/>
                <a:gd name="connsiteX950" fmla="*/ 3106674 w 4012966"/>
                <a:gd name="connsiteY950" fmla="*/ 141869 h 541195"/>
                <a:gd name="connsiteX951" fmla="*/ 3107809 w 4012966"/>
                <a:gd name="connsiteY951" fmla="*/ 141166 h 541195"/>
                <a:gd name="connsiteX952" fmla="*/ 3106674 w 4012966"/>
                <a:gd name="connsiteY952" fmla="*/ 140462 h 541195"/>
                <a:gd name="connsiteX953" fmla="*/ 3106674 w 4012966"/>
                <a:gd name="connsiteY953" fmla="*/ 140273 h 541195"/>
                <a:gd name="connsiteX954" fmla="*/ 3105043 w 4012966"/>
                <a:gd name="connsiteY954" fmla="*/ 139260 h 541195"/>
                <a:gd name="connsiteX955" fmla="*/ 3103412 w 4012966"/>
                <a:gd name="connsiteY955" fmla="*/ 140273 h 541195"/>
                <a:gd name="connsiteX956" fmla="*/ 3103412 w 4012966"/>
                <a:gd name="connsiteY956" fmla="*/ 140462 h 541195"/>
                <a:gd name="connsiteX957" fmla="*/ 3103274 w 4012966"/>
                <a:gd name="connsiteY957" fmla="*/ 140462 h 541195"/>
                <a:gd name="connsiteX958" fmla="*/ 3102140 w 4012966"/>
                <a:gd name="connsiteY958" fmla="*/ 141166 h 541195"/>
                <a:gd name="connsiteX959" fmla="*/ 3103274 w 4012966"/>
                <a:gd name="connsiteY959" fmla="*/ 141869 h 541195"/>
                <a:gd name="connsiteX960" fmla="*/ 3103412 w 4012966"/>
                <a:gd name="connsiteY960" fmla="*/ 141869 h 541195"/>
                <a:gd name="connsiteX961" fmla="*/ 3103412 w 4012966"/>
                <a:gd name="connsiteY961" fmla="*/ 145440 h 541195"/>
                <a:gd name="connsiteX962" fmla="*/ 3097549 w 4012966"/>
                <a:gd name="connsiteY962" fmla="*/ 145440 h 541195"/>
                <a:gd name="connsiteX963" fmla="*/ 3096277 w 4012966"/>
                <a:gd name="connsiteY963" fmla="*/ 144788 h 541195"/>
                <a:gd name="connsiteX964" fmla="*/ 3095005 w 4012966"/>
                <a:gd name="connsiteY964" fmla="*/ 145457 h 541195"/>
                <a:gd name="connsiteX965" fmla="*/ 3093706 w 4012966"/>
                <a:gd name="connsiteY965" fmla="*/ 146419 h 541195"/>
                <a:gd name="connsiteX966" fmla="*/ 3094977 w 4012966"/>
                <a:gd name="connsiteY966" fmla="*/ 147380 h 541195"/>
                <a:gd name="connsiteX967" fmla="*/ 3094977 w 4012966"/>
                <a:gd name="connsiteY967" fmla="*/ 147414 h 541195"/>
                <a:gd name="connsiteX968" fmla="*/ 3096277 w 4012966"/>
                <a:gd name="connsiteY968" fmla="*/ 148221 h 541195"/>
                <a:gd name="connsiteX969" fmla="*/ 3097577 w 4012966"/>
                <a:gd name="connsiteY969" fmla="*/ 147414 h 541195"/>
                <a:gd name="connsiteX970" fmla="*/ 3103412 w 4012966"/>
                <a:gd name="connsiteY970" fmla="*/ 147397 h 541195"/>
                <a:gd name="connsiteX971" fmla="*/ 3103412 w 4012966"/>
                <a:gd name="connsiteY971" fmla="*/ 155380 h 541195"/>
                <a:gd name="connsiteX972" fmla="*/ 3100259 w 4012966"/>
                <a:gd name="connsiteY972" fmla="*/ 157732 h 541195"/>
                <a:gd name="connsiteX973" fmla="*/ 3102140 w 4012966"/>
                <a:gd name="connsiteY973" fmla="*/ 159723 h 541195"/>
                <a:gd name="connsiteX974" fmla="*/ 3083142 w 4012966"/>
                <a:gd name="connsiteY974" fmla="*/ 239139 h 541195"/>
                <a:gd name="connsiteX975" fmla="*/ 3081372 w 4012966"/>
                <a:gd name="connsiteY975" fmla="*/ 237679 h 541195"/>
                <a:gd name="connsiteX976" fmla="*/ 3082257 w 4012966"/>
                <a:gd name="connsiteY976" fmla="*/ 235671 h 541195"/>
                <a:gd name="connsiteX977" fmla="*/ 3080791 w 4012966"/>
                <a:gd name="connsiteY977" fmla="*/ 234023 h 541195"/>
                <a:gd name="connsiteX978" fmla="*/ 3078717 w 4012966"/>
                <a:gd name="connsiteY978" fmla="*/ 235860 h 541195"/>
                <a:gd name="connsiteX979" fmla="*/ 3079298 w 4012966"/>
                <a:gd name="connsiteY979" fmla="*/ 237783 h 541195"/>
                <a:gd name="connsiteX980" fmla="*/ 3073104 w 4012966"/>
                <a:gd name="connsiteY980" fmla="*/ 245302 h 541195"/>
                <a:gd name="connsiteX981" fmla="*/ 3074293 w 4012966"/>
                <a:gd name="connsiteY981" fmla="*/ 246864 h 541195"/>
                <a:gd name="connsiteX982" fmla="*/ 3074293 w 4012966"/>
                <a:gd name="connsiteY982" fmla="*/ 250091 h 541195"/>
                <a:gd name="connsiteX983" fmla="*/ 3070145 w 4012966"/>
                <a:gd name="connsiteY983" fmla="*/ 253542 h 541195"/>
                <a:gd name="connsiteX984" fmla="*/ 3070310 w 4012966"/>
                <a:gd name="connsiteY984" fmla="*/ 254915 h 541195"/>
                <a:gd name="connsiteX985" fmla="*/ 3071196 w 4012966"/>
                <a:gd name="connsiteY985" fmla="*/ 255739 h 541195"/>
                <a:gd name="connsiteX986" fmla="*/ 3071196 w 4012966"/>
                <a:gd name="connsiteY986" fmla="*/ 260323 h 541195"/>
                <a:gd name="connsiteX987" fmla="*/ 3068845 w 4012966"/>
                <a:gd name="connsiteY987" fmla="*/ 261061 h 541195"/>
                <a:gd name="connsiteX988" fmla="*/ 3068845 w 4012966"/>
                <a:gd name="connsiteY988" fmla="*/ 262709 h 541195"/>
                <a:gd name="connsiteX989" fmla="*/ 3071196 w 4012966"/>
                <a:gd name="connsiteY989" fmla="*/ 263997 h 541195"/>
                <a:gd name="connsiteX990" fmla="*/ 3070615 w 4012966"/>
                <a:gd name="connsiteY990" fmla="*/ 275722 h 541195"/>
                <a:gd name="connsiteX991" fmla="*/ 3068984 w 4012966"/>
                <a:gd name="connsiteY991" fmla="*/ 276546 h 541195"/>
                <a:gd name="connsiteX992" fmla="*/ 3068984 w 4012966"/>
                <a:gd name="connsiteY992" fmla="*/ 278297 h 541195"/>
                <a:gd name="connsiteX993" fmla="*/ 3070615 w 4012966"/>
                <a:gd name="connsiteY993" fmla="*/ 279584 h 541195"/>
                <a:gd name="connsiteX994" fmla="*/ 3069564 w 4012966"/>
                <a:gd name="connsiteY994" fmla="*/ 320185 h 541195"/>
                <a:gd name="connsiteX995" fmla="*/ 3060715 w 4012966"/>
                <a:gd name="connsiteY995" fmla="*/ 323395 h 541195"/>
                <a:gd name="connsiteX996" fmla="*/ 3061876 w 4012966"/>
                <a:gd name="connsiteY996" fmla="*/ 326142 h 541195"/>
                <a:gd name="connsiteX997" fmla="*/ 3063508 w 4012966"/>
                <a:gd name="connsiteY997" fmla="*/ 326142 h 541195"/>
                <a:gd name="connsiteX998" fmla="*/ 3060550 w 4012966"/>
                <a:gd name="connsiteY998" fmla="*/ 331189 h 541195"/>
                <a:gd name="connsiteX999" fmla="*/ 3057895 w 4012966"/>
                <a:gd name="connsiteY999" fmla="*/ 331189 h 541195"/>
                <a:gd name="connsiteX1000" fmla="*/ 3057895 w 4012966"/>
                <a:gd name="connsiteY1000" fmla="*/ 339893 h 541195"/>
                <a:gd name="connsiteX1001" fmla="*/ 3044455 w 4012966"/>
                <a:gd name="connsiteY1001" fmla="*/ 344013 h 541195"/>
                <a:gd name="connsiteX1002" fmla="*/ 3044455 w 4012966"/>
                <a:gd name="connsiteY1002" fmla="*/ 337421 h 541195"/>
                <a:gd name="connsiteX1003" fmla="*/ 3042381 w 4012966"/>
                <a:gd name="connsiteY1003" fmla="*/ 337335 h 541195"/>
                <a:gd name="connsiteX1004" fmla="*/ 3040473 w 4012966"/>
                <a:gd name="connsiteY1004" fmla="*/ 333850 h 541195"/>
                <a:gd name="connsiteX1005" fmla="*/ 3041220 w 4012966"/>
                <a:gd name="connsiteY1005" fmla="*/ 332940 h 541195"/>
                <a:gd name="connsiteX1006" fmla="*/ 3040334 w 4012966"/>
                <a:gd name="connsiteY1006" fmla="*/ 332116 h 541195"/>
                <a:gd name="connsiteX1007" fmla="*/ 3041220 w 4012966"/>
                <a:gd name="connsiteY1007" fmla="*/ 330932 h 541195"/>
                <a:gd name="connsiteX1008" fmla="*/ 3039450 w 4012966"/>
                <a:gd name="connsiteY1008" fmla="*/ 329558 h 541195"/>
                <a:gd name="connsiteX1009" fmla="*/ 3037542 w 4012966"/>
                <a:gd name="connsiteY1009" fmla="*/ 331017 h 541195"/>
                <a:gd name="connsiteX1010" fmla="*/ 3038288 w 4012966"/>
                <a:gd name="connsiteY1010" fmla="*/ 332202 h 541195"/>
                <a:gd name="connsiteX1011" fmla="*/ 3037404 w 4012966"/>
                <a:gd name="connsiteY1011" fmla="*/ 333112 h 541195"/>
                <a:gd name="connsiteX1012" fmla="*/ 3037984 w 4012966"/>
                <a:gd name="connsiteY1012" fmla="*/ 333472 h 541195"/>
                <a:gd name="connsiteX1013" fmla="*/ 3036518 w 4012966"/>
                <a:gd name="connsiteY1013" fmla="*/ 336957 h 541195"/>
                <a:gd name="connsiteX1014" fmla="*/ 3034444 w 4012966"/>
                <a:gd name="connsiteY1014" fmla="*/ 336957 h 541195"/>
                <a:gd name="connsiteX1015" fmla="*/ 3034444 w 4012966"/>
                <a:gd name="connsiteY1015" fmla="*/ 347103 h 541195"/>
                <a:gd name="connsiteX1016" fmla="*/ 2991140 w 4012966"/>
                <a:gd name="connsiteY1016" fmla="*/ 360407 h 541195"/>
                <a:gd name="connsiteX1017" fmla="*/ 2990890 w 4012966"/>
                <a:gd name="connsiteY1017" fmla="*/ 357215 h 541195"/>
                <a:gd name="connsiteX1018" fmla="*/ 2992661 w 4012966"/>
                <a:gd name="connsiteY1018" fmla="*/ 355841 h 541195"/>
                <a:gd name="connsiteX1019" fmla="*/ 2986300 w 4012966"/>
                <a:gd name="connsiteY1019" fmla="*/ 347034 h 541195"/>
                <a:gd name="connsiteX1020" fmla="*/ 2987628 w 4012966"/>
                <a:gd name="connsiteY1020" fmla="*/ 346022 h 541195"/>
                <a:gd name="connsiteX1021" fmla="*/ 2985277 w 4012966"/>
                <a:gd name="connsiteY1021" fmla="*/ 345472 h 541195"/>
                <a:gd name="connsiteX1022" fmla="*/ 2986466 w 4012966"/>
                <a:gd name="connsiteY1022" fmla="*/ 344373 h 541195"/>
                <a:gd name="connsiteX1023" fmla="*/ 2984558 w 4012966"/>
                <a:gd name="connsiteY1023" fmla="*/ 341987 h 541195"/>
                <a:gd name="connsiteX1024" fmla="*/ 2982346 w 4012966"/>
                <a:gd name="connsiteY1024" fmla="*/ 344373 h 541195"/>
                <a:gd name="connsiteX1025" fmla="*/ 2983534 w 4012966"/>
                <a:gd name="connsiteY1025" fmla="*/ 345661 h 541195"/>
                <a:gd name="connsiteX1026" fmla="*/ 2981765 w 4012966"/>
                <a:gd name="connsiteY1026" fmla="*/ 346125 h 541195"/>
                <a:gd name="connsiteX1027" fmla="*/ 2982484 w 4012966"/>
                <a:gd name="connsiteY1027" fmla="*/ 346863 h 541195"/>
                <a:gd name="connsiteX1028" fmla="*/ 2980410 w 4012966"/>
                <a:gd name="connsiteY1028" fmla="*/ 349712 h 541195"/>
                <a:gd name="connsiteX1029" fmla="*/ 2979083 w 4012966"/>
                <a:gd name="connsiteY1029" fmla="*/ 349712 h 541195"/>
                <a:gd name="connsiteX1030" fmla="*/ 2975239 w 4012966"/>
                <a:gd name="connsiteY1030" fmla="*/ 355858 h 541195"/>
                <a:gd name="connsiteX1031" fmla="*/ 2976732 w 4012966"/>
                <a:gd name="connsiteY1031" fmla="*/ 356854 h 541195"/>
                <a:gd name="connsiteX1032" fmla="*/ 2976732 w 4012966"/>
                <a:gd name="connsiteY1032" fmla="*/ 361523 h 541195"/>
                <a:gd name="connsiteX1033" fmla="*/ 2972308 w 4012966"/>
                <a:gd name="connsiteY1033" fmla="*/ 362433 h 541195"/>
                <a:gd name="connsiteX1034" fmla="*/ 2972308 w 4012966"/>
                <a:gd name="connsiteY1034" fmla="*/ 364631 h 541195"/>
                <a:gd name="connsiteX1035" fmla="*/ 2973746 w 4012966"/>
                <a:gd name="connsiteY1035" fmla="*/ 365764 h 541195"/>
                <a:gd name="connsiteX1036" fmla="*/ 2970538 w 4012966"/>
                <a:gd name="connsiteY1036" fmla="*/ 366742 h 541195"/>
                <a:gd name="connsiteX1037" fmla="*/ 2970538 w 4012966"/>
                <a:gd name="connsiteY1037" fmla="*/ 409901 h 541195"/>
                <a:gd name="connsiteX1038" fmla="*/ 2966113 w 4012966"/>
                <a:gd name="connsiteY1038" fmla="*/ 413471 h 541195"/>
                <a:gd name="connsiteX1039" fmla="*/ 2957375 w 4012966"/>
                <a:gd name="connsiteY1039" fmla="*/ 521642 h 541195"/>
                <a:gd name="connsiteX1040" fmla="*/ 2952176 w 4012966"/>
                <a:gd name="connsiteY1040" fmla="*/ 171019 h 541195"/>
                <a:gd name="connsiteX1041" fmla="*/ 2946645 w 4012966"/>
                <a:gd name="connsiteY1041" fmla="*/ 171019 h 541195"/>
                <a:gd name="connsiteX1042" fmla="*/ 2946645 w 4012966"/>
                <a:gd name="connsiteY1042" fmla="*/ 160135 h 541195"/>
                <a:gd name="connsiteX1043" fmla="*/ 2952176 w 4012966"/>
                <a:gd name="connsiteY1043" fmla="*/ 160135 h 541195"/>
                <a:gd name="connsiteX1044" fmla="*/ 2952176 w 4012966"/>
                <a:gd name="connsiteY1044" fmla="*/ 149818 h 541195"/>
                <a:gd name="connsiteX1045" fmla="*/ 2868138 w 4012966"/>
                <a:gd name="connsiteY1045" fmla="*/ 149818 h 541195"/>
                <a:gd name="connsiteX1046" fmla="*/ 2868138 w 4012966"/>
                <a:gd name="connsiteY1046" fmla="*/ 132633 h 541195"/>
                <a:gd name="connsiteX1047" fmla="*/ 2767508 w 4012966"/>
                <a:gd name="connsiteY1047" fmla="*/ 132633 h 541195"/>
                <a:gd name="connsiteX1048" fmla="*/ 2767508 w 4012966"/>
                <a:gd name="connsiteY1048" fmla="*/ 149818 h 541195"/>
                <a:gd name="connsiteX1049" fmla="*/ 2683469 w 4012966"/>
                <a:gd name="connsiteY1049" fmla="*/ 149818 h 541195"/>
                <a:gd name="connsiteX1050" fmla="*/ 2683469 w 4012966"/>
                <a:gd name="connsiteY1050" fmla="*/ 160135 h 541195"/>
                <a:gd name="connsiteX1051" fmla="*/ 2689940 w 4012966"/>
                <a:gd name="connsiteY1051" fmla="*/ 160135 h 541195"/>
                <a:gd name="connsiteX1052" fmla="*/ 2689940 w 4012966"/>
                <a:gd name="connsiteY1052" fmla="*/ 171019 h 541195"/>
                <a:gd name="connsiteX1053" fmla="*/ 2683469 w 4012966"/>
                <a:gd name="connsiteY1053" fmla="*/ 171019 h 541195"/>
                <a:gd name="connsiteX1054" fmla="*/ 2678851 w 4012966"/>
                <a:gd name="connsiteY1054" fmla="*/ 354399 h 541195"/>
                <a:gd name="connsiteX1055" fmla="*/ 2582728 w 4012966"/>
                <a:gd name="connsiteY1055" fmla="*/ 354399 h 541195"/>
                <a:gd name="connsiteX1056" fmla="*/ 2579133 w 4012966"/>
                <a:gd name="connsiteY1056" fmla="*/ 99398 h 541195"/>
                <a:gd name="connsiteX1057" fmla="*/ 2536658 w 4012966"/>
                <a:gd name="connsiteY1057" fmla="*/ 99398 h 541195"/>
                <a:gd name="connsiteX1058" fmla="*/ 2536658 w 4012966"/>
                <a:gd name="connsiteY1058" fmla="*/ 86213 h 541195"/>
                <a:gd name="connsiteX1059" fmla="*/ 2529275 w 4012966"/>
                <a:gd name="connsiteY1059" fmla="*/ 86213 h 541195"/>
                <a:gd name="connsiteX1060" fmla="*/ 2529275 w 4012966"/>
                <a:gd name="connsiteY1060" fmla="*/ 99398 h 541195"/>
                <a:gd name="connsiteX1061" fmla="*/ 2491390 w 4012966"/>
                <a:gd name="connsiteY1061" fmla="*/ 99398 h 541195"/>
                <a:gd name="connsiteX1062" fmla="*/ 2491390 w 4012966"/>
                <a:gd name="connsiteY1062" fmla="*/ 90797 h 541195"/>
                <a:gd name="connsiteX1063" fmla="*/ 2411057 w 4012966"/>
                <a:gd name="connsiteY1063" fmla="*/ 90797 h 541195"/>
                <a:gd name="connsiteX1064" fmla="*/ 2411057 w 4012966"/>
                <a:gd name="connsiteY1064" fmla="*/ 99398 h 541195"/>
                <a:gd name="connsiteX1065" fmla="*/ 2324254 w 4012966"/>
                <a:gd name="connsiteY1065" fmla="*/ 99398 h 541195"/>
                <a:gd name="connsiteX1066" fmla="*/ 2320603 w 4012966"/>
                <a:gd name="connsiteY1066" fmla="*/ 335258 h 541195"/>
                <a:gd name="connsiteX1067" fmla="*/ 2379588 w 4012966"/>
                <a:gd name="connsiteY1067" fmla="*/ 327017 h 541195"/>
                <a:gd name="connsiteX1068" fmla="*/ 2460307 w 4012966"/>
                <a:gd name="connsiteY1068" fmla="*/ 342880 h 541195"/>
                <a:gd name="connsiteX1069" fmla="*/ 2508369 w 4012966"/>
                <a:gd name="connsiteY1069" fmla="*/ 378124 h 541195"/>
                <a:gd name="connsiteX1070" fmla="*/ 2534723 w 4012966"/>
                <a:gd name="connsiteY1070" fmla="*/ 378124 h 541195"/>
                <a:gd name="connsiteX1071" fmla="*/ 2534723 w 4012966"/>
                <a:gd name="connsiteY1071" fmla="*/ 395669 h 541195"/>
                <a:gd name="connsiteX1072" fmla="*/ 2583171 w 4012966"/>
                <a:gd name="connsiteY1072" fmla="*/ 395669 h 541195"/>
                <a:gd name="connsiteX1073" fmla="*/ 2583171 w 4012966"/>
                <a:gd name="connsiteY1073" fmla="*/ 395154 h 541195"/>
                <a:gd name="connsiteX1074" fmla="*/ 2583254 w 4012966"/>
                <a:gd name="connsiteY1074" fmla="*/ 395154 h 541195"/>
                <a:gd name="connsiteX1075" fmla="*/ 2583171 w 4012966"/>
                <a:gd name="connsiteY1075" fmla="*/ 389351 h 541195"/>
                <a:gd name="connsiteX1076" fmla="*/ 2677938 w 4012966"/>
                <a:gd name="connsiteY1076" fmla="*/ 389351 h 541195"/>
                <a:gd name="connsiteX1077" fmla="*/ 2677773 w 4012966"/>
                <a:gd name="connsiteY1077" fmla="*/ 395686 h 541195"/>
                <a:gd name="connsiteX1078" fmla="*/ 2871566 w 4012966"/>
                <a:gd name="connsiteY1078" fmla="*/ 395686 h 541195"/>
                <a:gd name="connsiteX1079" fmla="*/ 2865981 w 4012966"/>
                <a:gd name="connsiteY1079" fmla="*/ 520852 h 541195"/>
                <a:gd name="connsiteX1080" fmla="*/ 2857657 w 4012966"/>
                <a:gd name="connsiteY1080" fmla="*/ 404321 h 541195"/>
                <a:gd name="connsiteX1081" fmla="*/ 2416615 w 4012966"/>
                <a:gd name="connsiteY1081" fmla="*/ 404321 h 541195"/>
                <a:gd name="connsiteX1082" fmla="*/ 2409509 w 4012966"/>
                <a:gd name="connsiteY1082" fmla="*/ 522037 h 541195"/>
                <a:gd name="connsiteX1083" fmla="*/ 2403342 w 4012966"/>
                <a:gd name="connsiteY1083" fmla="*/ 396613 h 541195"/>
                <a:gd name="connsiteX1084" fmla="*/ 2520813 w 4012966"/>
                <a:gd name="connsiteY1084" fmla="*/ 396613 h 541195"/>
                <a:gd name="connsiteX1085" fmla="*/ 2520813 w 4012966"/>
                <a:gd name="connsiteY1085" fmla="*/ 386776 h 541195"/>
                <a:gd name="connsiteX1086" fmla="*/ 2499299 w 4012966"/>
                <a:gd name="connsiteY1086" fmla="*/ 386776 h 541195"/>
                <a:gd name="connsiteX1087" fmla="*/ 2379560 w 4012966"/>
                <a:gd name="connsiteY1087" fmla="*/ 335670 h 541195"/>
                <a:gd name="connsiteX1088" fmla="*/ 2259821 w 4012966"/>
                <a:gd name="connsiteY1088" fmla="*/ 386776 h 541195"/>
                <a:gd name="connsiteX1089" fmla="*/ 2240520 w 4012966"/>
                <a:gd name="connsiteY1089" fmla="*/ 386776 h 541195"/>
                <a:gd name="connsiteX1090" fmla="*/ 2231338 w 4012966"/>
                <a:gd name="connsiteY1090" fmla="*/ 523479 h 541195"/>
                <a:gd name="connsiteX1091" fmla="*/ 2223734 w 4012966"/>
                <a:gd name="connsiteY1091" fmla="*/ 415068 h 541195"/>
                <a:gd name="connsiteX1092" fmla="*/ 2215189 w 4012966"/>
                <a:gd name="connsiteY1092" fmla="*/ 415480 h 541195"/>
                <a:gd name="connsiteX1093" fmla="*/ 2215189 w 4012966"/>
                <a:gd name="connsiteY1093" fmla="*/ 411737 h 541195"/>
                <a:gd name="connsiteX1094" fmla="*/ 2090002 w 4012966"/>
                <a:gd name="connsiteY1094" fmla="*/ 411737 h 541195"/>
                <a:gd name="connsiteX1095" fmla="*/ 2090002 w 4012966"/>
                <a:gd name="connsiteY1095" fmla="*/ 393609 h 541195"/>
                <a:gd name="connsiteX1096" fmla="*/ 2025903 w 4012966"/>
                <a:gd name="connsiteY1096" fmla="*/ 393609 h 541195"/>
                <a:gd name="connsiteX1097" fmla="*/ 2025903 w 4012966"/>
                <a:gd name="connsiteY1097" fmla="*/ 230727 h 541195"/>
                <a:gd name="connsiteX1098" fmla="*/ 2023884 w 4012966"/>
                <a:gd name="connsiteY1098" fmla="*/ 230727 h 541195"/>
                <a:gd name="connsiteX1099" fmla="*/ 2023884 w 4012966"/>
                <a:gd name="connsiteY1099" fmla="*/ 225731 h 541195"/>
                <a:gd name="connsiteX1100" fmla="*/ 2024299 w 4012966"/>
                <a:gd name="connsiteY1100" fmla="*/ 225010 h 541195"/>
                <a:gd name="connsiteX1101" fmla="*/ 2024299 w 4012966"/>
                <a:gd name="connsiteY1101" fmla="*/ 223911 h 541195"/>
                <a:gd name="connsiteX1102" fmla="*/ 2023469 w 4012966"/>
                <a:gd name="connsiteY1102" fmla="*/ 223499 h 541195"/>
                <a:gd name="connsiteX1103" fmla="*/ 2023469 w 4012966"/>
                <a:gd name="connsiteY1103" fmla="*/ 221456 h 541195"/>
                <a:gd name="connsiteX1104" fmla="*/ 2022611 w 4012966"/>
                <a:gd name="connsiteY1104" fmla="*/ 221199 h 541195"/>
                <a:gd name="connsiteX1105" fmla="*/ 2022611 w 4012966"/>
                <a:gd name="connsiteY1105" fmla="*/ 209800 h 541195"/>
                <a:gd name="connsiteX1106" fmla="*/ 2024299 w 4012966"/>
                <a:gd name="connsiteY1106" fmla="*/ 208289 h 541195"/>
                <a:gd name="connsiteX1107" fmla="*/ 2024299 w 4012966"/>
                <a:gd name="connsiteY1107" fmla="*/ 204495 h 541195"/>
                <a:gd name="connsiteX1108" fmla="*/ 2022611 w 4012966"/>
                <a:gd name="connsiteY1108" fmla="*/ 201525 h 541195"/>
                <a:gd name="connsiteX1109" fmla="*/ 2021616 w 4012966"/>
                <a:gd name="connsiteY1109" fmla="*/ 201525 h 541195"/>
                <a:gd name="connsiteX1110" fmla="*/ 2021616 w 4012966"/>
                <a:gd name="connsiteY1110" fmla="*/ 196942 h 541195"/>
                <a:gd name="connsiteX1111" fmla="*/ 2015062 w 4012966"/>
                <a:gd name="connsiteY1111" fmla="*/ 194178 h 541195"/>
                <a:gd name="connsiteX1112" fmla="*/ 2012131 w 4012966"/>
                <a:gd name="connsiteY1112" fmla="*/ 194178 h 541195"/>
                <a:gd name="connsiteX1113" fmla="*/ 2012131 w 4012966"/>
                <a:gd name="connsiteY1113" fmla="*/ 193388 h 541195"/>
                <a:gd name="connsiteX1114" fmla="*/ 2010444 w 4012966"/>
                <a:gd name="connsiteY1114" fmla="*/ 193028 h 541195"/>
                <a:gd name="connsiteX1115" fmla="*/ 2010444 w 4012966"/>
                <a:gd name="connsiteY1115" fmla="*/ 190058 h 541195"/>
                <a:gd name="connsiteX1116" fmla="*/ 2008758 w 4012966"/>
                <a:gd name="connsiteY1116" fmla="*/ 189131 h 541195"/>
                <a:gd name="connsiteX1117" fmla="*/ 2008758 w 4012966"/>
                <a:gd name="connsiteY1117" fmla="*/ 186882 h 541195"/>
                <a:gd name="connsiteX1118" fmla="*/ 2007486 w 4012966"/>
                <a:gd name="connsiteY1118" fmla="*/ 186882 h 541195"/>
                <a:gd name="connsiteX1119" fmla="*/ 2007486 w 4012966"/>
                <a:gd name="connsiteY1119" fmla="*/ 188444 h 541195"/>
                <a:gd name="connsiteX1120" fmla="*/ 2003614 w 4012966"/>
                <a:gd name="connsiteY1120" fmla="*/ 186315 h 541195"/>
                <a:gd name="connsiteX1121" fmla="*/ 2003614 w 4012966"/>
                <a:gd name="connsiteY1121" fmla="*/ 159757 h 541195"/>
                <a:gd name="connsiteX1122" fmla="*/ 2000102 w 4012966"/>
                <a:gd name="connsiteY1122" fmla="*/ 156736 h 541195"/>
                <a:gd name="connsiteX1123" fmla="*/ 2000102 w 4012966"/>
                <a:gd name="connsiteY1123" fmla="*/ 153200 h 541195"/>
                <a:gd name="connsiteX1124" fmla="*/ 1998747 w 4012966"/>
                <a:gd name="connsiteY1124" fmla="*/ 151792 h 541195"/>
                <a:gd name="connsiteX1125" fmla="*/ 1999660 w 4012966"/>
                <a:gd name="connsiteY1125" fmla="*/ 151002 h 541195"/>
                <a:gd name="connsiteX1126" fmla="*/ 1998249 w 4012966"/>
                <a:gd name="connsiteY1126" fmla="*/ 149131 h 541195"/>
                <a:gd name="connsiteX1127" fmla="*/ 1996811 w 4012966"/>
                <a:gd name="connsiteY1127" fmla="*/ 150436 h 541195"/>
                <a:gd name="connsiteX1128" fmla="*/ 1994709 w 4012966"/>
                <a:gd name="connsiteY1128" fmla="*/ 149131 h 541195"/>
                <a:gd name="connsiteX1129" fmla="*/ 1994709 w 4012966"/>
                <a:gd name="connsiteY1129" fmla="*/ 146573 h 541195"/>
                <a:gd name="connsiteX1130" fmla="*/ 1992857 w 4012966"/>
                <a:gd name="connsiteY1130" fmla="*/ 145423 h 541195"/>
                <a:gd name="connsiteX1131" fmla="*/ 1992857 w 4012966"/>
                <a:gd name="connsiteY1131" fmla="*/ 142607 h 541195"/>
                <a:gd name="connsiteX1132" fmla="*/ 1989152 w 4012966"/>
                <a:gd name="connsiteY1132" fmla="*/ 140462 h 541195"/>
                <a:gd name="connsiteX1133" fmla="*/ 1984118 w 4012966"/>
                <a:gd name="connsiteY1133" fmla="*/ 140462 h 541195"/>
                <a:gd name="connsiteX1134" fmla="*/ 1983455 w 4012966"/>
                <a:gd name="connsiteY1134" fmla="*/ 140050 h 541195"/>
                <a:gd name="connsiteX1135" fmla="*/ 1983455 w 4012966"/>
                <a:gd name="connsiteY1135" fmla="*/ 126247 h 541195"/>
                <a:gd name="connsiteX1136" fmla="*/ 1978339 w 4012966"/>
                <a:gd name="connsiteY1136" fmla="*/ 123792 h 541195"/>
                <a:gd name="connsiteX1137" fmla="*/ 1978339 w 4012966"/>
                <a:gd name="connsiteY1137" fmla="*/ 122917 h 541195"/>
                <a:gd name="connsiteX1138" fmla="*/ 1975380 w 4012966"/>
                <a:gd name="connsiteY1138" fmla="*/ 121938 h 541195"/>
                <a:gd name="connsiteX1139" fmla="*/ 1975380 w 4012966"/>
                <a:gd name="connsiteY1139" fmla="*/ 106419 h 541195"/>
                <a:gd name="connsiteX1140" fmla="*/ 1974550 w 4012966"/>
                <a:gd name="connsiteY1140" fmla="*/ 106419 h 541195"/>
                <a:gd name="connsiteX1141" fmla="*/ 1974550 w 4012966"/>
                <a:gd name="connsiteY1141" fmla="*/ 108428 h 541195"/>
                <a:gd name="connsiteX1142" fmla="*/ 1969711 w 4012966"/>
                <a:gd name="connsiteY1142" fmla="*/ 108204 h 541195"/>
                <a:gd name="connsiteX1143" fmla="*/ 1965895 w 4012966"/>
                <a:gd name="connsiteY1143" fmla="*/ 107982 h 541195"/>
                <a:gd name="connsiteX1144" fmla="*/ 1964208 w 4012966"/>
                <a:gd name="connsiteY1144" fmla="*/ 108582 h 541195"/>
                <a:gd name="connsiteX1145" fmla="*/ 1965314 w 4012966"/>
                <a:gd name="connsiteY1145" fmla="*/ 110728 h 541195"/>
                <a:gd name="connsiteX1146" fmla="*/ 1968163 w 4012966"/>
                <a:gd name="connsiteY1146" fmla="*/ 110882 h 541195"/>
                <a:gd name="connsiteX1147" fmla="*/ 1971426 w 4012966"/>
                <a:gd name="connsiteY1147" fmla="*/ 111535 h 541195"/>
                <a:gd name="connsiteX1148" fmla="*/ 1973527 w 4012966"/>
                <a:gd name="connsiteY1148" fmla="*/ 111827 h 541195"/>
                <a:gd name="connsiteX1149" fmla="*/ 1974523 w 4012966"/>
                <a:gd name="connsiteY1149" fmla="*/ 112290 h 541195"/>
                <a:gd name="connsiteX1150" fmla="*/ 1974523 w 4012966"/>
                <a:gd name="connsiteY1150" fmla="*/ 113080 h 541195"/>
                <a:gd name="connsiteX1151" fmla="*/ 1971370 w 4012966"/>
                <a:gd name="connsiteY1151" fmla="*/ 112599 h 541195"/>
                <a:gd name="connsiteX1152" fmla="*/ 1969296 w 4012966"/>
                <a:gd name="connsiteY1152" fmla="*/ 113475 h 541195"/>
                <a:gd name="connsiteX1153" fmla="*/ 1967250 w 4012966"/>
                <a:gd name="connsiteY1153" fmla="*/ 113887 h 541195"/>
                <a:gd name="connsiteX1154" fmla="*/ 1967637 w 4012966"/>
                <a:gd name="connsiteY1154" fmla="*/ 114677 h 541195"/>
                <a:gd name="connsiteX1155" fmla="*/ 1971619 w 4012966"/>
                <a:gd name="connsiteY1155" fmla="*/ 115054 h 541195"/>
                <a:gd name="connsiteX1156" fmla="*/ 1973748 w 4012966"/>
                <a:gd name="connsiteY1156" fmla="*/ 115295 h 541195"/>
                <a:gd name="connsiteX1157" fmla="*/ 1974523 w 4012966"/>
                <a:gd name="connsiteY1157" fmla="*/ 115157 h 541195"/>
                <a:gd name="connsiteX1158" fmla="*/ 1974523 w 4012966"/>
                <a:gd name="connsiteY1158" fmla="*/ 116513 h 541195"/>
                <a:gd name="connsiteX1159" fmla="*/ 1973195 w 4012966"/>
                <a:gd name="connsiteY1159" fmla="*/ 116136 h 541195"/>
                <a:gd name="connsiteX1160" fmla="*/ 1970928 w 4012966"/>
                <a:gd name="connsiteY1160" fmla="*/ 115724 h 541195"/>
                <a:gd name="connsiteX1161" fmla="*/ 1968245 w 4012966"/>
                <a:gd name="connsiteY1161" fmla="*/ 115466 h 541195"/>
                <a:gd name="connsiteX1162" fmla="*/ 1967858 w 4012966"/>
                <a:gd name="connsiteY1162" fmla="*/ 116393 h 541195"/>
                <a:gd name="connsiteX1163" fmla="*/ 1971121 w 4012966"/>
                <a:gd name="connsiteY1163" fmla="*/ 118471 h 541195"/>
                <a:gd name="connsiteX1164" fmla="*/ 1973720 w 4012966"/>
                <a:gd name="connsiteY1164" fmla="*/ 118882 h 541195"/>
                <a:gd name="connsiteX1165" fmla="*/ 1974495 w 4012966"/>
                <a:gd name="connsiteY1165" fmla="*/ 119329 h 541195"/>
                <a:gd name="connsiteX1166" fmla="*/ 1974495 w 4012966"/>
                <a:gd name="connsiteY1166" fmla="*/ 121956 h 541195"/>
                <a:gd name="connsiteX1167" fmla="*/ 1971702 w 4012966"/>
                <a:gd name="connsiteY1167" fmla="*/ 122882 h 541195"/>
                <a:gd name="connsiteX1168" fmla="*/ 1971702 w 4012966"/>
                <a:gd name="connsiteY1168" fmla="*/ 123775 h 541195"/>
                <a:gd name="connsiteX1169" fmla="*/ 1966586 w 4012966"/>
                <a:gd name="connsiteY1169" fmla="*/ 126213 h 541195"/>
                <a:gd name="connsiteX1170" fmla="*/ 1966586 w 4012966"/>
                <a:gd name="connsiteY1170" fmla="*/ 140016 h 541195"/>
                <a:gd name="connsiteX1171" fmla="*/ 1965923 w 4012966"/>
                <a:gd name="connsiteY1171" fmla="*/ 140427 h 541195"/>
                <a:gd name="connsiteX1172" fmla="*/ 1960890 w 4012966"/>
                <a:gd name="connsiteY1172" fmla="*/ 140427 h 541195"/>
                <a:gd name="connsiteX1173" fmla="*/ 1957212 w 4012966"/>
                <a:gd name="connsiteY1173" fmla="*/ 142556 h 541195"/>
                <a:gd name="connsiteX1174" fmla="*/ 1957212 w 4012966"/>
                <a:gd name="connsiteY1174" fmla="*/ 145371 h 541195"/>
                <a:gd name="connsiteX1175" fmla="*/ 1955359 w 4012966"/>
                <a:gd name="connsiteY1175" fmla="*/ 146522 h 541195"/>
                <a:gd name="connsiteX1176" fmla="*/ 1955359 w 4012966"/>
                <a:gd name="connsiteY1176" fmla="*/ 149062 h 541195"/>
                <a:gd name="connsiteX1177" fmla="*/ 1953257 w 4012966"/>
                <a:gd name="connsiteY1177" fmla="*/ 150367 h 541195"/>
                <a:gd name="connsiteX1178" fmla="*/ 1951820 w 4012966"/>
                <a:gd name="connsiteY1178" fmla="*/ 149062 h 541195"/>
                <a:gd name="connsiteX1179" fmla="*/ 1950409 w 4012966"/>
                <a:gd name="connsiteY1179" fmla="*/ 150934 h 541195"/>
                <a:gd name="connsiteX1180" fmla="*/ 1951322 w 4012966"/>
                <a:gd name="connsiteY1180" fmla="*/ 151706 h 541195"/>
                <a:gd name="connsiteX1181" fmla="*/ 1949966 w 4012966"/>
                <a:gd name="connsiteY1181" fmla="*/ 153114 h 541195"/>
                <a:gd name="connsiteX1182" fmla="*/ 1949966 w 4012966"/>
                <a:gd name="connsiteY1182" fmla="*/ 156651 h 541195"/>
                <a:gd name="connsiteX1183" fmla="*/ 1946455 w 4012966"/>
                <a:gd name="connsiteY1183" fmla="*/ 159672 h 541195"/>
                <a:gd name="connsiteX1184" fmla="*/ 1946455 w 4012966"/>
                <a:gd name="connsiteY1184" fmla="*/ 186230 h 541195"/>
                <a:gd name="connsiteX1185" fmla="*/ 1942583 w 4012966"/>
                <a:gd name="connsiteY1185" fmla="*/ 188358 h 541195"/>
                <a:gd name="connsiteX1186" fmla="*/ 1942583 w 4012966"/>
                <a:gd name="connsiteY1186" fmla="*/ 186813 h 541195"/>
                <a:gd name="connsiteX1187" fmla="*/ 1941339 w 4012966"/>
                <a:gd name="connsiteY1187" fmla="*/ 186813 h 541195"/>
                <a:gd name="connsiteX1188" fmla="*/ 1941339 w 4012966"/>
                <a:gd name="connsiteY1188" fmla="*/ 189062 h 541195"/>
                <a:gd name="connsiteX1189" fmla="*/ 1939652 w 4012966"/>
                <a:gd name="connsiteY1189" fmla="*/ 189989 h 541195"/>
                <a:gd name="connsiteX1190" fmla="*/ 1939652 w 4012966"/>
                <a:gd name="connsiteY1190" fmla="*/ 192959 h 541195"/>
                <a:gd name="connsiteX1191" fmla="*/ 1937965 w 4012966"/>
                <a:gd name="connsiteY1191" fmla="*/ 193336 h 541195"/>
                <a:gd name="connsiteX1192" fmla="*/ 1937965 w 4012966"/>
                <a:gd name="connsiteY1192" fmla="*/ 194109 h 541195"/>
                <a:gd name="connsiteX1193" fmla="*/ 1935034 w 4012966"/>
                <a:gd name="connsiteY1193" fmla="*/ 194109 h 541195"/>
                <a:gd name="connsiteX1194" fmla="*/ 1928480 w 4012966"/>
                <a:gd name="connsiteY1194" fmla="*/ 196873 h 541195"/>
                <a:gd name="connsiteX1195" fmla="*/ 1928480 w 4012966"/>
                <a:gd name="connsiteY1195" fmla="*/ 201456 h 541195"/>
                <a:gd name="connsiteX1196" fmla="*/ 1927484 w 4012966"/>
                <a:gd name="connsiteY1196" fmla="*/ 201456 h 541195"/>
                <a:gd name="connsiteX1197" fmla="*/ 1925797 w 4012966"/>
                <a:gd name="connsiteY1197" fmla="*/ 204426 h 541195"/>
                <a:gd name="connsiteX1198" fmla="*/ 1925797 w 4012966"/>
                <a:gd name="connsiteY1198" fmla="*/ 208238 h 541195"/>
                <a:gd name="connsiteX1199" fmla="*/ 1927484 w 4012966"/>
                <a:gd name="connsiteY1199" fmla="*/ 209749 h 541195"/>
                <a:gd name="connsiteX1200" fmla="*/ 1927484 w 4012966"/>
                <a:gd name="connsiteY1200" fmla="*/ 221148 h 541195"/>
                <a:gd name="connsiteX1201" fmla="*/ 1926655 w 4012966"/>
                <a:gd name="connsiteY1201" fmla="*/ 221405 h 541195"/>
                <a:gd name="connsiteX1202" fmla="*/ 1926655 w 4012966"/>
                <a:gd name="connsiteY1202" fmla="*/ 223430 h 541195"/>
                <a:gd name="connsiteX1203" fmla="*/ 1925825 w 4012966"/>
                <a:gd name="connsiteY1203" fmla="*/ 223843 h 541195"/>
                <a:gd name="connsiteX1204" fmla="*/ 1925825 w 4012966"/>
                <a:gd name="connsiteY1204" fmla="*/ 224941 h 541195"/>
                <a:gd name="connsiteX1205" fmla="*/ 1926240 w 4012966"/>
                <a:gd name="connsiteY1205" fmla="*/ 225662 h 541195"/>
                <a:gd name="connsiteX1206" fmla="*/ 1926240 w 4012966"/>
                <a:gd name="connsiteY1206" fmla="*/ 230658 h 541195"/>
                <a:gd name="connsiteX1207" fmla="*/ 1924221 w 4012966"/>
                <a:gd name="connsiteY1207" fmla="*/ 230658 h 541195"/>
                <a:gd name="connsiteX1208" fmla="*/ 1924221 w 4012966"/>
                <a:gd name="connsiteY1208" fmla="*/ 393541 h 541195"/>
                <a:gd name="connsiteX1209" fmla="*/ 1860121 w 4012966"/>
                <a:gd name="connsiteY1209" fmla="*/ 393541 h 541195"/>
                <a:gd name="connsiteX1210" fmla="*/ 1860121 w 4012966"/>
                <a:gd name="connsiteY1210" fmla="*/ 411669 h 541195"/>
                <a:gd name="connsiteX1211" fmla="*/ 1734934 w 4012966"/>
                <a:gd name="connsiteY1211" fmla="*/ 411669 h 541195"/>
                <a:gd name="connsiteX1212" fmla="*/ 1734934 w 4012966"/>
                <a:gd name="connsiteY1212" fmla="*/ 415411 h 541195"/>
                <a:gd name="connsiteX1213" fmla="*/ 1726141 w 4012966"/>
                <a:gd name="connsiteY1213" fmla="*/ 415531 h 541195"/>
                <a:gd name="connsiteX1214" fmla="*/ 1721966 w 4012966"/>
                <a:gd name="connsiteY1214" fmla="*/ 520011 h 541195"/>
                <a:gd name="connsiteX1215" fmla="*/ 1711347 w 4012966"/>
                <a:gd name="connsiteY1215" fmla="*/ 279859 h 541195"/>
                <a:gd name="connsiteX1216" fmla="*/ 1716241 w 4012966"/>
                <a:gd name="connsiteY1216" fmla="*/ 276357 h 541195"/>
                <a:gd name="connsiteX1217" fmla="*/ 1713780 w 4012966"/>
                <a:gd name="connsiteY1217" fmla="*/ 275550 h 541195"/>
                <a:gd name="connsiteX1218" fmla="*/ 1713449 w 4012966"/>
                <a:gd name="connsiteY1218" fmla="*/ 268872 h 541195"/>
                <a:gd name="connsiteX1219" fmla="*/ 1715246 w 4012966"/>
                <a:gd name="connsiteY1219" fmla="*/ 267550 h 541195"/>
                <a:gd name="connsiteX1220" fmla="*/ 1711319 w 4012966"/>
                <a:gd name="connsiteY1220" fmla="*/ 264718 h 541195"/>
                <a:gd name="connsiteX1221" fmla="*/ 1706424 w 4012966"/>
                <a:gd name="connsiteY1221" fmla="*/ 264718 h 541195"/>
                <a:gd name="connsiteX1222" fmla="*/ 1706424 w 4012966"/>
                <a:gd name="connsiteY1222" fmla="*/ 269576 h 541195"/>
                <a:gd name="connsiteX1223" fmla="*/ 1699263 w 4012966"/>
                <a:gd name="connsiteY1223" fmla="*/ 269576 h 541195"/>
                <a:gd name="connsiteX1224" fmla="*/ 1699263 w 4012966"/>
                <a:gd name="connsiteY1224" fmla="*/ 264718 h 541195"/>
                <a:gd name="connsiteX1225" fmla="*/ 1691104 w 4012966"/>
                <a:gd name="connsiteY1225" fmla="*/ 264718 h 541195"/>
                <a:gd name="connsiteX1226" fmla="*/ 1691104 w 4012966"/>
                <a:gd name="connsiteY1226" fmla="*/ 269576 h 541195"/>
                <a:gd name="connsiteX1227" fmla="*/ 1683445 w 4012966"/>
                <a:gd name="connsiteY1227" fmla="*/ 269576 h 541195"/>
                <a:gd name="connsiteX1228" fmla="*/ 1683445 w 4012966"/>
                <a:gd name="connsiteY1228" fmla="*/ 264718 h 541195"/>
                <a:gd name="connsiteX1229" fmla="*/ 1675287 w 4012966"/>
                <a:gd name="connsiteY1229" fmla="*/ 264718 h 541195"/>
                <a:gd name="connsiteX1230" fmla="*/ 1675287 w 4012966"/>
                <a:gd name="connsiteY1230" fmla="*/ 269576 h 541195"/>
                <a:gd name="connsiteX1231" fmla="*/ 1668594 w 4012966"/>
                <a:gd name="connsiteY1231" fmla="*/ 269576 h 541195"/>
                <a:gd name="connsiteX1232" fmla="*/ 1668594 w 4012966"/>
                <a:gd name="connsiteY1232" fmla="*/ 264718 h 541195"/>
                <a:gd name="connsiteX1233" fmla="*/ 1659774 w 4012966"/>
                <a:gd name="connsiteY1233" fmla="*/ 264718 h 541195"/>
                <a:gd name="connsiteX1234" fmla="*/ 1659774 w 4012966"/>
                <a:gd name="connsiteY1234" fmla="*/ 269576 h 541195"/>
                <a:gd name="connsiteX1235" fmla="*/ 1653413 w 4012966"/>
                <a:gd name="connsiteY1235" fmla="*/ 269576 h 541195"/>
                <a:gd name="connsiteX1236" fmla="*/ 1653413 w 4012966"/>
                <a:gd name="connsiteY1236" fmla="*/ 264718 h 541195"/>
                <a:gd name="connsiteX1237" fmla="*/ 1645090 w 4012966"/>
                <a:gd name="connsiteY1237" fmla="*/ 264718 h 541195"/>
                <a:gd name="connsiteX1238" fmla="*/ 1645090 w 4012966"/>
                <a:gd name="connsiteY1238" fmla="*/ 269576 h 541195"/>
                <a:gd name="connsiteX1239" fmla="*/ 1639393 w 4012966"/>
                <a:gd name="connsiteY1239" fmla="*/ 269576 h 541195"/>
                <a:gd name="connsiteX1240" fmla="*/ 1639393 w 4012966"/>
                <a:gd name="connsiteY1240" fmla="*/ 264718 h 541195"/>
                <a:gd name="connsiteX1241" fmla="*/ 1630904 w 4012966"/>
                <a:gd name="connsiteY1241" fmla="*/ 264718 h 541195"/>
                <a:gd name="connsiteX1242" fmla="*/ 1630904 w 4012966"/>
                <a:gd name="connsiteY1242" fmla="*/ 269576 h 541195"/>
                <a:gd name="connsiteX1243" fmla="*/ 1624544 w 4012966"/>
                <a:gd name="connsiteY1243" fmla="*/ 269576 h 541195"/>
                <a:gd name="connsiteX1244" fmla="*/ 1624544 w 4012966"/>
                <a:gd name="connsiteY1244" fmla="*/ 269473 h 541195"/>
                <a:gd name="connsiteX1245" fmla="*/ 1623714 w 4012966"/>
                <a:gd name="connsiteY1245" fmla="*/ 269473 h 541195"/>
                <a:gd name="connsiteX1246" fmla="*/ 1623714 w 4012966"/>
                <a:gd name="connsiteY1246" fmla="*/ 279189 h 541195"/>
                <a:gd name="connsiteX1247" fmla="*/ 1618515 w 4012966"/>
                <a:gd name="connsiteY1247" fmla="*/ 413609 h 541195"/>
                <a:gd name="connsiteX1248" fmla="*/ 1616385 w 4012966"/>
                <a:gd name="connsiteY1248" fmla="*/ 266160 h 541195"/>
                <a:gd name="connsiteX1249" fmla="*/ 1620782 w 4012966"/>
                <a:gd name="connsiteY1249" fmla="*/ 261508 h 541195"/>
                <a:gd name="connsiteX1250" fmla="*/ 1617602 w 4012966"/>
                <a:gd name="connsiteY1250" fmla="*/ 259310 h 541195"/>
                <a:gd name="connsiteX1251" fmla="*/ 1617602 w 4012966"/>
                <a:gd name="connsiteY1251" fmla="*/ 249748 h 541195"/>
                <a:gd name="connsiteX1252" fmla="*/ 1619317 w 4012966"/>
                <a:gd name="connsiteY1252" fmla="*/ 248374 h 541195"/>
                <a:gd name="connsiteX1253" fmla="*/ 1616026 w 4012966"/>
                <a:gd name="connsiteY1253" fmla="*/ 245645 h 541195"/>
                <a:gd name="connsiteX1254" fmla="*/ 1612237 w 4012966"/>
                <a:gd name="connsiteY1254" fmla="*/ 244666 h 541195"/>
                <a:gd name="connsiteX1255" fmla="*/ 1609195 w 4012966"/>
                <a:gd name="connsiteY1255" fmla="*/ 246109 h 541195"/>
                <a:gd name="connsiteX1256" fmla="*/ 1606735 w 4012966"/>
                <a:gd name="connsiteY1256" fmla="*/ 243757 h 541195"/>
                <a:gd name="connsiteX1257" fmla="*/ 1600983 w 4012966"/>
                <a:gd name="connsiteY1257" fmla="*/ 242847 h 541195"/>
                <a:gd name="connsiteX1258" fmla="*/ 1597941 w 4012966"/>
                <a:gd name="connsiteY1258" fmla="*/ 244598 h 541195"/>
                <a:gd name="connsiteX1259" fmla="*/ 1595369 w 4012966"/>
                <a:gd name="connsiteY1259" fmla="*/ 242177 h 541195"/>
                <a:gd name="connsiteX1260" fmla="*/ 1592438 w 4012966"/>
                <a:gd name="connsiteY1260" fmla="*/ 241576 h 541195"/>
                <a:gd name="connsiteX1261" fmla="*/ 1586686 w 4012966"/>
                <a:gd name="connsiteY1261" fmla="*/ 241576 h 541195"/>
                <a:gd name="connsiteX1262" fmla="*/ 1586686 w 4012966"/>
                <a:gd name="connsiteY1262" fmla="*/ 248169 h 541195"/>
                <a:gd name="connsiteX1263" fmla="*/ 1578500 w 4012966"/>
                <a:gd name="connsiteY1263" fmla="*/ 248014 h 541195"/>
                <a:gd name="connsiteX1264" fmla="*/ 1578500 w 4012966"/>
                <a:gd name="connsiteY1264" fmla="*/ 241559 h 541195"/>
                <a:gd name="connsiteX1265" fmla="*/ 1568352 w 4012966"/>
                <a:gd name="connsiteY1265" fmla="*/ 241559 h 541195"/>
                <a:gd name="connsiteX1266" fmla="*/ 1568213 w 4012966"/>
                <a:gd name="connsiteY1266" fmla="*/ 247619 h 541195"/>
                <a:gd name="connsiteX1267" fmla="*/ 1560388 w 4012966"/>
                <a:gd name="connsiteY1267" fmla="*/ 247465 h 541195"/>
                <a:gd name="connsiteX1268" fmla="*/ 1560388 w 4012966"/>
                <a:gd name="connsiteY1268" fmla="*/ 241542 h 541195"/>
                <a:gd name="connsiteX1269" fmla="*/ 1551815 w 4012966"/>
                <a:gd name="connsiteY1269" fmla="*/ 242074 h 541195"/>
                <a:gd name="connsiteX1270" fmla="*/ 1548773 w 4012966"/>
                <a:gd name="connsiteY1270" fmla="*/ 245182 h 541195"/>
                <a:gd name="connsiteX1271" fmla="*/ 1545593 w 4012966"/>
                <a:gd name="connsiteY1271" fmla="*/ 243207 h 541195"/>
                <a:gd name="connsiteX1272" fmla="*/ 1538486 w 4012966"/>
                <a:gd name="connsiteY1272" fmla="*/ 243963 h 541195"/>
                <a:gd name="connsiteX1273" fmla="*/ 1535804 w 4012966"/>
                <a:gd name="connsiteY1273" fmla="*/ 246915 h 541195"/>
                <a:gd name="connsiteX1274" fmla="*/ 1532513 w 4012966"/>
                <a:gd name="connsiteY1274" fmla="*/ 244941 h 541195"/>
                <a:gd name="connsiteX1275" fmla="*/ 1528338 w 4012966"/>
                <a:gd name="connsiteY1275" fmla="*/ 245405 h 541195"/>
                <a:gd name="connsiteX1276" fmla="*/ 1524908 w 4012966"/>
                <a:gd name="connsiteY1276" fmla="*/ 248443 h 541195"/>
                <a:gd name="connsiteX1277" fmla="*/ 1526125 w 4012966"/>
                <a:gd name="connsiteY1277" fmla="*/ 249439 h 541195"/>
                <a:gd name="connsiteX1278" fmla="*/ 1526319 w 4012966"/>
                <a:gd name="connsiteY1278" fmla="*/ 251859 h 541195"/>
                <a:gd name="connsiteX1279" fmla="*/ 1526319 w 4012966"/>
                <a:gd name="connsiteY1279" fmla="*/ 259448 h 541195"/>
                <a:gd name="connsiteX1280" fmla="*/ 1524908 w 4012966"/>
                <a:gd name="connsiteY1280" fmla="*/ 260374 h 541195"/>
                <a:gd name="connsiteX1281" fmla="*/ 1523084 w 4012966"/>
                <a:gd name="connsiteY1281" fmla="*/ 265834 h 541195"/>
                <a:gd name="connsiteX1282" fmla="*/ 1528338 w 4012966"/>
                <a:gd name="connsiteY1282" fmla="*/ 268340 h 541195"/>
                <a:gd name="connsiteX1283" fmla="*/ 1523637 w 4012966"/>
                <a:gd name="connsiteY1283" fmla="*/ 448080 h 541195"/>
                <a:gd name="connsiteX1284" fmla="*/ 1523084 w 4012966"/>
                <a:gd name="connsiteY1284" fmla="*/ 271602 h 541195"/>
                <a:gd name="connsiteX1285" fmla="*/ 1515893 w 4012966"/>
                <a:gd name="connsiteY1285" fmla="*/ 266949 h 541195"/>
                <a:gd name="connsiteX1286" fmla="*/ 1519046 w 4012966"/>
                <a:gd name="connsiteY1286" fmla="*/ 259464 h 541195"/>
                <a:gd name="connsiteX1287" fmla="*/ 1521728 w 4012966"/>
                <a:gd name="connsiteY1287" fmla="*/ 256958 h 541195"/>
                <a:gd name="connsiteX1288" fmla="*/ 1521645 w 4012966"/>
                <a:gd name="connsiteY1288" fmla="*/ 256684 h 541195"/>
                <a:gd name="connsiteX1289" fmla="*/ 1521645 w 4012966"/>
                <a:gd name="connsiteY1289" fmla="*/ 250349 h 541195"/>
                <a:gd name="connsiteX1290" fmla="*/ 1519571 w 4012966"/>
                <a:gd name="connsiteY1290" fmla="*/ 249061 h 541195"/>
                <a:gd name="connsiteX1291" fmla="*/ 1524548 w 4012966"/>
                <a:gd name="connsiteY1291" fmla="*/ 242915 h 541195"/>
                <a:gd name="connsiteX1292" fmla="*/ 1531766 w 4012966"/>
                <a:gd name="connsiteY1292" fmla="*/ 241748 h 541195"/>
                <a:gd name="connsiteX1293" fmla="*/ 1534448 w 4012966"/>
                <a:gd name="connsiteY1293" fmla="*/ 242864 h 541195"/>
                <a:gd name="connsiteX1294" fmla="*/ 1536661 w 4012966"/>
                <a:gd name="connsiteY1294" fmla="*/ 240890 h 541195"/>
                <a:gd name="connsiteX1295" fmla="*/ 1544487 w 4012966"/>
                <a:gd name="connsiteY1295" fmla="*/ 240031 h 541195"/>
                <a:gd name="connsiteX1296" fmla="*/ 1548164 w 4012966"/>
                <a:gd name="connsiteY1296" fmla="*/ 241044 h 541195"/>
                <a:gd name="connsiteX1297" fmla="*/ 1549630 w 4012966"/>
                <a:gd name="connsiteY1297" fmla="*/ 238744 h 541195"/>
                <a:gd name="connsiteX1298" fmla="*/ 1560498 w 4012966"/>
                <a:gd name="connsiteY1298" fmla="*/ 237903 h 541195"/>
                <a:gd name="connsiteX1299" fmla="*/ 1564425 w 4012966"/>
                <a:gd name="connsiteY1299" fmla="*/ 239808 h 541195"/>
                <a:gd name="connsiteX1300" fmla="*/ 1570039 w 4012966"/>
                <a:gd name="connsiteY1300" fmla="*/ 239722 h 541195"/>
                <a:gd name="connsiteX1301" fmla="*/ 1567356 w 4012966"/>
                <a:gd name="connsiteY1301" fmla="*/ 238366 h 541195"/>
                <a:gd name="connsiteX1302" fmla="*/ 1567356 w 4012966"/>
                <a:gd name="connsiteY1302" fmla="*/ 236770 h 541195"/>
                <a:gd name="connsiteX1303" fmla="*/ 1568573 w 4012966"/>
                <a:gd name="connsiteY1303" fmla="*/ 235482 h 541195"/>
                <a:gd name="connsiteX1304" fmla="*/ 1567964 w 4012966"/>
                <a:gd name="connsiteY1304" fmla="*/ 234504 h 541195"/>
                <a:gd name="connsiteX1305" fmla="*/ 1567854 w 4012966"/>
                <a:gd name="connsiteY1305" fmla="*/ 230023 h 541195"/>
                <a:gd name="connsiteX1306" fmla="*/ 1569320 w 4012966"/>
                <a:gd name="connsiteY1306" fmla="*/ 229559 h 541195"/>
                <a:gd name="connsiteX1307" fmla="*/ 1566388 w 4012966"/>
                <a:gd name="connsiteY1307" fmla="*/ 227362 h 541195"/>
                <a:gd name="connsiteX1308" fmla="*/ 1561134 w 4012966"/>
                <a:gd name="connsiteY1308" fmla="*/ 227362 h 541195"/>
                <a:gd name="connsiteX1309" fmla="*/ 1561134 w 4012966"/>
                <a:gd name="connsiteY1309" fmla="*/ 232238 h 541195"/>
                <a:gd name="connsiteX1310" fmla="*/ 1554276 w 4012966"/>
                <a:gd name="connsiteY1310" fmla="*/ 232238 h 541195"/>
                <a:gd name="connsiteX1311" fmla="*/ 1554276 w 4012966"/>
                <a:gd name="connsiteY1311" fmla="*/ 227585 h 541195"/>
                <a:gd name="connsiteX1312" fmla="*/ 1545234 w 4012966"/>
                <a:gd name="connsiteY1312" fmla="*/ 227585 h 541195"/>
                <a:gd name="connsiteX1313" fmla="*/ 1545234 w 4012966"/>
                <a:gd name="connsiteY1313" fmla="*/ 232238 h 541195"/>
                <a:gd name="connsiteX1314" fmla="*/ 1537740 w 4012966"/>
                <a:gd name="connsiteY1314" fmla="*/ 232238 h 541195"/>
                <a:gd name="connsiteX1315" fmla="*/ 1537740 w 4012966"/>
                <a:gd name="connsiteY1315" fmla="*/ 227585 h 541195"/>
                <a:gd name="connsiteX1316" fmla="*/ 1528836 w 4012966"/>
                <a:gd name="connsiteY1316" fmla="*/ 227585 h 541195"/>
                <a:gd name="connsiteX1317" fmla="*/ 1528836 w 4012966"/>
                <a:gd name="connsiteY1317" fmla="*/ 232238 h 541195"/>
                <a:gd name="connsiteX1318" fmla="*/ 1522171 w 4012966"/>
                <a:gd name="connsiteY1318" fmla="*/ 232238 h 541195"/>
                <a:gd name="connsiteX1319" fmla="*/ 1522171 w 4012966"/>
                <a:gd name="connsiteY1319" fmla="*/ 227585 h 541195"/>
                <a:gd name="connsiteX1320" fmla="*/ 1513599 w 4012966"/>
                <a:gd name="connsiteY1320" fmla="*/ 227585 h 541195"/>
                <a:gd name="connsiteX1321" fmla="*/ 1513599 w 4012966"/>
                <a:gd name="connsiteY1321" fmla="*/ 232238 h 541195"/>
                <a:gd name="connsiteX1322" fmla="*/ 1506602 w 4012966"/>
                <a:gd name="connsiteY1322" fmla="*/ 232238 h 541195"/>
                <a:gd name="connsiteX1323" fmla="*/ 1506602 w 4012966"/>
                <a:gd name="connsiteY1323" fmla="*/ 227362 h 541195"/>
                <a:gd name="connsiteX1324" fmla="*/ 1497394 w 4012966"/>
                <a:gd name="connsiteY1324" fmla="*/ 227362 h 541195"/>
                <a:gd name="connsiteX1325" fmla="*/ 1497394 w 4012966"/>
                <a:gd name="connsiteY1325" fmla="*/ 232238 h 541195"/>
                <a:gd name="connsiteX1326" fmla="*/ 1490314 w 4012966"/>
                <a:gd name="connsiteY1326" fmla="*/ 232238 h 541195"/>
                <a:gd name="connsiteX1327" fmla="*/ 1490314 w 4012966"/>
                <a:gd name="connsiteY1327" fmla="*/ 227362 h 541195"/>
                <a:gd name="connsiteX1328" fmla="*/ 1481686 w 4012966"/>
                <a:gd name="connsiteY1328" fmla="*/ 227362 h 541195"/>
                <a:gd name="connsiteX1329" fmla="*/ 1481686 w 4012966"/>
                <a:gd name="connsiteY1329" fmla="*/ 232238 h 541195"/>
                <a:gd name="connsiteX1330" fmla="*/ 1474358 w 4012966"/>
                <a:gd name="connsiteY1330" fmla="*/ 232238 h 541195"/>
                <a:gd name="connsiteX1331" fmla="*/ 1474358 w 4012966"/>
                <a:gd name="connsiteY1331" fmla="*/ 227362 h 541195"/>
                <a:gd name="connsiteX1332" fmla="*/ 1465703 w 4012966"/>
                <a:gd name="connsiteY1332" fmla="*/ 227362 h 541195"/>
                <a:gd name="connsiteX1333" fmla="*/ 1465703 w 4012966"/>
                <a:gd name="connsiteY1333" fmla="*/ 232238 h 541195"/>
                <a:gd name="connsiteX1334" fmla="*/ 1458596 w 4012966"/>
                <a:gd name="connsiteY1334" fmla="*/ 232238 h 541195"/>
                <a:gd name="connsiteX1335" fmla="*/ 1458596 w 4012966"/>
                <a:gd name="connsiteY1335" fmla="*/ 227362 h 541195"/>
                <a:gd name="connsiteX1336" fmla="*/ 1449388 w 4012966"/>
                <a:gd name="connsiteY1336" fmla="*/ 227362 h 541195"/>
                <a:gd name="connsiteX1337" fmla="*/ 1449388 w 4012966"/>
                <a:gd name="connsiteY1337" fmla="*/ 232238 h 541195"/>
                <a:gd name="connsiteX1338" fmla="*/ 1442363 w 4012966"/>
                <a:gd name="connsiteY1338" fmla="*/ 232238 h 541195"/>
                <a:gd name="connsiteX1339" fmla="*/ 1442363 w 4012966"/>
                <a:gd name="connsiteY1339" fmla="*/ 227585 h 541195"/>
                <a:gd name="connsiteX1340" fmla="*/ 1433819 w 4012966"/>
                <a:gd name="connsiteY1340" fmla="*/ 227585 h 541195"/>
                <a:gd name="connsiteX1341" fmla="*/ 1433819 w 4012966"/>
                <a:gd name="connsiteY1341" fmla="*/ 232238 h 541195"/>
                <a:gd name="connsiteX1342" fmla="*/ 1427126 w 4012966"/>
                <a:gd name="connsiteY1342" fmla="*/ 232238 h 541195"/>
                <a:gd name="connsiteX1343" fmla="*/ 1427126 w 4012966"/>
                <a:gd name="connsiteY1343" fmla="*/ 227585 h 541195"/>
                <a:gd name="connsiteX1344" fmla="*/ 1418249 w 4012966"/>
                <a:gd name="connsiteY1344" fmla="*/ 227585 h 541195"/>
                <a:gd name="connsiteX1345" fmla="*/ 1418249 w 4012966"/>
                <a:gd name="connsiteY1345" fmla="*/ 232238 h 541195"/>
                <a:gd name="connsiteX1346" fmla="*/ 1410756 w 4012966"/>
                <a:gd name="connsiteY1346" fmla="*/ 232238 h 541195"/>
                <a:gd name="connsiteX1347" fmla="*/ 1410756 w 4012966"/>
                <a:gd name="connsiteY1347" fmla="*/ 227585 h 541195"/>
                <a:gd name="connsiteX1348" fmla="*/ 1401686 w 4012966"/>
                <a:gd name="connsiteY1348" fmla="*/ 227585 h 541195"/>
                <a:gd name="connsiteX1349" fmla="*/ 1401686 w 4012966"/>
                <a:gd name="connsiteY1349" fmla="*/ 232238 h 541195"/>
                <a:gd name="connsiteX1350" fmla="*/ 1394828 w 4012966"/>
                <a:gd name="connsiteY1350" fmla="*/ 232238 h 541195"/>
                <a:gd name="connsiteX1351" fmla="*/ 1394828 w 4012966"/>
                <a:gd name="connsiteY1351" fmla="*/ 227362 h 541195"/>
                <a:gd name="connsiteX1352" fmla="*/ 1389573 w 4012966"/>
                <a:gd name="connsiteY1352" fmla="*/ 227362 h 541195"/>
                <a:gd name="connsiteX1353" fmla="*/ 1386642 w 4012966"/>
                <a:gd name="connsiteY1353" fmla="*/ 229559 h 541195"/>
                <a:gd name="connsiteX1354" fmla="*/ 1388108 w 4012966"/>
                <a:gd name="connsiteY1354" fmla="*/ 230023 h 541195"/>
                <a:gd name="connsiteX1355" fmla="*/ 1387997 w 4012966"/>
                <a:gd name="connsiteY1355" fmla="*/ 234504 h 541195"/>
                <a:gd name="connsiteX1356" fmla="*/ 1387389 w 4012966"/>
                <a:gd name="connsiteY1356" fmla="*/ 235482 h 541195"/>
                <a:gd name="connsiteX1357" fmla="*/ 1388605 w 4012966"/>
                <a:gd name="connsiteY1357" fmla="*/ 236770 h 541195"/>
                <a:gd name="connsiteX1358" fmla="*/ 1388605 w 4012966"/>
                <a:gd name="connsiteY1358" fmla="*/ 238366 h 541195"/>
                <a:gd name="connsiteX1359" fmla="*/ 1385923 w 4012966"/>
                <a:gd name="connsiteY1359" fmla="*/ 239722 h 541195"/>
                <a:gd name="connsiteX1360" fmla="*/ 1391537 w 4012966"/>
                <a:gd name="connsiteY1360" fmla="*/ 239808 h 541195"/>
                <a:gd name="connsiteX1361" fmla="*/ 1395436 w 4012966"/>
                <a:gd name="connsiteY1361" fmla="*/ 237903 h 541195"/>
                <a:gd name="connsiteX1362" fmla="*/ 1406331 w 4012966"/>
                <a:gd name="connsiteY1362" fmla="*/ 238744 h 541195"/>
                <a:gd name="connsiteX1363" fmla="*/ 1407796 w 4012966"/>
                <a:gd name="connsiteY1363" fmla="*/ 241044 h 541195"/>
                <a:gd name="connsiteX1364" fmla="*/ 1411474 w 4012966"/>
                <a:gd name="connsiteY1364" fmla="*/ 240031 h 541195"/>
                <a:gd name="connsiteX1365" fmla="*/ 1419300 w 4012966"/>
                <a:gd name="connsiteY1365" fmla="*/ 240890 h 541195"/>
                <a:gd name="connsiteX1366" fmla="*/ 1421513 w 4012966"/>
                <a:gd name="connsiteY1366" fmla="*/ 242864 h 541195"/>
                <a:gd name="connsiteX1367" fmla="*/ 1424196 w 4012966"/>
                <a:gd name="connsiteY1367" fmla="*/ 241748 h 541195"/>
                <a:gd name="connsiteX1368" fmla="*/ 1431412 w 4012966"/>
                <a:gd name="connsiteY1368" fmla="*/ 242915 h 541195"/>
                <a:gd name="connsiteX1369" fmla="*/ 1436390 w 4012966"/>
                <a:gd name="connsiteY1369" fmla="*/ 249061 h 541195"/>
                <a:gd name="connsiteX1370" fmla="*/ 1434316 w 4012966"/>
                <a:gd name="connsiteY1370" fmla="*/ 250349 h 541195"/>
                <a:gd name="connsiteX1371" fmla="*/ 1434316 w 4012966"/>
                <a:gd name="connsiteY1371" fmla="*/ 256684 h 541195"/>
                <a:gd name="connsiteX1372" fmla="*/ 1434234 w 4012966"/>
                <a:gd name="connsiteY1372" fmla="*/ 256958 h 541195"/>
                <a:gd name="connsiteX1373" fmla="*/ 1436916 w 4012966"/>
                <a:gd name="connsiteY1373" fmla="*/ 259464 h 541195"/>
                <a:gd name="connsiteX1374" fmla="*/ 1440068 w 4012966"/>
                <a:gd name="connsiteY1374" fmla="*/ 266949 h 541195"/>
                <a:gd name="connsiteX1375" fmla="*/ 1432878 w 4012966"/>
                <a:gd name="connsiteY1375" fmla="*/ 271602 h 541195"/>
                <a:gd name="connsiteX1376" fmla="*/ 1432325 w 4012966"/>
                <a:gd name="connsiteY1376" fmla="*/ 448080 h 541195"/>
                <a:gd name="connsiteX1377" fmla="*/ 1427624 w 4012966"/>
                <a:gd name="connsiteY1377" fmla="*/ 268340 h 541195"/>
                <a:gd name="connsiteX1378" fmla="*/ 1432878 w 4012966"/>
                <a:gd name="connsiteY1378" fmla="*/ 265834 h 541195"/>
                <a:gd name="connsiteX1379" fmla="*/ 1431053 w 4012966"/>
                <a:gd name="connsiteY1379" fmla="*/ 260374 h 541195"/>
                <a:gd name="connsiteX1380" fmla="*/ 1429643 w 4012966"/>
                <a:gd name="connsiteY1380" fmla="*/ 259448 h 541195"/>
                <a:gd name="connsiteX1381" fmla="*/ 1429643 w 4012966"/>
                <a:gd name="connsiteY1381" fmla="*/ 251859 h 541195"/>
                <a:gd name="connsiteX1382" fmla="*/ 1429809 w 4012966"/>
                <a:gd name="connsiteY1382" fmla="*/ 249439 h 541195"/>
                <a:gd name="connsiteX1383" fmla="*/ 1431026 w 4012966"/>
                <a:gd name="connsiteY1383" fmla="*/ 248443 h 541195"/>
                <a:gd name="connsiteX1384" fmla="*/ 1427596 w 4012966"/>
                <a:gd name="connsiteY1384" fmla="*/ 245405 h 541195"/>
                <a:gd name="connsiteX1385" fmla="*/ 1423448 w 4012966"/>
                <a:gd name="connsiteY1385" fmla="*/ 244941 h 541195"/>
                <a:gd name="connsiteX1386" fmla="*/ 1420158 w 4012966"/>
                <a:gd name="connsiteY1386" fmla="*/ 246915 h 541195"/>
                <a:gd name="connsiteX1387" fmla="*/ 1417476 w 4012966"/>
                <a:gd name="connsiteY1387" fmla="*/ 243963 h 541195"/>
                <a:gd name="connsiteX1388" fmla="*/ 1410368 w 4012966"/>
                <a:gd name="connsiteY1388" fmla="*/ 243207 h 541195"/>
                <a:gd name="connsiteX1389" fmla="*/ 1407188 w 4012966"/>
                <a:gd name="connsiteY1389" fmla="*/ 245182 h 541195"/>
                <a:gd name="connsiteX1390" fmla="*/ 1404147 w 4012966"/>
                <a:gd name="connsiteY1390" fmla="*/ 242074 h 541195"/>
                <a:gd name="connsiteX1391" fmla="*/ 1395574 w 4012966"/>
                <a:gd name="connsiteY1391" fmla="*/ 241542 h 541195"/>
                <a:gd name="connsiteX1392" fmla="*/ 1395574 w 4012966"/>
                <a:gd name="connsiteY1392" fmla="*/ 247465 h 541195"/>
                <a:gd name="connsiteX1393" fmla="*/ 1387748 w 4012966"/>
                <a:gd name="connsiteY1393" fmla="*/ 247619 h 541195"/>
                <a:gd name="connsiteX1394" fmla="*/ 1387610 w 4012966"/>
                <a:gd name="connsiteY1394" fmla="*/ 241559 h 541195"/>
                <a:gd name="connsiteX1395" fmla="*/ 1377461 w 4012966"/>
                <a:gd name="connsiteY1395" fmla="*/ 241559 h 541195"/>
                <a:gd name="connsiteX1396" fmla="*/ 1377461 w 4012966"/>
                <a:gd name="connsiteY1396" fmla="*/ 248014 h 541195"/>
                <a:gd name="connsiteX1397" fmla="*/ 1369276 w 4012966"/>
                <a:gd name="connsiteY1397" fmla="*/ 248169 h 541195"/>
                <a:gd name="connsiteX1398" fmla="*/ 1369276 w 4012966"/>
                <a:gd name="connsiteY1398" fmla="*/ 241576 h 541195"/>
                <a:gd name="connsiteX1399" fmla="*/ 1363524 w 4012966"/>
                <a:gd name="connsiteY1399" fmla="*/ 241576 h 541195"/>
                <a:gd name="connsiteX1400" fmla="*/ 1360593 w 4012966"/>
                <a:gd name="connsiteY1400" fmla="*/ 242177 h 541195"/>
                <a:gd name="connsiteX1401" fmla="*/ 1358021 w 4012966"/>
                <a:gd name="connsiteY1401" fmla="*/ 244598 h 541195"/>
                <a:gd name="connsiteX1402" fmla="*/ 1354979 w 4012966"/>
                <a:gd name="connsiteY1402" fmla="*/ 242847 h 541195"/>
                <a:gd name="connsiteX1403" fmla="*/ 1349227 w 4012966"/>
                <a:gd name="connsiteY1403" fmla="*/ 243757 h 541195"/>
                <a:gd name="connsiteX1404" fmla="*/ 1346794 w 4012966"/>
                <a:gd name="connsiteY1404" fmla="*/ 246109 h 541195"/>
                <a:gd name="connsiteX1405" fmla="*/ 1343725 w 4012966"/>
                <a:gd name="connsiteY1405" fmla="*/ 244666 h 541195"/>
                <a:gd name="connsiteX1406" fmla="*/ 1339935 w 4012966"/>
                <a:gd name="connsiteY1406" fmla="*/ 245645 h 541195"/>
                <a:gd name="connsiteX1407" fmla="*/ 1336645 w 4012966"/>
                <a:gd name="connsiteY1407" fmla="*/ 248374 h 541195"/>
                <a:gd name="connsiteX1408" fmla="*/ 1338359 w 4012966"/>
                <a:gd name="connsiteY1408" fmla="*/ 249748 h 541195"/>
                <a:gd name="connsiteX1409" fmla="*/ 1338359 w 4012966"/>
                <a:gd name="connsiteY1409" fmla="*/ 259310 h 541195"/>
                <a:gd name="connsiteX1410" fmla="*/ 1335179 w 4012966"/>
                <a:gd name="connsiteY1410" fmla="*/ 261508 h 541195"/>
                <a:gd name="connsiteX1411" fmla="*/ 1339549 w 4012966"/>
                <a:gd name="connsiteY1411" fmla="*/ 266160 h 541195"/>
                <a:gd name="connsiteX1412" fmla="*/ 1337447 w 4012966"/>
                <a:gd name="connsiteY1412" fmla="*/ 413609 h 541195"/>
                <a:gd name="connsiteX1413" fmla="*/ 1331446 w 4012966"/>
                <a:gd name="connsiteY1413" fmla="*/ 269576 h 541195"/>
                <a:gd name="connsiteX1414" fmla="*/ 1325086 w 4012966"/>
                <a:gd name="connsiteY1414" fmla="*/ 269576 h 541195"/>
                <a:gd name="connsiteX1415" fmla="*/ 1325086 w 4012966"/>
                <a:gd name="connsiteY1415" fmla="*/ 264718 h 541195"/>
                <a:gd name="connsiteX1416" fmla="*/ 1316596 w 4012966"/>
                <a:gd name="connsiteY1416" fmla="*/ 264718 h 541195"/>
                <a:gd name="connsiteX1417" fmla="*/ 1316596 w 4012966"/>
                <a:gd name="connsiteY1417" fmla="*/ 269576 h 541195"/>
                <a:gd name="connsiteX1418" fmla="*/ 1310900 w 4012966"/>
                <a:gd name="connsiteY1418" fmla="*/ 269576 h 541195"/>
                <a:gd name="connsiteX1419" fmla="*/ 1310900 w 4012966"/>
                <a:gd name="connsiteY1419" fmla="*/ 264718 h 541195"/>
                <a:gd name="connsiteX1420" fmla="*/ 1302576 w 4012966"/>
                <a:gd name="connsiteY1420" fmla="*/ 264718 h 541195"/>
                <a:gd name="connsiteX1421" fmla="*/ 1302576 w 4012966"/>
                <a:gd name="connsiteY1421" fmla="*/ 269576 h 541195"/>
                <a:gd name="connsiteX1422" fmla="*/ 1296216 w 4012966"/>
                <a:gd name="connsiteY1422" fmla="*/ 269576 h 541195"/>
                <a:gd name="connsiteX1423" fmla="*/ 1296216 w 4012966"/>
                <a:gd name="connsiteY1423" fmla="*/ 264718 h 541195"/>
                <a:gd name="connsiteX1424" fmla="*/ 1287395 w 4012966"/>
                <a:gd name="connsiteY1424" fmla="*/ 264718 h 541195"/>
                <a:gd name="connsiteX1425" fmla="*/ 1287395 w 4012966"/>
                <a:gd name="connsiteY1425" fmla="*/ 269576 h 541195"/>
                <a:gd name="connsiteX1426" fmla="*/ 1280703 w 4012966"/>
                <a:gd name="connsiteY1426" fmla="*/ 269576 h 541195"/>
                <a:gd name="connsiteX1427" fmla="*/ 1280703 w 4012966"/>
                <a:gd name="connsiteY1427" fmla="*/ 264718 h 541195"/>
                <a:gd name="connsiteX1428" fmla="*/ 1272544 w 4012966"/>
                <a:gd name="connsiteY1428" fmla="*/ 264718 h 541195"/>
                <a:gd name="connsiteX1429" fmla="*/ 1272544 w 4012966"/>
                <a:gd name="connsiteY1429" fmla="*/ 269576 h 541195"/>
                <a:gd name="connsiteX1430" fmla="*/ 1264885 w 4012966"/>
                <a:gd name="connsiteY1430" fmla="*/ 269576 h 541195"/>
                <a:gd name="connsiteX1431" fmla="*/ 1264885 w 4012966"/>
                <a:gd name="connsiteY1431" fmla="*/ 264718 h 541195"/>
                <a:gd name="connsiteX1432" fmla="*/ 1256727 w 4012966"/>
                <a:gd name="connsiteY1432" fmla="*/ 264718 h 541195"/>
                <a:gd name="connsiteX1433" fmla="*/ 1256727 w 4012966"/>
                <a:gd name="connsiteY1433" fmla="*/ 269576 h 541195"/>
                <a:gd name="connsiteX1434" fmla="*/ 1249538 w 4012966"/>
                <a:gd name="connsiteY1434" fmla="*/ 269576 h 541195"/>
                <a:gd name="connsiteX1435" fmla="*/ 1249538 w 4012966"/>
                <a:gd name="connsiteY1435" fmla="*/ 264718 h 541195"/>
                <a:gd name="connsiteX1436" fmla="*/ 1244642 w 4012966"/>
                <a:gd name="connsiteY1436" fmla="*/ 264718 h 541195"/>
                <a:gd name="connsiteX1437" fmla="*/ 1240744 w 4012966"/>
                <a:gd name="connsiteY1437" fmla="*/ 267550 h 541195"/>
                <a:gd name="connsiteX1438" fmla="*/ 1242541 w 4012966"/>
                <a:gd name="connsiteY1438" fmla="*/ 268872 h 541195"/>
                <a:gd name="connsiteX1439" fmla="*/ 1242209 w 4012966"/>
                <a:gd name="connsiteY1439" fmla="*/ 275550 h 541195"/>
                <a:gd name="connsiteX1440" fmla="*/ 1239776 w 4012966"/>
                <a:gd name="connsiteY1440" fmla="*/ 276357 h 541195"/>
                <a:gd name="connsiteX1441" fmla="*/ 1244670 w 4012966"/>
                <a:gd name="connsiteY1441" fmla="*/ 279859 h 541195"/>
                <a:gd name="connsiteX1442" fmla="*/ 1244477 w 4012966"/>
                <a:gd name="connsiteY1442" fmla="*/ 489763 h 541195"/>
                <a:gd name="connsiteX1443" fmla="*/ 1224871 w 4012966"/>
                <a:gd name="connsiteY1443" fmla="*/ 465797 h 541195"/>
                <a:gd name="connsiteX1444" fmla="*/ 1197715 w 4012966"/>
                <a:gd name="connsiteY1444" fmla="*/ 432012 h 541195"/>
                <a:gd name="connsiteX1445" fmla="*/ 842564 w 4012966"/>
                <a:gd name="connsiteY1445" fmla="*/ 398227 h 541195"/>
                <a:gd name="connsiteX1446" fmla="*/ 489957 w 4012966"/>
                <a:gd name="connsiteY1446" fmla="*/ 431771 h 541195"/>
                <a:gd name="connsiteX1447" fmla="*/ 460783 w 4012966"/>
                <a:gd name="connsiteY1447" fmla="*/ 431669 h 541195"/>
                <a:gd name="connsiteX1448" fmla="*/ 460783 w 4012966"/>
                <a:gd name="connsiteY1448" fmla="*/ 431635 h 541195"/>
                <a:gd name="connsiteX1449" fmla="*/ 458544 w 4012966"/>
                <a:gd name="connsiteY1449" fmla="*/ 431635 h 541195"/>
                <a:gd name="connsiteX1450" fmla="*/ 456303 w 4012966"/>
                <a:gd name="connsiteY1450" fmla="*/ 431635 h 541195"/>
                <a:gd name="connsiteX1451" fmla="*/ 456303 w 4012966"/>
                <a:gd name="connsiteY1451" fmla="*/ 431669 h 541195"/>
                <a:gd name="connsiteX1452" fmla="*/ 427129 w 4012966"/>
                <a:gd name="connsiteY1452" fmla="*/ 431771 h 541195"/>
                <a:gd name="connsiteX1453" fmla="*/ 74523 w 4012966"/>
                <a:gd name="connsiteY1453" fmla="*/ 398227 h 541195"/>
                <a:gd name="connsiteX1454" fmla="*/ 11234 w 4012966"/>
                <a:gd name="connsiteY1454" fmla="*/ 415120 h 541195"/>
                <a:gd name="connsiteX1455" fmla="*/ 2720 w 4012966"/>
                <a:gd name="connsiteY1455" fmla="*/ 416279 h 541195"/>
                <a:gd name="connsiteX1456" fmla="*/ 2543 w 4012966"/>
                <a:gd name="connsiteY1456" fmla="*/ 419776 h 541195"/>
                <a:gd name="connsiteX1457" fmla="*/ 9288 w 4012966"/>
                <a:gd name="connsiteY1457" fmla="*/ 418793 h 541195"/>
                <a:gd name="connsiteX1458" fmla="*/ 2298 w 4012966"/>
                <a:gd name="connsiteY1458" fmla="*/ 424635 h 541195"/>
                <a:gd name="connsiteX1459" fmla="*/ 2039 w 4012966"/>
                <a:gd name="connsiteY1459" fmla="*/ 429753 h 541195"/>
                <a:gd name="connsiteX1460" fmla="*/ 11777 w 4012966"/>
                <a:gd name="connsiteY1460" fmla="*/ 421609 h 541195"/>
                <a:gd name="connsiteX1461" fmla="*/ 12828 w 4012966"/>
                <a:gd name="connsiteY1461" fmla="*/ 464406 h 541195"/>
                <a:gd name="connsiteX1462" fmla="*/ 290 w 4012966"/>
                <a:gd name="connsiteY1462" fmla="*/ 464406 h 541195"/>
                <a:gd name="connsiteX1463" fmla="*/ 0 w 4012966"/>
                <a:gd name="connsiteY1463" fmla="*/ 470140 h 541195"/>
                <a:gd name="connsiteX1464" fmla="*/ 45653 w 4012966"/>
                <a:gd name="connsiteY1464" fmla="*/ 470140 h 541195"/>
                <a:gd name="connsiteX1465" fmla="*/ 46786 w 4012966"/>
                <a:gd name="connsiteY1465" fmla="*/ 470140 h 541195"/>
                <a:gd name="connsiteX1466" fmla="*/ 68992 w 4012966"/>
                <a:gd name="connsiteY1466" fmla="*/ 470140 h 541195"/>
                <a:gd name="connsiteX1467" fmla="*/ 68992 w 4012966"/>
                <a:gd name="connsiteY1467" fmla="*/ 474501 h 541195"/>
                <a:gd name="connsiteX1468" fmla="*/ 66558 w 4012966"/>
                <a:gd name="connsiteY1468" fmla="*/ 474501 h 541195"/>
                <a:gd name="connsiteX1469" fmla="*/ 66558 w 4012966"/>
                <a:gd name="connsiteY1469" fmla="*/ 477076 h 541195"/>
                <a:gd name="connsiteX1470" fmla="*/ 67195 w 4012966"/>
                <a:gd name="connsiteY1470" fmla="*/ 477076 h 541195"/>
                <a:gd name="connsiteX1471" fmla="*/ 62714 w 4012966"/>
                <a:gd name="connsiteY1471" fmla="*/ 529624 h 541195"/>
                <a:gd name="connsiteX1472" fmla="*/ 50520 w 4012966"/>
                <a:gd name="connsiteY1472" fmla="*/ 529624 h 54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Lst>
              <a:rect l="l" t="t" r="r" b="b"/>
              <a:pathLst>
                <a:path w="4012966" h="541195">
                  <a:moveTo>
                    <a:pt x="1968135" y="139020"/>
                  </a:moveTo>
                  <a:lnTo>
                    <a:pt x="1968135" y="133183"/>
                  </a:lnTo>
                  <a:lnTo>
                    <a:pt x="1970402" y="133183"/>
                  </a:lnTo>
                  <a:lnTo>
                    <a:pt x="1970402" y="137097"/>
                  </a:lnTo>
                  <a:lnTo>
                    <a:pt x="1969131" y="137097"/>
                  </a:lnTo>
                  <a:lnTo>
                    <a:pt x="1969131" y="138402"/>
                  </a:lnTo>
                  <a:close/>
                  <a:moveTo>
                    <a:pt x="1981961" y="139037"/>
                  </a:moveTo>
                  <a:lnTo>
                    <a:pt x="1980966" y="138419"/>
                  </a:lnTo>
                  <a:lnTo>
                    <a:pt x="1980966" y="137114"/>
                  </a:lnTo>
                  <a:lnTo>
                    <a:pt x="1979694" y="137114"/>
                  </a:lnTo>
                  <a:lnTo>
                    <a:pt x="1979694" y="133217"/>
                  </a:lnTo>
                  <a:lnTo>
                    <a:pt x="1981961" y="133217"/>
                  </a:lnTo>
                  <a:close/>
                  <a:moveTo>
                    <a:pt x="2633305" y="174092"/>
                  </a:moveTo>
                  <a:lnTo>
                    <a:pt x="2633305" y="168084"/>
                  </a:lnTo>
                  <a:lnTo>
                    <a:pt x="2637315" y="168084"/>
                  </a:lnTo>
                  <a:lnTo>
                    <a:pt x="2637315" y="174092"/>
                  </a:lnTo>
                  <a:close/>
                  <a:moveTo>
                    <a:pt x="2626309" y="174092"/>
                  </a:moveTo>
                  <a:lnTo>
                    <a:pt x="2626309" y="168084"/>
                  </a:lnTo>
                  <a:lnTo>
                    <a:pt x="2631673" y="168084"/>
                  </a:lnTo>
                  <a:lnTo>
                    <a:pt x="2631673" y="174092"/>
                  </a:lnTo>
                  <a:close/>
                  <a:moveTo>
                    <a:pt x="2619728" y="174092"/>
                  </a:moveTo>
                  <a:lnTo>
                    <a:pt x="2619728" y="168084"/>
                  </a:lnTo>
                  <a:lnTo>
                    <a:pt x="2624125" y="168084"/>
                  </a:lnTo>
                  <a:lnTo>
                    <a:pt x="2624125" y="174092"/>
                  </a:lnTo>
                  <a:close/>
                  <a:moveTo>
                    <a:pt x="2639472" y="174110"/>
                  </a:moveTo>
                  <a:lnTo>
                    <a:pt x="2639472" y="168101"/>
                  </a:lnTo>
                  <a:lnTo>
                    <a:pt x="2643869" y="168101"/>
                  </a:lnTo>
                  <a:lnTo>
                    <a:pt x="2643869" y="174110"/>
                  </a:lnTo>
                  <a:close/>
                  <a:moveTo>
                    <a:pt x="2626724" y="185818"/>
                  </a:moveTo>
                  <a:lnTo>
                    <a:pt x="2626724" y="184770"/>
                  </a:lnTo>
                  <a:cubicBezTo>
                    <a:pt x="2626724" y="183036"/>
                    <a:pt x="2628991" y="181629"/>
                    <a:pt x="2631785" y="181629"/>
                  </a:cubicBezTo>
                  <a:cubicBezTo>
                    <a:pt x="2634578" y="181629"/>
                    <a:pt x="2636845" y="183036"/>
                    <a:pt x="2636845" y="184770"/>
                  </a:cubicBezTo>
                  <a:lnTo>
                    <a:pt x="2636872" y="184770"/>
                  </a:lnTo>
                  <a:lnTo>
                    <a:pt x="2636872" y="185818"/>
                  </a:lnTo>
                  <a:close/>
                  <a:moveTo>
                    <a:pt x="2626724" y="192118"/>
                  </a:moveTo>
                  <a:lnTo>
                    <a:pt x="2626724" y="188667"/>
                  </a:lnTo>
                  <a:lnTo>
                    <a:pt x="2636872" y="188667"/>
                  </a:lnTo>
                  <a:lnTo>
                    <a:pt x="2636872" y="192118"/>
                  </a:lnTo>
                  <a:close/>
                  <a:moveTo>
                    <a:pt x="2621165" y="235414"/>
                  </a:moveTo>
                  <a:lnTo>
                    <a:pt x="2621165" y="218882"/>
                  </a:lnTo>
                  <a:cubicBezTo>
                    <a:pt x="2621165" y="217319"/>
                    <a:pt x="2623212" y="216049"/>
                    <a:pt x="2625729" y="216049"/>
                  </a:cubicBezTo>
                  <a:cubicBezTo>
                    <a:pt x="2628245" y="216049"/>
                    <a:pt x="2630291" y="217319"/>
                    <a:pt x="2630291" y="218882"/>
                  </a:cubicBezTo>
                  <a:lnTo>
                    <a:pt x="2630319" y="218882"/>
                  </a:lnTo>
                  <a:lnTo>
                    <a:pt x="2630319" y="235414"/>
                  </a:lnTo>
                  <a:close/>
                  <a:moveTo>
                    <a:pt x="2633084" y="235431"/>
                  </a:moveTo>
                  <a:lnTo>
                    <a:pt x="2633084" y="218899"/>
                  </a:lnTo>
                  <a:cubicBezTo>
                    <a:pt x="2633084" y="217337"/>
                    <a:pt x="2635131" y="216066"/>
                    <a:pt x="2637675" y="216066"/>
                  </a:cubicBezTo>
                  <a:cubicBezTo>
                    <a:pt x="2640219" y="216066"/>
                    <a:pt x="2642237" y="217337"/>
                    <a:pt x="2642237" y="218899"/>
                  </a:cubicBezTo>
                  <a:lnTo>
                    <a:pt x="2642237" y="235431"/>
                  </a:lnTo>
                  <a:close/>
                  <a:moveTo>
                    <a:pt x="2600343" y="343396"/>
                  </a:moveTo>
                  <a:lnTo>
                    <a:pt x="2663253" y="343396"/>
                  </a:lnTo>
                  <a:lnTo>
                    <a:pt x="2660433" y="246641"/>
                  </a:lnTo>
                  <a:lnTo>
                    <a:pt x="2663254" y="245353"/>
                  </a:lnTo>
                  <a:lnTo>
                    <a:pt x="2663254" y="241559"/>
                  </a:lnTo>
                  <a:lnTo>
                    <a:pt x="2658332" y="240272"/>
                  </a:lnTo>
                  <a:lnTo>
                    <a:pt x="2658332" y="209543"/>
                  </a:lnTo>
                  <a:lnTo>
                    <a:pt x="2660433" y="208890"/>
                  </a:lnTo>
                  <a:lnTo>
                    <a:pt x="2660793" y="205096"/>
                  </a:lnTo>
                  <a:lnTo>
                    <a:pt x="2657281" y="205096"/>
                  </a:lnTo>
                  <a:lnTo>
                    <a:pt x="2657281" y="198710"/>
                  </a:lnTo>
                  <a:lnTo>
                    <a:pt x="2653852" y="196307"/>
                  </a:lnTo>
                  <a:lnTo>
                    <a:pt x="2655566" y="194264"/>
                  </a:lnTo>
                  <a:lnTo>
                    <a:pt x="2655566" y="191122"/>
                  </a:lnTo>
                  <a:lnTo>
                    <a:pt x="2652192" y="187980"/>
                  </a:lnTo>
                  <a:lnTo>
                    <a:pt x="2652192" y="181680"/>
                  </a:lnTo>
                  <a:lnTo>
                    <a:pt x="2654737" y="180479"/>
                  </a:lnTo>
                  <a:lnTo>
                    <a:pt x="2654737" y="178161"/>
                  </a:lnTo>
                  <a:lnTo>
                    <a:pt x="2652192" y="176221"/>
                  </a:lnTo>
                  <a:lnTo>
                    <a:pt x="2646690" y="176221"/>
                  </a:lnTo>
                  <a:lnTo>
                    <a:pt x="2646690" y="174092"/>
                  </a:lnTo>
                  <a:lnTo>
                    <a:pt x="2645362" y="174092"/>
                  </a:lnTo>
                  <a:lnTo>
                    <a:pt x="2645362" y="168084"/>
                  </a:lnTo>
                  <a:lnTo>
                    <a:pt x="2647906" y="168084"/>
                  </a:lnTo>
                  <a:lnTo>
                    <a:pt x="2647906" y="166333"/>
                  </a:lnTo>
                  <a:lnTo>
                    <a:pt x="2646552" y="166333"/>
                  </a:lnTo>
                  <a:cubicBezTo>
                    <a:pt x="2646552" y="166333"/>
                    <a:pt x="2645501" y="160032"/>
                    <a:pt x="2634025" y="157904"/>
                  </a:cubicBezTo>
                  <a:lnTo>
                    <a:pt x="2634025" y="151895"/>
                  </a:lnTo>
                  <a:lnTo>
                    <a:pt x="2632531" y="151895"/>
                  </a:lnTo>
                  <a:lnTo>
                    <a:pt x="2632531" y="150470"/>
                  </a:lnTo>
                  <a:cubicBezTo>
                    <a:pt x="2633305" y="150281"/>
                    <a:pt x="2633887" y="149784"/>
                    <a:pt x="2633887" y="149200"/>
                  </a:cubicBezTo>
                  <a:cubicBezTo>
                    <a:pt x="2633887" y="148445"/>
                    <a:pt x="2632946" y="147844"/>
                    <a:pt x="2631785" y="147844"/>
                  </a:cubicBezTo>
                  <a:cubicBezTo>
                    <a:pt x="2630623" y="147844"/>
                    <a:pt x="2629711" y="148462"/>
                    <a:pt x="2629711" y="149200"/>
                  </a:cubicBezTo>
                  <a:cubicBezTo>
                    <a:pt x="2629711" y="149732"/>
                    <a:pt x="2630181" y="150196"/>
                    <a:pt x="2630900" y="150419"/>
                  </a:cubicBezTo>
                  <a:lnTo>
                    <a:pt x="2630900" y="151878"/>
                  </a:lnTo>
                  <a:lnTo>
                    <a:pt x="2629572" y="151878"/>
                  </a:lnTo>
                  <a:lnTo>
                    <a:pt x="2629572" y="157886"/>
                  </a:lnTo>
                  <a:cubicBezTo>
                    <a:pt x="2618097" y="160015"/>
                    <a:pt x="2617046" y="166316"/>
                    <a:pt x="2617046" y="166316"/>
                  </a:cubicBezTo>
                  <a:lnTo>
                    <a:pt x="2615718" y="166316"/>
                  </a:lnTo>
                  <a:lnTo>
                    <a:pt x="2615718" y="168067"/>
                  </a:lnTo>
                  <a:lnTo>
                    <a:pt x="2618262" y="168067"/>
                  </a:lnTo>
                  <a:lnTo>
                    <a:pt x="2618262" y="174075"/>
                  </a:lnTo>
                  <a:lnTo>
                    <a:pt x="2616907" y="174075"/>
                  </a:lnTo>
                  <a:lnTo>
                    <a:pt x="2616907" y="176204"/>
                  </a:lnTo>
                  <a:lnTo>
                    <a:pt x="2611404" y="176204"/>
                  </a:lnTo>
                  <a:lnTo>
                    <a:pt x="2608860" y="178144"/>
                  </a:lnTo>
                  <a:lnTo>
                    <a:pt x="2608860" y="180461"/>
                  </a:lnTo>
                  <a:lnTo>
                    <a:pt x="2611404" y="181663"/>
                  </a:lnTo>
                  <a:lnTo>
                    <a:pt x="2611404" y="187964"/>
                  </a:lnTo>
                  <a:lnTo>
                    <a:pt x="2608058" y="191105"/>
                  </a:lnTo>
                  <a:lnTo>
                    <a:pt x="2608058" y="194247"/>
                  </a:lnTo>
                  <a:lnTo>
                    <a:pt x="2609773" y="196290"/>
                  </a:lnTo>
                  <a:lnTo>
                    <a:pt x="2606343" y="198693"/>
                  </a:lnTo>
                  <a:lnTo>
                    <a:pt x="2606343" y="205079"/>
                  </a:lnTo>
                  <a:lnTo>
                    <a:pt x="2602832" y="205079"/>
                  </a:lnTo>
                  <a:lnTo>
                    <a:pt x="2603191" y="208873"/>
                  </a:lnTo>
                  <a:lnTo>
                    <a:pt x="2605265" y="209525"/>
                  </a:lnTo>
                  <a:lnTo>
                    <a:pt x="2605265" y="240255"/>
                  </a:lnTo>
                  <a:lnTo>
                    <a:pt x="2600343" y="241543"/>
                  </a:lnTo>
                  <a:lnTo>
                    <a:pt x="2600343" y="245336"/>
                  </a:lnTo>
                  <a:lnTo>
                    <a:pt x="2603191" y="246624"/>
                  </a:lnTo>
                  <a:close/>
                  <a:moveTo>
                    <a:pt x="2663254" y="343412"/>
                  </a:moveTo>
                  <a:lnTo>
                    <a:pt x="2663281" y="343396"/>
                  </a:lnTo>
                  <a:lnTo>
                    <a:pt x="2663253" y="343396"/>
                  </a:lnTo>
                  <a:close/>
                  <a:moveTo>
                    <a:pt x="3500595" y="354125"/>
                  </a:moveTo>
                  <a:lnTo>
                    <a:pt x="3500595" y="319979"/>
                  </a:lnTo>
                  <a:cubicBezTo>
                    <a:pt x="3500595" y="315035"/>
                    <a:pt x="3506818" y="312099"/>
                    <a:pt x="3506818" y="312099"/>
                  </a:cubicBezTo>
                  <a:cubicBezTo>
                    <a:pt x="3506818" y="312099"/>
                    <a:pt x="3512791" y="315430"/>
                    <a:pt x="3513040" y="319979"/>
                  </a:cubicBezTo>
                  <a:lnTo>
                    <a:pt x="3513040" y="354125"/>
                  </a:lnTo>
                  <a:close/>
                  <a:moveTo>
                    <a:pt x="3478445" y="354125"/>
                  </a:moveTo>
                  <a:lnTo>
                    <a:pt x="3478445" y="319979"/>
                  </a:lnTo>
                  <a:cubicBezTo>
                    <a:pt x="3479330" y="314262"/>
                    <a:pt x="3484308" y="312099"/>
                    <a:pt x="3484308" y="312099"/>
                  </a:cubicBezTo>
                  <a:cubicBezTo>
                    <a:pt x="3484308" y="312099"/>
                    <a:pt x="3489645" y="314880"/>
                    <a:pt x="3490170" y="319979"/>
                  </a:cubicBezTo>
                  <a:lnTo>
                    <a:pt x="3490170" y="354125"/>
                  </a:lnTo>
                  <a:lnTo>
                    <a:pt x="3490142" y="354125"/>
                  </a:lnTo>
                  <a:close/>
                  <a:moveTo>
                    <a:pt x="3444598" y="355361"/>
                  </a:moveTo>
                  <a:lnTo>
                    <a:pt x="3444598" y="349661"/>
                  </a:lnTo>
                  <a:lnTo>
                    <a:pt x="3448082" y="349661"/>
                  </a:lnTo>
                  <a:lnTo>
                    <a:pt x="3448082" y="314983"/>
                  </a:lnTo>
                  <a:cubicBezTo>
                    <a:pt x="3427038" y="315928"/>
                    <a:pt x="3406435" y="317387"/>
                    <a:pt x="3386387" y="319241"/>
                  </a:cubicBezTo>
                  <a:close/>
                  <a:moveTo>
                    <a:pt x="3253126" y="363876"/>
                  </a:moveTo>
                  <a:lnTo>
                    <a:pt x="3288771" y="339893"/>
                  </a:lnTo>
                  <a:lnTo>
                    <a:pt x="3288771" y="331687"/>
                  </a:lnTo>
                  <a:cubicBezTo>
                    <a:pt x="3272151" y="334366"/>
                    <a:pt x="3256278" y="337215"/>
                    <a:pt x="3241290" y="340116"/>
                  </a:cubicBezTo>
                  <a:lnTo>
                    <a:pt x="3248508" y="341971"/>
                  </a:lnTo>
                  <a:lnTo>
                    <a:pt x="3243779" y="346674"/>
                  </a:lnTo>
                  <a:lnTo>
                    <a:pt x="3243752" y="346674"/>
                  </a:lnTo>
                  <a:lnTo>
                    <a:pt x="3247457" y="352614"/>
                  </a:lnTo>
                  <a:lnTo>
                    <a:pt x="3249393" y="355704"/>
                  </a:lnTo>
                  <a:lnTo>
                    <a:pt x="3251356" y="356116"/>
                  </a:lnTo>
                  <a:lnTo>
                    <a:pt x="3251356" y="360734"/>
                  </a:lnTo>
                  <a:lnTo>
                    <a:pt x="3253126" y="361284"/>
                  </a:lnTo>
                  <a:close/>
                  <a:moveTo>
                    <a:pt x="2638616" y="367154"/>
                  </a:moveTo>
                  <a:lnTo>
                    <a:pt x="2636320" y="362073"/>
                  </a:lnTo>
                  <a:lnTo>
                    <a:pt x="2640911" y="362073"/>
                  </a:lnTo>
                  <a:close/>
                  <a:moveTo>
                    <a:pt x="2671219" y="367738"/>
                  </a:moveTo>
                  <a:lnTo>
                    <a:pt x="2668205" y="362073"/>
                  </a:lnTo>
                  <a:lnTo>
                    <a:pt x="2674233" y="362073"/>
                  </a:lnTo>
                  <a:close/>
                  <a:moveTo>
                    <a:pt x="2606704" y="368081"/>
                  </a:moveTo>
                  <a:lnTo>
                    <a:pt x="2603137" y="362073"/>
                  </a:lnTo>
                  <a:lnTo>
                    <a:pt x="2610244" y="362073"/>
                  </a:lnTo>
                  <a:close/>
                  <a:moveTo>
                    <a:pt x="2590582" y="368820"/>
                  </a:moveTo>
                  <a:lnTo>
                    <a:pt x="2585273" y="362073"/>
                  </a:lnTo>
                  <a:lnTo>
                    <a:pt x="2595891" y="362073"/>
                  </a:lnTo>
                  <a:close/>
                  <a:moveTo>
                    <a:pt x="2623545" y="368940"/>
                  </a:moveTo>
                  <a:lnTo>
                    <a:pt x="2617793" y="362073"/>
                  </a:lnTo>
                  <a:lnTo>
                    <a:pt x="2629297" y="362073"/>
                  </a:lnTo>
                  <a:close/>
                  <a:moveTo>
                    <a:pt x="2654544" y="369077"/>
                  </a:moveTo>
                  <a:lnTo>
                    <a:pt x="2648267" y="362073"/>
                  </a:lnTo>
                  <a:lnTo>
                    <a:pt x="2660822" y="362073"/>
                  </a:lnTo>
                  <a:close/>
                  <a:moveTo>
                    <a:pt x="2583171" y="378193"/>
                  </a:moveTo>
                  <a:lnTo>
                    <a:pt x="2583171" y="364802"/>
                  </a:lnTo>
                  <a:lnTo>
                    <a:pt x="2588452" y="371497"/>
                  </a:lnTo>
                  <a:close/>
                  <a:moveTo>
                    <a:pt x="2676888" y="378331"/>
                  </a:moveTo>
                  <a:lnTo>
                    <a:pt x="2673237" y="371497"/>
                  </a:lnTo>
                  <a:lnTo>
                    <a:pt x="2676888" y="364665"/>
                  </a:lnTo>
                  <a:close/>
                  <a:moveTo>
                    <a:pt x="2632780" y="379978"/>
                  </a:moveTo>
                  <a:lnTo>
                    <a:pt x="2625674" y="371497"/>
                  </a:lnTo>
                  <a:lnTo>
                    <a:pt x="2632780" y="363017"/>
                  </a:lnTo>
                  <a:lnTo>
                    <a:pt x="2636625" y="371497"/>
                  </a:lnTo>
                  <a:close/>
                  <a:moveTo>
                    <a:pt x="2599541" y="380167"/>
                  </a:moveTo>
                  <a:lnTo>
                    <a:pt x="2592683" y="371497"/>
                  </a:lnTo>
                  <a:lnTo>
                    <a:pt x="2599541" y="362828"/>
                  </a:lnTo>
                  <a:lnTo>
                    <a:pt x="2604685" y="371497"/>
                  </a:lnTo>
                  <a:close/>
                  <a:moveTo>
                    <a:pt x="2644534" y="380201"/>
                  </a:moveTo>
                  <a:lnTo>
                    <a:pt x="2640579" y="371497"/>
                  </a:lnTo>
                  <a:lnTo>
                    <a:pt x="2644534" y="362794"/>
                  </a:lnTo>
                  <a:lnTo>
                    <a:pt x="2652360" y="371497"/>
                  </a:lnTo>
                  <a:close/>
                  <a:moveTo>
                    <a:pt x="2664555" y="380236"/>
                  </a:moveTo>
                  <a:lnTo>
                    <a:pt x="2656701" y="371497"/>
                  </a:lnTo>
                  <a:lnTo>
                    <a:pt x="2664555" y="362742"/>
                  </a:lnTo>
                  <a:lnTo>
                    <a:pt x="2669228" y="371497"/>
                  </a:lnTo>
                  <a:close/>
                  <a:moveTo>
                    <a:pt x="2613950" y="380356"/>
                  </a:moveTo>
                  <a:lnTo>
                    <a:pt x="2608695" y="371497"/>
                  </a:lnTo>
                  <a:lnTo>
                    <a:pt x="2613950" y="362622"/>
                  </a:lnTo>
                  <a:lnTo>
                    <a:pt x="2621388" y="371497"/>
                  </a:lnTo>
                  <a:close/>
                  <a:moveTo>
                    <a:pt x="2668205" y="380940"/>
                  </a:moveTo>
                  <a:lnTo>
                    <a:pt x="2671219" y="375257"/>
                  </a:lnTo>
                  <a:lnTo>
                    <a:pt x="2674260" y="380940"/>
                  </a:lnTo>
                  <a:close/>
                  <a:moveTo>
                    <a:pt x="2648239" y="380940"/>
                  </a:moveTo>
                  <a:lnTo>
                    <a:pt x="2654544" y="373918"/>
                  </a:lnTo>
                  <a:lnTo>
                    <a:pt x="2660849" y="380940"/>
                  </a:lnTo>
                  <a:lnTo>
                    <a:pt x="2648267" y="380940"/>
                  </a:lnTo>
                  <a:close/>
                  <a:moveTo>
                    <a:pt x="2636293" y="380940"/>
                  </a:moveTo>
                  <a:lnTo>
                    <a:pt x="2638616" y="375841"/>
                  </a:lnTo>
                  <a:lnTo>
                    <a:pt x="2640911" y="380940"/>
                  </a:lnTo>
                  <a:close/>
                  <a:moveTo>
                    <a:pt x="2617765" y="380940"/>
                  </a:moveTo>
                  <a:lnTo>
                    <a:pt x="2623545" y="374056"/>
                  </a:lnTo>
                  <a:lnTo>
                    <a:pt x="2629324" y="380940"/>
                  </a:lnTo>
                  <a:lnTo>
                    <a:pt x="2617793" y="380940"/>
                  </a:lnTo>
                  <a:close/>
                  <a:moveTo>
                    <a:pt x="2603109" y="380940"/>
                  </a:moveTo>
                  <a:lnTo>
                    <a:pt x="2606677" y="374914"/>
                  </a:lnTo>
                  <a:lnTo>
                    <a:pt x="2610244" y="380940"/>
                  </a:lnTo>
                  <a:close/>
                  <a:moveTo>
                    <a:pt x="2585245" y="380940"/>
                  </a:moveTo>
                  <a:lnTo>
                    <a:pt x="2590582" y="374176"/>
                  </a:lnTo>
                  <a:lnTo>
                    <a:pt x="2595919" y="380940"/>
                  </a:lnTo>
                  <a:close/>
                  <a:moveTo>
                    <a:pt x="1726583" y="402983"/>
                  </a:moveTo>
                  <a:lnTo>
                    <a:pt x="1734962" y="402983"/>
                  </a:lnTo>
                  <a:lnTo>
                    <a:pt x="1846238" y="402983"/>
                  </a:lnTo>
                  <a:lnTo>
                    <a:pt x="1846238" y="393489"/>
                  </a:lnTo>
                  <a:lnTo>
                    <a:pt x="1846238" y="384854"/>
                  </a:lnTo>
                  <a:lnTo>
                    <a:pt x="1860176" y="384854"/>
                  </a:lnTo>
                  <a:lnTo>
                    <a:pt x="1905305" y="384854"/>
                  </a:lnTo>
                  <a:lnTo>
                    <a:pt x="1902900" y="185045"/>
                  </a:lnTo>
                  <a:lnTo>
                    <a:pt x="1869827" y="185045"/>
                  </a:lnTo>
                  <a:lnTo>
                    <a:pt x="1869827" y="190590"/>
                  </a:lnTo>
                  <a:lnTo>
                    <a:pt x="1798371" y="190590"/>
                  </a:lnTo>
                  <a:lnTo>
                    <a:pt x="1798371" y="185045"/>
                  </a:lnTo>
                  <a:lnTo>
                    <a:pt x="1789439" y="185045"/>
                  </a:lnTo>
                  <a:lnTo>
                    <a:pt x="1789439" y="170075"/>
                  </a:lnTo>
                  <a:lnTo>
                    <a:pt x="1779622" y="170075"/>
                  </a:lnTo>
                  <a:lnTo>
                    <a:pt x="1779622" y="164530"/>
                  </a:lnTo>
                  <a:lnTo>
                    <a:pt x="1749231" y="164530"/>
                  </a:lnTo>
                  <a:lnTo>
                    <a:pt x="1694754" y="164530"/>
                  </a:lnTo>
                  <a:lnTo>
                    <a:pt x="1664363" y="164530"/>
                  </a:lnTo>
                  <a:lnTo>
                    <a:pt x="1664363" y="170075"/>
                  </a:lnTo>
                  <a:lnTo>
                    <a:pt x="1654547" y="170075"/>
                  </a:lnTo>
                  <a:lnTo>
                    <a:pt x="1654547" y="185045"/>
                  </a:lnTo>
                  <a:lnTo>
                    <a:pt x="1645615" y="185045"/>
                  </a:lnTo>
                  <a:lnTo>
                    <a:pt x="1645615" y="190590"/>
                  </a:lnTo>
                  <a:lnTo>
                    <a:pt x="1574131" y="190590"/>
                  </a:lnTo>
                  <a:lnTo>
                    <a:pt x="1574131" y="185045"/>
                  </a:lnTo>
                  <a:lnTo>
                    <a:pt x="1541085" y="185045"/>
                  </a:lnTo>
                  <a:lnTo>
                    <a:pt x="1541085" y="218126"/>
                  </a:lnTo>
                  <a:lnTo>
                    <a:pt x="1546007" y="218126"/>
                  </a:lnTo>
                  <a:lnTo>
                    <a:pt x="1546007" y="217903"/>
                  </a:lnTo>
                  <a:lnTo>
                    <a:pt x="1561216" y="217903"/>
                  </a:lnTo>
                  <a:lnTo>
                    <a:pt x="1566470" y="217903"/>
                  </a:lnTo>
                  <a:lnTo>
                    <a:pt x="1573605" y="217903"/>
                  </a:lnTo>
                  <a:lnTo>
                    <a:pt x="1578167" y="221303"/>
                  </a:lnTo>
                  <a:lnTo>
                    <a:pt x="1581099" y="223517"/>
                  </a:lnTo>
                  <a:lnTo>
                    <a:pt x="1592548" y="232083"/>
                  </a:lnTo>
                  <a:lnTo>
                    <a:pt x="1593764" y="232083"/>
                  </a:lnTo>
                  <a:lnTo>
                    <a:pt x="1594981" y="232083"/>
                  </a:lnTo>
                  <a:lnTo>
                    <a:pt x="1596751" y="232461"/>
                  </a:lnTo>
                  <a:lnTo>
                    <a:pt x="1596862" y="232409"/>
                  </a:lnTo>
                  <a:lnTo>
                    <a:pt x="1604826" y="233680"/>
                  </a:lnTo>
                  <a:lnTo>
                    <a:pt x="1609029" y="234332"/>
                  </a:lnTo>
                  <a:lnTo>
                    <a:pt x="1610107" y="233834"/>
                  </a:lnTo>
                  <a:lnTo>
                    <a:pt x="1618210" y="235929"/>
                  </a:lnTo>
                  <a:lnTo>
                    <a:pt x="1621999" y="236924"/>
                  </a:lnTo>
                  <a:lnTo>
                    <a:pt x="1625787" y="237903"/>
                  </a:lnTo>
                  <a:lnTo>
                    <a:pt x="1628276" y="239963"/>
                  </a:lnTo>
                  <a:lnTo>
                    <a:pt x="1631566" y="242693"/>
                  </a:lnTo>
                  <a:lnTo>
                    <a:pt x="1638535" y="248461"/>
                  </a:lnTo>
                  <a:lnTo>
                    <a:pt x="1632894" y="252958"/>
                  </a:lnTo>
                  <a:lnTo>
                    <a:pt x="1632894" y="255259"/>
                  </a:lnTo>
                  <a:lnTo>
                    <a:pt x="1639475" y="255259"/>
                  </a:lnTo>
                  <a:lnTo>
                    <a:pt x="1654657" y="255259"/>
                  </a:lnTo>
                  <a:lnTo>
                    <a:pt x="1668705" y="255259"/>
                  </a:lnTo>
                  <a:lnTo>
                    <a:pt x="1683858" y="255259"/>
                  </a:lnTo>
                  <a:lnTo>
                    <a:pt x="1698709" y="255259"/>
                  </a:lnTo>
                  <a:lnTo>
                    <a:pt x="1699317" y="255259"/>
                  </a:lnTo>
                  <a:lnTo>
                    <a:pt x="1714526" y="255259"/>
                  </a:lnTo>
                  <a:lnTo>
                    <a:pt x="1718370" y="255259"/>
                  </a:lnTo>
                  <a:lnTo>
                    <a:pt x="1722933" y="258555"/>
                  </a:lnTo>
                  <a:lnTo>
                    <a:pt x="1726832" y="261388"/>
                  </a:lnTo>
                  <a:lnTo>
                    <a:pt x="1735266" y="267482"/>
                  </a:lnTo>
                  <a:lnTo>
                    <a:pt x="1731090" y="270538"/>
                  </a:lnTo>
                  <a:lnTo>
                    <a:pt x="1740244" y="273577"/>
                  </a:lnTo>
                  <a:lnTo>
                    <a:pt x="1727745" y="282503"/>
                  </a:lnTo>
                  <a:lnTo>
                    <a:pt x="1726583" y="283344"/>
                  </a:lnTo>
                  <a:close/>
                  <a:moveTo>
                    <a:pt x="2103884" y="403000"/>
                  </a:moveTo>
                  <a:lnTo>
                    <a:pt x="2226526" y="403000"/>
                  </a:lnTo>
                  <a:lnTo>
                    <a:pt x="2226526" y="378056"/>
                  </a:lnTo>
                  <a:lnTo>
                    <a:pt x="2250695" y="378056"/>
                  </a:lnTo>
                  <a:cubicBezTo>
                    <a:pt x="2261674" y="363876"/>
                    <a:pt x="2278155" y="351773"/>
                    <a:pt x="2298756" y="342812"/>
                  </a:cubicBezTo>
                  <a:cubicBezTo>
                    <a:pt x="2300942" y="341867"/>
                    <a:pt x="2306555" y="339773"/>
                    <a:pt x="2308795" y="338915"/>
                  </a:cubicBezTo>
                  <a:lnTo>
                    <a:pt x="2305421" y="56875"/>
                  </a:lnTo>
                  <a:lnTo>
                    <a:pt x="2281474" y="56875"/>
                  </a:lnTo>
                  <a:lnTo>
                    <a:pt x="2281474" y="30798"/>
                  </a:lnTo>
                  <a:lnTo>
                    <a:pt x="2228102" y="30798"/>
                  </a:lnTo>
                  <a:lnTo>
                    <a:pt x="2228102" y="22970"/>
                  </a:lnTo>
                  <a:lnTo>
                    <a:pt x="2178105" y="22970"/>
                  </a:lnTo>
                  <a:lnTo>
                    <a:pt x="2178105" y="0"/>
                  </a:lnTo>
                  <a:lnTo>
                    <a:pt x="2173044" y="0"/>
                  </a:lnTo>
                  <a:lnTo>
                    <a:pt x="2173044" y="22953"/>
                  </a:lnTo>
                  <a:lnTo>
                    <a:pt x="2123047" y="22953"/>
                  </a:lnTo>
                  <a:lnTo>
                    <a:pt x="2123047" y="30781"/>
                  </a:lnTo>
                  <a:lnTo>
                    <a:pt x="2069677" y="30781"/>
                  </a:lnTo>
                  <a:lnTo>
                    <a:pt x="2069677" y="56858"/>
                  </a:lnTo>
                  <a:lnTo>
                    <a:pt x="2045729" y="56858"/>
                  </a:lnTo>
                  <a:lnTo>
                    <a:pt x="2043296" y="384648"/>
                  </a:lnTo>
                  <a:lnTo>
                    <a:pt x="2089974" y="384871"/>
                  </a:lnTo>
                  <a:lnTo>
                    <a:pt x="2103884" y="384871"/>
                  </a:lnTo>
                  <a:close/>
                  <a:moveTo>
                    <a:pt x="758305" y="434484"/>
                  </a:moveTo>
                  <a:lnTo>
                    <a:pt x="758111" y="421557"/>
                  </a:lnTo>
                  <a:lnTo>
                    <a:pt x="777081" y="418793"/>
                  </a:lnTo>
                  <a:close/>
                  <a:moveTo>
                    <a:pt x="926768" y="434519"/>
                  </a:moveTo>
                  <a:lnTo>
                    <a:pt x="926768" y="434501"/>
                  </a:lnTo>
                  <a:lnTo>
                    <a:pt x="907992" y="418810"/>
                  </a:lnTo>
                  <a:cubicBezTo>
                    <a:pt x="913826" y="419737"/>
                    <a:pt x="920159" y="420665"/>
                    <a:pt x="926962" y="421575"/>
                  </a:cubicBezTo>
                  <a:close/>
                  <a:moveTo>
                    <a:pt x="158975" y="434519"/>
                  </a:moveTo>
                  <a:lnTo>
                    <a:pt x="158975" y="434501"/>
                  </a:lnTo>
                  <a:lnTo>
                    <a:pt x="140199" y="418810"/>
                  </a:lnTo>
                  <a:cubicBezTo>
                    <a:pt x="146034" y="419737"/>
                    <a:pt x="152367" y="420665"/>
                    <a:pt x="159170" y="421575"/>
                  </a:cubicBezTo>
                  <a:close/>
                  <a:moveTo>
                    <a:pt x="812643" y="442655"/>
                  </a:moveTo>
                  <a:lnTo>
                    <a:pt x="783110" y="417815"/>
                  </a:lnTo>
                  <a:cubicBezTo>
                    <a:pt x="794447" y="415892"/>
                    <a:pt x="803877" y="413986"/>
                    <a:pt x="811675" y="412150"/>
                  </a:cubicBezTo>
                  <a:close/>
                  <a:moveTo>
                    <a:pt x="44823" y="442655"/>
                  </a:moveTo>
                  <a:lnTo>
                    <a:pt x="15289" y="417815"/>
                  </a:lnTo>
                  <a:cubicBezTo>
                    <a:pt x="26627" y="415892"/>
                    <a:pt x="36056" y="413986"/>
                    <a:pt x="43855" y="412150"/>
                  </a:cubicBezTo>
                  <a:close/>
                  <a:moveTo>
                    <a:pt x="872458" y="442673"/>
                  </a:moveTo>
                  <a:lnTo>
                    <a:pt x="873425" y="412166"/>
                  </a:lnTo>
                  <a:cubicBezTo>
                    <a:pt x="881223" y="413986"/>
                    <a:pt x="890653" y="415909"/>
                    <a:pt x="901991" y="417832"/>
                  </a:cubicBezTo>
                  <a:close/>
                  <a:moveTo>
                    <a:pt x="104637" y="442673"/>
                  </a:moveTo>
                  <a:lnTo>
                    <a:pt x="105605" y="412166"/>
                  </a:lnTo>
                  <a:cubicBezTo>
                    <a:pt x="113403" y="413986"/>
                    <a:pt x="122832" y="415909"/>
                    <a:pt x="134171" y="417832"/>
                  </a:cubicBezTo>
                  <a:close/>
                  <a:moveTo>
                    <a:pt x="870134" y="444184"/>
                  </a:moveTo>
                  <a:lnTo>
                    <a:pt x="846325" y="437591"/>
                  </a:lnTo>
                  <a:lnTo>
                    <a:pt x="846325" y="404115"/>
                  </a:lnTo>
                  <a:cubicBezTo>
                    <a:pt x="851358" y="406106"/>
                    <a:pt x="859239" y="408733"/>
                    <a:pt x="871158" y="411617"/>
                  </a:cubicBezTo>
                  <a:close/>
                  <a:moveTo>
                    <a:pt x="814966" y="444184"/>
                  </a:moveTo>
                  <a:lnTo>
                    <a:pt x="813943" y="411617"/>
                  </a:lnTo>
                  <a:cubicBezTo>
                    <a:pt x="825889" y="408733"/>
                    <a:pt x="833770" y="406106"/>
                    <a:pt x="838776" y="404115"/>
                  </a:cubicBezTo>
                  <a:lnTo>
                    <a:pt x="838776" y="437591"/>
                  </a:lnTo>
                  <a:close/>
                  <a:moveTo>
                    <a:pt x="102341" y="444184"/>
                  </a:moveTo>
                  <a:lnTo>
                    <a:pt x="78532" y="437591"/>
                  </a:lnTo>
                  <a:lnTo>
                    <a:pt x="78532" y="404115"/>
                  </a:lnTo>
                  <a:cubicBezTo>
                    <a:pt x="83565" y="406106"/>
                    <a:pt x="91447" y="408733"/>
                    <a:pt x="103364" y="411617"/>
                  </a:cubicBezTo>
                  <a:close/>
                  <a:moveTo>
                    <a:pt x="47174" y="444184"/>
                  </a:moveTo>
                  <a:lnTo>
                    <a:pt x="46151" y="411617"/>
                  </a:lnTo>
                  <a:cubicBezTo>
                    <a:pt x="58096" y="408733"/>
                    <a:pt x="65977" y="406106"/>
                    <a:pt x="71011" y="404115"/>
                  </a:cubicBezTo>
                  <a:lnTo>
                    <a:pt x="71011" y="437591"/>
                  </a:lnTo>
                  <a:lnTo>
                    <a:pt x="70983" y="437591"/>
                  </a:lnTo>
                  <a:close/>
                  <a:moveTo>
                    <a:pt x="1055605" y="461316"/>
                  </a:moveTo>
                  <a:lnTo>
                    <a:pt x="1055605" y="432029"/>
                  </a:lnTo>
                  <a:cubicBezTo>
                    <a:pt x="1063348" y="432373"/>
                    <a:pt x="1071367" y="432681"/>
                    <a:pt x="1079664" y="432974"/>
                  </a:cubicBezTo>
                  <a:close/>
                  <a:moveTo>
                    <a:pt x="287784" y="461316"/>
                  </a:moveTo>
                  <a:lnTo>
                    <a:pt x="287784" y="432029"/>
                  </a:lnTo>
                  <a:cubicBezTo>
                    <a:pt x="295528" y="432373"/>
                    <a:pt x="303547" y="432681"/>
                    <a:pt x="311843" y="432974"/>
                  </a:cubicBezTo>
                  <a:close/>
                  <a:moveTo>
                    <a:pt x="629496" y="461334"/>
                  </a:moveTo>
                  <a:lnTo>
                    <a:pt x="605438" y="432990"/>
                  </a:lnTo>
                  <a:cubicBezTo>
                    <a:pt x="613734" y="432699"/>
                    <a:pt x="621753" y="432390"/>
                    <a:pt x="629496" y="432046"/>
                  </a:cubicBezTo>
                  <a:close/>
                  <a:moveTo>
                    <a:pt x="1021204" y="461488"/>
                  </a:moveTo>
                  <a:lnTo>
                    <a:pt x="1021176" y="461471"/>
                  </a:lnTo>
                  <a:lnTo>
                    <a:pt x="1021176" y="461449"/>
                  </a:lnTo>
                  <a:lnTo>
                    <a:pt x="997119" y="428613"/>
                  </a:lnTo>
                  <a:cubicBezTo>
                    <a:pt x="1005027" y="429196"/>
                    <a:pt x="1013295" y="429763"/>
                    <a:pt x="1021979" y="430278"/>
                  </a:cubicBezTo>
                  <a:lnTo>
                    <a:pt x="1020845" y="430278"/>
                  </a:lnTo>
                  <a:cubicBezTo>
                    <a:pt x="1020845" y="430278"/>
                    <a:pt x="1021031" y="447824"/>
                    <a:pt x="1021125" y="456597"/>
                  </a:cubicBezTo>
                  <a:lnTo>
                    <a:pt x="1021176" y="461449"/>
                  </a:lnTo>
                  <a:close/>
                  <a:moveTo>
                    <a:pt x="253412" y="461488"/>
                  </a:moveTo>
                  <a:lnTo>
                    <a:pt x="229326" y="428613"/>
                  </a:lnTo>
                  <a:cubicBezTo>
                    <a:pt x="237234" y="429196"/>
                    <a:pt x="245531" y="429763"/>
                    <a:pt x="254213" y="430278"/>
                  </a:cubicBezTo>
                  <a:lnTo>
                    <a:pt x="253080" y="430278"/>
                  </a:lnTo>
                  <a:cubicBezTo>
                    <a:pt x="253080" y="430278"/>
                    <a:pt x="253412" y="461471"/>
                    <a:pt x="253412" y="461471"/>
                  </a:cubicBezTo>
                  <a:close/>
                  <a:moveTo>
                    <a:pt x="663841" y="461505"/>
                  </a:moveTo>
                  <a:lnTo>
                    <a:pt x="664173" y="430312"/>
                  </a:lnTo>
                  <a:lnTo>
                    <a:pt x="663039" y="430312"/>
                  </a:lnTo>
                  <a:lnTo>
                    <a:pt x="663067" y="430295"/>
                  </a:lnTo>
                  <a:cubicBezTo>
                    <a:pt x="671750" y="429763"/>
                    <a:pt x="680046" y="429214"/>
                    <a:pt x="687927" y="428630"/>
                  </a:cubicBezTo>
                  <a:close/>
                  <a:moveTo>
                    <a:pt x="1109473" y="462140"/>
                  </a:moveTo>
                  <a:lnTo>
                    <a:pt x="1084890" y="433145"/>
                  </a:lnTo>
                  <a:cubicBezTo>
                    <a:pt x="1092715" y="433403"/>
                    <a:pt x="1100818" y="433626"/>
                    <a:pt x="1109170" y="433832"/>
                  </a:cubicBezTo>
                  <a:close/>
                  <a:moveTo>
                    <a:pt x="341681" y="462140"/>
                  </a:moveTo>
                  <a:lnTo>
                    <a:pt x="317070" y="433145"/>
                  </a:lnTo>
                  <a:cubicBezTo>
                    <a:pt x="324923" y="433403"/>
                    <a:pt x="332998" y="433626"/>
                    <a:pt x="341349" y="433832"/>
                  </a:cubicBezTo>
                  <a:close/>
                  <a:moveTo>
                    <a:pt x="575627" y="462158"/>
                  </a:moveTo>
                  <a:lnTo>
                    <a:pt x="575932" y="433849"/>
                  </a:lnTo>
                  <a:cubicBezTo>
                    <a:pt x="584283" y="433643"/>
                    <a:pt x="592385" y="433420"/>
                    <a:pt x="600211" y="433162"/>
                  </a:cubicBezTo>
                  <a:close/>
                  <a:moveTo>
                    <a:pt x="963962" y="462553"/>
                  </a:moveTo>
                  <a:lnTo>
                    <a:pt x="963879" y="425780"/>
                  </a:lnTo>
                  <a:cubicBezTo>
                    <a:pt x="972673" y="426639"/>
                    <a:pt x="982020" y="427463"/>
                    <a:pt x="992030" y="428235"/>
                  </a:cubicBezTo>
                  <a:close/>
                  <a:moveTo>
                    <a:pt x="721139" y="462553"/>
                  </a:moveTo>
                  <a:lnTo>
                    <a:pt x="693071" y="428235"/>
                  </a:lnTo>
                  <a:cubicBezTo>
                    <a:pt x="703082" y="427463"/>
                    <a:pt x="712455" y="426639"/>
                    <a:pt x="721222" y="425780"/>
                  </a:cubicBezTo>
                  <a:close/>
                  <a:moveTo>
                    <a:pt x="196142" y="462553"/>
                  </a:moveTo>
                  <a:lnTo>
                    <a:pt x="196059" y="425780"/>
                  </a:lnTo>
                  <a:cubicBezTo>
                    <a:pt x="204852" y="426639"/>
                    <a:pt x="214199" y="427463"/>
                    <a:pt x="224209" y="428235"/>
                  </a:cubicBezTo>
                  <a:close/>
                  <a:moveTo>
                    <a:pt x="1171582" y="462604"/>
                  </a:moveTo>
                  <a:lnTo>
                    <a:pt x="1170671" y="434741"/>
                  </a:lnTo>
                  <a:lnTo>
                    <a:pt x="1170643" y="434741"/>
                  </a:lnTo>
                  <a:lnTo>
                    <a:pt x="1170671" y="434725"/>
                  </a:lnTo>
                  <a:lnTo>
                    <a:pt x="1170671" y="434741"/>
                  </a:lnTo>
                  <a:lnTo>
                    <a:pt x="1194977" y="434810"/>
                  </a:lnTo>
                  <a:close/>
                  <a:moveTo>
                    <a:pt x="403763" y="462604"/>
                  </a:moveTo>
                  <a:lnTo>
                    <a:pt x="402822" y="434741"/>
                  </a:lnTo>
                  <a:lnTo>
                    <a:pt x="427157" y="434810"/>
                  </a:lnTo>
                  <a:close/>
                  <a:moveTo>
                    <a:pt x="513518" y="462639"/>
                  </a:moveTo>
                  <a:lnTo>
                    <a:pt x="513518" y="462621"/>
                  </a:lnTo>
                  <a:lnTo>
                    <a:pt x="490096" y="434827"/>
                  </a:lnTo>
                  <a:cubicBezTo>
                    <a:pt x="498392" y="434827"/>
                    <a:pt x="506494" y="434810"/>
                    <a:pt x="514431" y="434759"/>
                  </a:cubicBezTo>
                  <a:close/>
                  <a:moveTo>
                    <a:pt x="1169315" y="462913"/>
                  </a:moveTo>
                  <a:lnTo>
                    <a:pt x="1143404" y="434467"/>
                  </a:lnTo>
                  <a:cubicBezTo>
                    <a:pt x="1151534" y="434587"/>
                    <a:pt x="1159858" y="434656"/>
                    <a:pt x="1168375" y="434725"/>
                  </a:cubicBezTo>
                  <a:close/>
                  <a:moveTo>
                    <a:pt x="515758" y="462913"/>
                  </a:moveTo>
                  <a:lnTo>
                    <a:pt x="516698" y="434725"/>
                  </a:lnTo>
                  <a:cubicBezTo>
                    <a:pt x="525243" y="434673"/>
                    <a:pt x="533566" y="434587"/>
                    <a:pt x="541669" y="434467"/>
                  </a:cubicBezTo>
                  <a:close/>
                  <a:moveTo>
                    <a:pt x="401494" y="462913"/>
                  </a:moveTo>
                  <a:lnTo>
                    <a:pt x="375556" y="434467"/>
                  </a:lnTo>
                  <a:lnTo>
                    <a:pt x="375584" y="434467"/>
                  </a:lnTo>
                  <a:cubicBezTo>
                    <a:pt x="383713" y="434587"/>
                    <a:pt x="392037" y="434656"/>
                    <a:pt x="400554" y="434725"/>
                  </a:cubicBezTo>
                  <a:close/>
                  <a:moveTo>
                    <a:pt x="1023500" y="463222"/>
                  </a:moveTo>
                  <a:lnTo>
                    <a:pt x="1023140" y="430347"/>
                  </a:lnTo>
                  <a:cubicBezTo>
                    <a:pt x="1031961" y="430879"/>
                    <a:pt x="1041169" y="431360"/>
                    <a:pt x="1050821" y="431806"/>
                  </a:cubicBezTo>
                  <a:close/>
                  <a:moveTo>
                    <a:pt x="255707" y="463222"/>
                  </a:moveTo>
                  <a:lnTo>
                    <a:pt x="255347" y="430349"/>
                  </a:lnTo>
                  <a:lnTo>
                    <a:pt x="255319" y="430347"/>
                  </a:lnTo>
                  <a:lnTo>
                    <a:pt x="255347" y="430347"/>
                  </a:lnTo>
                  <a:lnTo>
                    <a:pt x="255347" y="430349"/>
                  </a:lnTo>
                  <a:lnTo>
                    <a:pt x="283001" y="431806"/>
                  </a:lnTo>
                  <a:close/>
                  <a:moveTo>
                    <a:pt x="661574" y="463239"/>
                  </a:moveTo>
                  <a:lnTo>
                    <a:pt x="634252" y="431823"/>
                  </a:lnTo>
                  <a:cubicBezTo>
                    <a:pt x="643903" y="431377"/>
                    <a:pt x="653112" y="430896"/>
                    <a:pt x="661933" y="430364"/>
                  </a:cubicBezTo>
                  <a:close/>
                  <a:moveTo>
                    <a:pt x="1111769" y="463290"/>
                  </a:moveTo>
                  <a:lnTo>
                    <a:pt x="1111437" y="433883"/>
                  </a:lnTo>
                  <a:cubicBezTo>
                    <a:pt x="1119899" y="434072"/>
                    <a:pt x="1128610" y="434244"/>
                    <a:pt x="1137597" y="434381"/>
                  </a:cubicBezTo>
                  <a:close/>
                  <a:moveTo>
                    <a:pt x="343948" y="463290"/>
                  </a:moveTo>
                  <a:lnTo>
                    <a:pt x="343616" y="433883"/>
                  </a:lnTo>
                  <a:cubicBezTo>
                    <a:pt x="352078" y="434072"/>
                    <a:pt x="360817" y="434244"/>
                    <a:pt x="369776" y="434381"/>
                  </a:cubicBezTo>
                  <a:close/>
                  <a:moveTo>
                    <a:pt x="573304" y="463308"/>
                  </a:moveTo>
                  <a:lnTo>
                    <a:pt x="573304" y="463277"/>
                  </a:lnTo>
                  <a:lnTo>
                    <a:pt x="547476" y="434398"/>
                  </a:lnTo>
                  <a:cubicBezTo>
                    <a:pt x="556464" y="434261"/>
                    <a:pt x="565174" y="434089"/>
                    <a:pt x="573637" y="433900"/>
                  </a:cubicBezTo>
                  <a:lnTo>
                    <a:pt x="573304" y="463277"/>
                  </a:lnTo>
                  <a:lnTo>
                    <a:pt x="573332" y="463308"/>
                  </a:lnTo>
                  <a:close/>
                  <a:moveTo>
                    <a:pt x="961666" y="463685"/>
                  </a:moveTo>
                  <a:lnTo>
                    <a:pt x="961666" y="463662"/>
                  </a:lnTo>
                  <a:lnTo>
                    <a:pt x="929008" y="436355"/>
                  </a:lnTo>
                  <a:lnTo>
                    <a:pt x="929230" y="421849"/>
                  </a:lnTo>
                  <a:cubicBezTo>
                    <a:pt x="939296" y="423171"/>
                    <a:pt x="950440" y="424441"/>
                    <a:pt x="962717" y="425660"/>
                  </a:cubicBezTo>
                  <a:lnTo>
                    <a:pt x="961584" y="425660"/>
                  </a:lnTo>
                  <a:lnTo>
                    <a:pt x="961666" y="463662"/>
                  </a:lnTo>
                  <a:lnTo>
                    <a:pt x="961694" y="463685"/>
                  </a:lnTo>
                  <a:close/>
                  <a:moveTo>
                    <a:pt x="193846" y="463685"/>
                  </a:moveTo>
                  <a:lnTo>
                    <a:pt x="193846" y="463663"/>
                  </a:lnTo>
                  <a:lnTo>
                    <a:pt x="161187" y="436355"/>
                  </a:lnTo>
                  <a:lnTo>
                    <a:pt x="161437" y="421849"/>
                  </a:lnTo>
                  <a:cubicBezTo>
                    <a:pt x="171503" y="423171"/>
                    <a:pt x="182619" y="424441"/>
                    <a:pt x="194925" y="425660"/>
                  </a:cubicBezTo>
                  <a:lnTo>
                    <a:pt x="193763" y="425660"/>
                  </a:lnTo>
                  <a:lnTo>
                    <a:pt x="193846" y="463663"/>
                  </a:lnTo>
                  <a:lnTo>
                    <a:pt x="193874" y="463685"/>
                  </a:lnTo>
                  <a:close/>
                  <a:moveTo>
                    <a:pt x="723406" y="463703"/>
                  </a:moveTo>
                  <a:lnTo>
                    <a:pt x="723489" y="425677"/>
                  </a:lnTo>
                  <a:lnTo>
                    <a:pt x="722355" y="425677"/>
                  </a:lnTo>
                  <a:cubicBezTo>
                    <a:pt x="734661" y="424476"/>
                    <a:pt x="745778" y="423188"/>
                    <a:pt x="755844" y="421866"/>
                  </a:cubicBezTo>
                  <a:lnTo>
                    <a:pt x="756092" y="436372"/>
                  </a:lnTo>
                  <a:close/>
                  <a:moveTo>
                    <a:pt x="1141220" y="464355"/>
                  </a:moveTo>
                  <a:lnTo>
                    <a:pt x="1141220" y="437900"/>
                  </a:lnTo>
                  <a:lnTo>
                    <a:pt x="1165333" y="464355"/>
                  </a:lnTo>
                  <a:close/>
                  <a:moveTo>
                    <a:pt x="1116110" y="464355"/>
                  </a:moveTo>
                  <a:lnTo>
                    <a:pt x="1138951" y="438810"/>
                  </a:lnTo>
                  <a:lnTo>
                    <a:pt x="1138951" y="464355"/>
                  </a:lnTo>
                  <a:close/>
                  <a:moveTo>
                    <a:pt x="373399" y="464355"/>
                  </a:moveTo>
                  <a:lnTo>
                    <a:pt x="373399" y="437900"/>
                  </a:lnTo>
                  <a:lnTo>
                    <a:pt x="397485" y="464355"/>
                  </a:lnTo>
                  <a:close/>
                  <a:moveTo>
                    <a:pt x="348290" y="464355"/>
                  </a:moveTo>
                  <a:lnTo>
                    <a:pt x="371132" y="438810"/>
                  </a:lnTo>
                  <a:lnTo>
                    <a:pt x="371132" y="464355"/>
                  </a:lnTo>
                  <a:close/>
                  <a:moveTo>
                    <a:pt x="1198102" y="464372"/>
                  </a:moveTo>
                  <a:lnTo>
                    <a:pt x="1197798" y="438330"/>
                  </a:lnTo>
                  <a:lnTo>
                    <a:pt x="1218649" y="464372"/>
                  </a:lnTo>
                  <a:close/>
                  <a:moveTo>
                    <a:pt x="1175315" y="464372"/>
                  </a:moveTo>
                  <a:lnTo>
                    <a:pt x="1195586" y="440304"/>
                  </a:lnTo>
                  <a:lnTo>
                    <a:pt x="1195862" y="464372"/>
                  </a:lnTo>
                  <a:lnTo>
                    <a:pt x="1175344" y="464372"/>
                  </a:lnTo>
                  <a:close/>
                  <a:moveTo>
                    <a:pt x="1082401" y="464372"/>
                  </a:moveTo>
                  <a:lnTo>
                    <a:pt x="1082705" y="436750"/>
                  </a:lnTo>
                  <a:lnTo>
                    <a:pt x="1106127" y="464372"/>
                  </a:lnTo>
                  <a:close/>
                  <a:moveTo>
                    <a:pt x="1058232" y="464372"/>
                  </a:moveTo>
                  <a:lnTo>
                    <a:pt x="1080410" y="438226"/>
                  </a:lnTo>
                  <a:lnTo>
                    <a:pt x="1080133" y="464372"/>
                  </a:lnTo>
                  <a:close/>
                  <a:moveTo>
                    <a:pt x="1027758" y="464372"/>
                  </a:moveTo>
                  <a:lnTo>
                    <a:pt x="1051070" y="437557"/>
                  </a:lnTo>
                  <a:lnTo>
                    <a:pt x="1051070" y="464372"/>
                  </a:lnTo>
                  <a:close/>
                  <a:moveTo>
                    <a:pt x="546149" y="464372"/>
                  </a:moveTo>
                  <a:lnTo>
                    <a:pt x="546149" y="438827"/>
                  </a:lnTo>
                  <a:lnTo>
                    <a:pt x="568991" y="464372"/>
                  </a:lnTo>
                  <a:close/>
                  <a:moveTo>
                    <a:pt x="519768" y="464372"/>
                  </a:moveTo>
                  <a:lnTo>
                    <a:pt x="543881" y="437918"/>
                  </a:lnTo>
                  <a:lnTo>
                    <a:pt x="543881" y="464372"/>
                  </a:lnTo>
                  <a:close/>
                  <a:moveTo>
                    <a:pt x="489238" y="464372"/>
                  </a:moveTo>
                  <a:lnTo>
                    <a:pt x="489515" y="440304"/>
                  </a:lnTo>
                  <a:lnTo>
                    <a:pt x="509785" y="464372"/>
                  </a:lnTo>
                  <a:lnTo>
                    <a:pt x="489266" y="464372"/>
                  </a:lnTo>
                  <a:close/>
                  <a:moveTo>
                    <a:pt x="466425" y="464372"/>
                  </a:moveTo>
                  <a:lnTo>
                    <a:pt x="487275" y="438330"/>
                  </a:lnTo>
                  <a:lnTo>
                    <a:pt x="486971" y="464372"/>
                  </a:lnTo>
                  <a:close/>
                  <a:moveTo>
                    <a:pt x="460921" y="464372"/>
                  </a:moveTo>
                  <a:lnTo>
                    <a:pt x="460921" y="434725"/>
                  </a:lnTo>
                  <a:cubicBezTo>
                    <a:pt x="468997" y="434776"/>
                    <a:pt x="477043" y="434810"/>
                    <a:pt x="484925" y="434810"/>
                  </a:cubicBezTo>
                  <a:lnTo>
                    <a:pt x="461281" y="464372"/>
                  </a:lnTo>
                  <a:close/>
                  <a:moveTo>
                    <a:pt x="455972" y="464372"/>
                  </a:moveTo>
                  <a:lnTo>
                    <a:pt x="432328" y="434810"/>
                  </a:lnTo>
                  <a:cubicBezTo>
                    <a:pt x="440209" y="434810"/>
                    <a:pt x="448256" y="434776"/>
                    <a:pt x="456331" y="434725"/>
                  </a:cubicBezTo>
                  <a:lnTo>
                    <a:pt x="456331" y="464372"/>
                  </a:lnTo>
                  <a:close/>
                  <a:moveTo>
                    <a:pt x="430282" y="464372"/>
                  </a:moveTo>
                  <a:lnTo>
                    <a:pt x="430005" y="438330"/>
                  </a:lnTo>
                  <a:lnTo>
                    <a:pt x="450856" y="464372"/>
                  </a:lnTo>
                  <a:lnTo>
                    <a:pt x="430309" y="464372"/>
                  </a:lnTo>
                  <a:close/>
                  <a:moveTo>
                    <a:pt x="407496" y="464372"/>
                  </a:moveTo>
                  <a:lnTo>
                    <a:pt x="427765" y="440304"/>
                  </a:lnTo>
                  <a:lnTo>
                    <a:pt x="428042" y="464372"/>
                  </a:lnTo>
                  <a:lnTo>
                    <a:pt x="407523" y="464372"/>
                  </a:lnTo>
                  <a:close/>
                  <a:moveTo>
                    <a:pt x="314608" y="464372"/>
                  </a:moveTo>
                  <a:lnTo>
                    <a:pt x="314913" y="436750"/>
                  </a:lnTo>
                  <a:lnTo>
                    <a:pt x="338334" y="464372"/>
                  </a:lnTo>
                  <a:close/>
                  <a:moveTo>
                    <a:pt x="290439" y="464372"/>
                  </a:moveTo>
                  <a:lnTo>
                    <a:pt x="312617" y="438226"/>
                  </a:lnTo>
                  <a:lnTo>
                    <a:pt x="312341" y="464372"/>
                  </a:lnTo>
                  <a:close/>
                  <a:moveTo>
                    <a:pt x="259938" y="464372"/>
                  </a:moveTo>
                  <a:lnTo>
                    <a:pt x="283249" y="437557"/>
                  </a:lnTo>
                  <a:lnTo>
                    <a:pt x="283249" y="464372"/>
                  </a:lnTo>
                  <a:close/>
                  <a:moveTo>
                    <a:pt x="994574" y="464389"/>
                  </a:moveTo>
                  <a:lnTo>
                    <a:pt x="995183" y="432870"/>
                  </a:lnTo>
                  <a:lnTo>
                    <a:pt x="1018301" y="464389"/>
                  </a:lnTo>
                  <a:close/>
                  <a:moveTo>
                    <a:pt x="967640" y="464389"/>
                  </a:moveTo>
                  <a:lnTo>
                    <a:pt x="992915" y="433489"/>
                  </a:lnTo>
                  <a:lnTo>
                    <a:pt x="992335" y="464389"/>
                  </a:lnTo>
                  <a:close/>
                  <a:moveTo>
                    <a:pt x="928565" y="464389"/>
                  </a:moveTo>
                  <a:lnTo>
                    <a:pt x="928925" y="441179"/>
                  </a:lnTo>
                  <a:lnTo>
                    <a:pt x="956662" y="464389"/>
                  </a:lnTo>
                  <a:close/>
                  <a:moveTo>
                    <a:pt x="904452" y="464389"/>
                  </a:moveTo>
                  <a:lnTo>
                    <a:pt x="905503" y="421591"/>
                  </a:lnTo>
                  <a:lnTo>
                    <a:pt x="926686" y="439308"/>
                  </a:lnTo>
                  <a:lnTo>
                    <a:pt x="926298" y="464372"/>
                  </a:lnTo>
                  <a:lnTo>
                    <a:pt x="926298" y="464389"/>
                  </a:lnTo>
                  <a:close/>
                  <a:moveTo>
                    <a:pt x="894386" y="464389"/>
                  </a:moveTo>
                  <a:lnTo>
                    <a:pt x="875085" y="445677"/>
                  </a:lnTo>
                  <a:lnTo>
                    <a:pt x="874172" y="446124"/>
                  </a:lnTo>
                  <a:lnTo>
                    <a:pt x="903290" y="421643"/>
                  </a:lnTo>
                  <a:lnTo>
                    <a:pt x="902212" y="464389"/>
                  </a:lnTo>
                  <a:lnTo>
                    <a:pt x="902184" y="464389"/>
                  </a:lnTo>
                  <a:close/>
                  <a:moveTo>
                    <a:pt x="852437" y="464389"/>
                  </a:moveTo>
                  <a:lnTo>
                    <a:pt x="869969" y="449643"/>
                  </a:lnTo>
                  <a:lnTo>
                    <a:pt x="869498" y="464389"/>
                  </a:lnTo>
                  <a:close/>
                  <a:moveTo>
                    <a:pt x="846325" y="464389"/>
                  </a:moveTo>
                  <a:lnTo>
                    <a:pt x="846325" y="439256"/>
                  </a:lnTo>
                  <a:lnTo>
                    <a:pt x="869028" y="445540"/>
                  </a:lnTo>
                  <a:lnTo>
                    <a:pt x="846601" y="464389"/>
                  </a:lnTo>
                  <a:close/>
                  <a:moveTo>
                    <a:pt x="838471" y="464389"/>
                  </a:moveTo>
                  <a:lnTo>
                    <a:pt x="816072" y="445540"/>
                  </a:lnTo>
                  <a:lnTo>
                    <a:pt x="838776" y="439256"/>
                  </a:lnTo>
                  <a:lnTo>
                    <a:pt x="838776" y="464389"/>
                  </a:lnTo>
                  <a:close/>
                  <a:moveTo>
                    <a:pt x="815603" y="464389"/>
                  </a:moveTo>
                  <a:lnTo>
                    <a:pt x="815132" y="449643"/>
                  </a:lnTo>
                  <a:lnTo>
                    <a:pt x="832664" y="464389"/>
                  </a:lnTo>
                  <a:close/>
                  <a:moveTo>
                    <a:pt x="793480" y="464389"/>
                  </a:moveTo>
                  <a:lnTo>
                    <a:pt x="811675" y="446759"/>
                  </a:lnTo>
                  <a:cubicBezTo>
                    <a:pt x="811675" y="446759"/>
                    <a:pt x="812781" y="447685"/>
                    <a:pt x="812781" y="447685"/>
                  </a:cubicBezTo>
                  <a:lnTo>
                    <a:pt x="813307" y="464389"/>
                  </a:lnTo>
                  <a:close/>
                  <a:moveTo>
                    <a:pt x="782916" y="464389"/>
                  </a:moveTo>
                  <a:lnTo>
                    <a:pt x="781865" y="421643"/>
                  </a:lnTo>
                  <a:lnTo>
                    <a:pt x="810984" y="446124"/>
                  </a:lnTo>
                  <a:lnTo>
                    <a:pt x="810072" y="445677"/>
                  </a:lnTo>
                  <a:lnTo>
                    <a:pt x="790742" y="464389"/>
                  </a:lnTo>
                  <a:lnTo>
                    <a:pt x="782943" y="464389"/>
                  </a:lnTo>
                  <a:close/>
                  <a:moveTo>
                    <a:pt x="728412" y="464389"/>
                  </a:moveTo>
                  <a:lnTo>
                    <a:pt x="756148" y="441179"/>
                  </a:lnTo>
                  <a:lnTo>
                    <a:pt x="756507" y="464389"/>
                  </a:lnTo>
                  <a:close/>
                  <a:moveTo>
                    <a:pt x="692766" y="464389"/>
                  </a:moveTo>
                  <a:lnTo>
                    <a:pt x="692186" y="433489"/>
                  </a:lnTo>
                  <a:lnTo>
                    <a:pt x="717461" y="464389"/>
                  </a:lnTo>
                  <a:close/>
                  <a:moveTo>
                    <a:pt x="666800" y="464389"/>
                  </a:moveTo>
                  <a:lnTo>
                    <a:pt x="689891" y="432870"/>
                  </a:lnTo>
                  <a:lnTo>
                    <a:pt x="690499" y="464389"/>
                  </a:lnTo>
                  <a:close/>
                  <a:moveTo>
                    <a:pt x="634003" y="464389"/>
                  </a:moveTo>
                  <a:lnTo>
                    <a:pt x="634003" y="437574"/>
                  </a:lnTo>
                  <a:lnTo>
                    <a:pt x="657315" y="464389"/>
                  </a:lnTo>
                  <a:close/>
                  <a:moveTo>
                    <a:pt x="604940" y="464389"/>
                  </a:moveTo>
                  <a:lnTo>
                    <a:pt x="604663" y="438244"/>
                  </a:lnTo>
                  <a:lnTo>
                    <a:pt x="626841" y="464389"/>
                  </a:lnTo>
                  <a:close/>
                  <a:moveTo>
                    <a:pt x="578946" y="464389"/>
                  </a:moveTo>
                  <a:lnTo>
                    <a:pt x="602368" y="436767"/>
                  </a:lnTo>
                  <a:lnTo>
                    <a:pt x="602672" y="464389"/>
                  </a:lnTo>
                  <a:close/>
                  <a:moveTo>
                    <a:pt x="226781" y="464389"/>
                  </a:moveTo>
                  <a:lnTo>
                    <a:pt x="227390" y="432870"/>
                  </a:lnTo>
                  <a:lnTo>
                    <a:pt x="250508" y="464389"/>
                  </a:lnTo>
                  <a:lnTo>
                    <a:pt x="226809" y="464389"/>
                  </a:lnTo>
                  <a:close/>
                  <a:moveTo>
                    <a:pt x="199820" y="464389"/>
                  </a:moveTo>
                  <a:lnTo>
                    <a:pt x="225095" y="433489"/>
                  </a:lnTo>
                  <a:lnTo>
                    <a:pt x="224486" y="464389"/>
                  </a:lnTo>
                  <a:close/>
                  <a:moveTo>
                    <a:pt x="160746" y="464389"/>
                  </a:moveTo>
                  <a:lnTo>
                    <a:pt x="161105" y="441179"/>
                  </a:lnTo>
                  <a:lnTo>
                    <a:pt x="188841" y="464389"/>
                  </a:lnTo>
                  <a:close/>
                  <a:moveTo>
                    <a:pt x="136660" y="464389"/>
                  </a:moveTo>
                  <a:lnTo>
                    <a:pt x="137711" y="421591"/>
                  </a:lnTo>
                  <a:lnTo>
                    <a:pt x="158920" y="439308"/>
                  </a:lnTo>
                  <a:lnTo>
                    <a:pt x="158505" y="464372"/>
                  </a:lnTo>
                  <a:lnTo>
                    <a:pt x="158505" y="464389"/>
                  </a:lnTo>
                  <a:close/>
                  <a:moveTo>
                    <a:pt x="126594" y="464389"/>
                  </a:moveTo>
                  <a:lnTo>
                    <a:pt x="107292" y="445677"/>
                  </a:lnTo>
                  <a:lnTo>
                    <a:pt x="106379" y="446124"/>
                  </a:lnTo>
                  <a:lnTo>
                    <a:pt x="135470" y="421643"/>
                  </a:lnTo>
                  <a:lnTo>
                    <a:pt x="134419" y="464389"/>
                  </a:lnTo>
                  <a:lnTo>
                    <a:pt x="134391" y="464389"/>
                  </a:lnTo>
                  <a:close/>
                  <a:moveTo>
                    <a:pt x="84644" y="464389"/>
                  </a:moveTo>
                  <a:lnTo>
                    <a:pt x="102176" y="449643"/>
                  </a:lnTo>
                  <a:lnTo>
                    <a:pt x="101705" y="464389"/>
                  </a:lnTo>
                  <a:close/>
                  <a:moveTo>
                    <a:pt x="78504" y="464389"/>
                  </a:moveTo>
                  <a:lnTo>
                    <a:pt x="78504" y="439256"/>
                  </a:lnTo>
                  <a:lnTo>
                    <a:pt x="101208" y="445540"/>
                  </a:lnTo>
                  <a:lnTo>
                    <a:pt x="78781" y="464389"/>
                  </a:lnTo>
                  <a:close/>
                  <a:moveTo>
                    <a:pt x="70678" y="464389"/>
                  </a:moveTo>
                  <a:lnTo>
                    <a:pt x="48280" y="445540"/>
                  </a:lnTo>
                  <a:lnTo>
                    <a:pt x="70983" y="439256"/>
                  </a:lnTo>
                  <a:lnTo>
                    <a:pt x="70983" y="464389"/>
                  </a:lnTo>
                  <a:close/>
                  <a:moveTo>
                    <a:pt x="47810" y="464389"/>
                  </a:moveTo>
                  <a:lnTo>
                    <a:pt x="47339" y="449643"/>
                  </a:lnTo>
                  <a:lnTo>
                    <a:pt x="64871" y="464389"/>
                  </a:lnTo>
                  <a:close/>
                  <a:moveTo>
                    <a:pt x="25687" y="464389"/>
                  </a:moveTo>
                  <a:lnTo>
                    <a:pt x="43882" y="446759"/>
                  </a:lnTo>
                  <a:cubicBezTo>
                    <a:pt x="43882" y="446759"/>
                    <a:pt x="44988" y="447685"/>
                    <a:pt x="44988" y="447685"/>
                  </a:cubicBezTo>
                  <a:lnTo>
                    <a:pt x="45514" y="464389"/>
                  </a:lnTo>
                  <a:close/>
                  <a:moveTo>
                    <a:pt x="15124" y="464389"/>
                  </a:moveTo>
                  <a:lnTo>
                    <a:pt x="14045" y="421643"/>
                  </a:lnTo>
                  <a:lnTo>
                    <a:pt x="43164" y="446124"/>
                  </a:lnTo>
                  <a:lnTo>
                    <a:pt x="42251" y="445677"/>
                  </a:lnTo>
                  <a:lnTo>
                    <a:pt x="22949" y="464389"/>
                  </a:lnTo>
                  <a:lnTo>
                    <a:pt x="15151" y="464389"/>
                  </a:lnTo>
                  <a:close/>
                  <a:moveTo>
                    <a:pt x="871738" y="464406"/>
                  </a:moveTo>
                  <a:lnTo>
                    <a:pt x="871766" y="464389"/>
                  </a:lnTo>
                  <a:lnTo>
                    <a:pt x="872291" y="447685"/>
                  </a:lnTo>
                  <a:lnTo>
                    <a:pt x="873397" y="446759"/>
                  </a:lnTo>
                  <a:cubicBezTo>
                    <a:pt x="873397" y="446759"/>
                    <a:pt x="891593" y="464406"/>
                    <a:pt x="891593" y="464406"/>
                  </a:cubicBezTo>
                  <a:close/>
                  <a:moveTo>
                    <a:pt x="758803" y="464406"/>
                  </a:moveTo>
                  <a:lnTo>
                    <a:pt x="758803" y="464389"/>
                  </a:lnTo>
                  <a:lnTo>
                    <a:pt x="758415" y="439325"/>
                  </a:lnTo>
                  <a:lnTo>
                    <a:pt x="779625" y="421609"/>
                  </a:lnTo>
                  <a:lnTo>
                    <a:pt x="780676" y="464406"/>
                  </a:lnTo>
                  <a:close/>
                  <a:moveTo>
                    <a:pt x="103973" y="464406"/>
                  </a:moveTo>
                  <a:lnTo>
                    <a:pt x="103973" y="464389"/>
                  </a:lnTo>
                  <a:lnTo>
                    <a:pt x="104499" y="447685"/>
                  </a:lnTo>
                  <a:lnTo>
                    <a:pt x="105633" y="446759"/>
                  </a:lnTo>
                  <a:cubicBezTo>
                    <a:pt x="105633" y="446759"/>
                    <a:pt x="123828" y="464406"/>
                    <a:pt x="123828" y="464406"/>
                  </a:cubicBezTo>
                  <a:close/>
                  <a:moveTo>
                    <a:pt x="1236291" y="465780"/>
                  </a:moveTo>
                  <a:lnTo>
                    <a:pt x="1227801" y="340580"/>
                  </a:lnTo>
                  <a:lnTo>
                    <a:pt x="1227801" y="339532"/>
                  </a:lnTo>
                  <a:lnTo>
                    <a:pt x="1228714" y="338897"/>
                  </a:lnTo>
                  <a:lnTo>
                    <a:pt x="1227801" y="338005"/>
                  </a:lnTo>
                  <a:lnTo>
                    <a:pt x="1227801" y="335378"/>
                  </a:lnTo>
                  <a:lnTo>
                    <a:pt x="1226585" y="334777"/>
                  </a:lnTo>
                  <a:lnTo>
                    <a:pt x="1226585" y="328580"/>
                  </a:lnTo>
                  <a:lnTo>
                    <a:pt x="1222409" y="328580"/>
                  </a:lnTo>
                  <a:lnTo>
                    <a:pt x="1222409" y="334777"/>
                  </a:lnTo>
                  <a:lnTo>
                    <a:pt x="1221137" y="335378"/>
                  </a:lnTo>
                  <a:lnTo>
                    <a:pt x="1221137" y="338091"/>
                  </a:lnTo>
                  <a:lnTo>
                    <a:pt x="1219920" y="338691"/>
                  </a:lnTo>
                  <a:lnTo>
                    <a:pt x="1220473" y="339361"/>
                  </a:lnTo>
                  <a:lnTo>
                    <a:pt x="1220473" y="340374"/>
                  </a:lnTo>
                  <a:lnTo>
                    <a:pt x="1212178" y="340374"/>
                  </a:lnTo>
                  <a:lnTo>
                    <a:pt x="1212178" y="291396"/>
                  </a:lnTo>
                  <a:lnTo>
                    <a:pt x="1215441" y="288581"/>
                  </a:lnTo>
                  <a:lnTo>
                    <a:pt x="1212178" y="288581"/>
                  </a:lnTo>
                  <a:lnTo>
                    <a:pt x="1212178" y="287001"/>
                  </a:lnTo>
                  <a:lnTo>
                    <a:pt x="1211956" y="287001"/>
                  </a:lnTo>
                  <a:lnTo>
                    <a:pt x="1213284" y="285868"/>
                  </a:lnTo>
                  <a:lnTo>
                    <a:pt x="1213394" y="279705"/>
                  </a:lnTo>
                  <a:lnTo>
                    <a:pt x="1214473" y="278280"/>
                  </a:lnTo>
                  <a:lnTo>
                    <a:pt x="1212066" y="278280"/>
                  </a:lnTo>
                  <a:lnTo>
                    <a:pt x="1189225" y="244203"/>
                  </a:lnTo>
                  <a:lnTo>
                    <a:pt x="1188976" y="244203"/>
                  </a:lnTo>
                  <a:lnTo>
                    <a:pt x="1188976" y="238658"/>
                  </a:lnTo>
                  <a:lnTo>
                    <a:pt x="1191880" y="238658"/>
                  </a:lnTo>
                  <a:lnTo>
                    <a:pt x="1191880" y="237457"/>
                  </a:lnTo>
                  <a:lnTo>
                    <a:pt x="1188976" y="237457"/>
                  </a:lnTo>
                  <a:lnTo>
                    <a:pt x="1188976" y="234607"/>
                  </a:lnTo>
                  <a:lnTo>
                    <a:pt x="1186930" y="234607"/>
                  </a:lnTo>
                  <a:lnTo>
                    <a:pt x="1186930" y="237457"/>
                  </a:lnTo>
                  <a:lnTo>
                    <a:pt x="1183778" y="237457"/>
                  </a:lnTo>
                  <a:lnTo>
                    <a:pt x="1183778" y="238658"/>
                  </a:lnTo>
                  <a:lnTo>
                    <a:pt x="1186930" y="238658"/>
                  </a:lnTo>
                  <a:lnTo>
                    <a:pt x="1186930" y="244203"/>
                  </a:lnTo>
                  <a:lnTo>
                    <a:pt x="1186681" y="244203"/>
                  </a:lnTo>
                  <a:lnTo>
                    <a:pt x="1164199" y="278280"/>
                  </a:lnTo>
                  <a:lnTo>
                    <a:pt x="1160687" y="278280"/>
                  </a:lnTo>
                  <a:lnTo>
                    <a:pt x="1162374" y="279482"/>
                  </a:lnTo>
                  <a:lnTo>
                    <a:pt x="1162374" y="285937"/>
                  </a:lnTo>
                  <a:lnTo>
                    <a:pt x="1163590" y="287001"/>
                  </a:lnTo>
                  <a:lnTo>
                    <a:pt x="1163590" y="288563"/>
                  </a:lnTo>
                  <a:lnTo>
                    <a:pt x="1160687" y="288563"/>
                  </a:lnTo>
                  <a:lnTo>
                    <a:pt x="1163590" y="291344"/>
                  </a:lnTo>
                  <a:lnTo>
                    <a:pt x="1163590" y="340116"/>
                  </a:lnTo>
                  <a:lnTo>
                    <a:pt x="1132038" y="340116"/>
                  </a:lnTo>
                  <a:lnTo>
                    <a:pt x="1161793" y="380871"/>
                  </a:lnTo>
                  <a:lnTo>
                    <a:pt x="1120839" y="338468"/>
                  </a:lnTo>
                  <a:lnTo>
                    <a:pt x="1121696" y="337472"/>
                  </a:lnTo>
                  <a:lnTo>
                    <a:pt x="1120424" y="336460"/>
                  </a:lnTo>
                  <a:lnTo>
                    <a:pt x="1120424" y="334881"/>
                  </a:lnTo>
                  <a:lnTo>
                    <a:pt x="1119511" y="334211"/>
                  </a:lnTo>
                  <a:lnTo>
                    <a:pt x="1119511" y="330486"/>
                  </a:lnTo>
                  <a:lnTo>
                    <a:pt x="1121696" y="330486"/>
                  </a:lnTo>
                  <a:lnTo>
                    <a:pt x="1121696" y="329644"/>
                  </a:lnTo>
                  <a:lnTo>
                    <a:pt x="1119511" y="329644"/>
                  </a:lnTo>
                  <a:lnTo>
                    <a:pt x="1119511" y="328134"/>
                  </a:lnTo>
                  <a:lnTo>
                    <a:pt x="1118157" y="328134"/>
                  </a:lnTo>
                  <a:lnTo>
                    <a:pt x="1118157" y="329644"/>
                  </a:lnTo>
                  <a:lnTo>
                    <a:pt x="1115889" y="329644"/>
                  </a:lnTo>
                  <a:lnTo>
                    <a:pt x="1115889" y="330486"/>
                  </a:lnTo>
                  <a:lnTo>
                    <a:pt x="1118157" y="330486"/>
                  </a:lnTo>
                  <a:lnTo>
                    <a:pt x="1118157" y="334262"/>
                  </a:lnTo>
                  <a:lnTo>
                    <a:pt x="1117437" y="334777"/>
                  </a:lnTo>
                  <a:lnTo>
                    <a:pt x="1117437" y="336185"/>
                  </a:lnTo>
                  <a:lnTo>
                    <a:pt x="1115889" y="337593"/>
                  </a:lnTo>
                  <a:lnTo>
                    <a:pt x="1116691" y="338571"/>
                  </a:lnTo>
                  <a:lnTo>
                    <a:pt x="1044239" y="415326"/>
                  </a:lnTo>
                  <a:lnTo>
                    <a:pt x="1107731" y="339893"/>
                  </a:lnTo>
                  <a:lnTo>
                    <a:pt x="1017029" y="339670"/>
                  </a:lnTo>
                  <a:lnTo>
                    <a:pt x="1017029" y="337644"/>
                  </a:lnTo>
                  <a:lnTo>
                    <a:pt x="1015839" y="336683"/>
                  </a:lnTo>
                  <a:lnTo>
                    <a:pt x="1015839" y="334486"/>
                  </a:lnTo>
                  <a:lnTo>
                    <a:pt x="1014843" y="333696"/>
                  </a:lnTo>
                  <a:lnTo>
                    <a:pt x="1014843" y="327670"/>
                  </a:lnTo>
                  <a:lnTo>
                    <a:pt x="1010668" y="327670"/>
                  </a:lnTo>
                  <a:lnTo>
                    <a:pt x="1010668" y="333919"/>
                  </a:lnTo>
                  <a:lnTo>
                    <a:pt x="1009756" y="334537"/>
                  </a:lnTo>
                  <a:lnTo>
                    <a:pt x="1009756" y="336906"/>
                  </a:lnTo>
                  <a:lnTo>
                    <a:pt x="1008290" y="337644"/>
                  </a:lnTo>
                  <a:lnTo>
                    <a:pt x="1008290" y="417592"/>
                  </a:lnTo>
                  <a:cubicBezTo>
                    <a:pt x="1055439" y="420922"/>
                    <a:pt x="1117354" y="423343"/>
                    <a:pt x="1197742" y="423343"/>
                  </a:cubicBezTo>
                  <a:lnTo>
                    <a:pt x="1206370" y="423343"/>
                  </a:lnTo>
                  <a:lnTo>
                    <a:pt x="1210214" y="428133"/>
                  </a:lnTo>
                  <a:close/>
                  <a:moveTo>
                    <a:pt x="50520" y="541195"/>
                  </a:moveTo>
                  <a:lnTo>
                    <a:pt x="97087" y="541195"/>
                  </a:lnTo>
                  <a:lnTo>
                    <a:pt x="97087" y="529624"/>
                  </a:lnTo>
                  <a:lnTo>
                    <a:pt x="84616" y="529624"/>
                  </a:lnTo>
                  <a:lnTo>
                    <a:pt x="81325" y="477076"/>
                  </a:lnTo>
                  <a:lnTo>
                    <a:pt x="82376" y="477076"/>
                  </a:lnTo>
                  <a:lnTo>
                    <a:pt x="82376" y="474501"/>
                  </a:lnTo>
                  <a:lnTo>
                    <a:pt x="80108" y="474501"/>
                  </a:lnTo>
                  <a:lnTo>
                    <a:pt x="80108" y="470140"/>
                  </a:lnTo>
                  <a:lnTo>
                    <a:pt x="103669" y="470140"/>
                  </a:lnTo>
                  <a:lnTo>
                    <a:pt x="813473" y="470140"/>
                  </a:lnTo>
                  <a:cubicBezTo>
                    <a:pt x="813473" y="470140"/>
                    <a:pt x="814607" y="470140"/>
                    <a:pt x="814607" y="470140"/>
                  </a:cubicBezTo>
                  <a:lnTo>
                    <a:pt x="837033" y="470140"/>
                  </a:lnTo>
                  <a:lnTo>
                    <a:pt x="837033" y="474501"/>
                  </a:lnTo>
                  <a:lnTo>
                    <a:pt x="834766" y="474501"/>
                  </a:lnTo>
                  <a:lnTo>
                    <a:pt x="834766" y="477076"/>
                  </a:lnTo>
                  <a:lnTo>
                    <a:pt x="835817" y="477076"/>
                  </a:lnTo>
                  <a:lnTo>
                    <a:pt x="832554" y="529624"/>
                  </a:lnTo>
                  <a:lnTo>
                    <a:pt x="820082" y="529624"/>
                  </a:lnTo>
                  <a:lnTo>
                    <a:pt x="820082" y="541195"/>
                  </a:lnTo>
                  <a:lnTo>
                    <a:pt x="866651" y="541195"/>
                  </a:lnTo>
                  <a:lnTo>
                    <a:pt x="866651" y="529624"/>
                  </a:lnTo>
                  <a:lnTo>
                    <a:pt x="854455" y="529624"/>
                  </a:lnTo>
                  <a:lnTo>
                    <a:pt x="849975" y="477076"/>
                  </a:lnTo>
                  <a:lnTo>
                    <a:pt x="850611" y="477076"/>
                  </a:lnTo>
                  <a:lnTo>
                    <a:pt x="850611" y="474501"/>
                  </a:lnTo>
                  <a:lnTo>
                    <a:pt x="848150" y="474501"/>
                  </a:lnTo>
                  <a:lnTo>
                    <a:pt x="848150" y="470140"/>
                  </a:lnTo>
                  <a:lnTo>
                    <a:pt x="871517" y="470140"/>
                  </a:lnTo>
                  <a:lnTo>
                    <a:pt x="1008263" y="470140"/>
                  </a:lnTo>
                  <a:lnTo>
                    <a:pt x="905862" y="541195"/>
                  </a:lnTo>
                  <a:lnTo>
                    <a:pt x="4012469" y="540417"/>
                  </a:lnTo>
                  <a:lnTo>
                    <a:pt x="4012966" y="530578"/>
                  </a:lnTo>
                  <a:lnTo>
                    <a:pt x="4009693" y="465763"/>
                  </a:lnTo>
                  <a:lnTo>
                    <a:pt x="3987044" y="465763"/>
                  </a:lnTo>
                  <a:lnTo>
                    <a:pt x="3987044" y="465780"/>
                  </a:lnTo>
                  <a:lnTo>
                    <a:pt x="3968351" y="424939"/>
                  </a:lnTo>
                  <a:cubicBezTo>
                    <a:pt x="3968351" y="424939"/>
                    <a:pt x="3990971" y="420012"/>
                    <a:pt x="3996474" y="416596"/>
                  </a:cubicBezTo>
                  <a:cubicBezTo>
                    <a:pt x="3998050" y="415617"/>
                    <a:pt x="3999267" y="414192"/>
                    <a:pt x="4000374" y="412510"/>
                  </a:cubicBezTo>
                  <a:cubicBezTo>
                    <a:pt x="4002005" y="410004"/>
                    <a:pt x="4003332" y="406914"/>
                    <a:pt x="4004991" y="403755"/>
                  </a:cubicBezTo>
                  <a:lnTo>
                    <a:pt x="4006411" y="400766"/>
                  </a:lnTo>
                  <a:lnTo>
                    <a:pt x="4005634" y="385378"/>
                  </a:lnTo>
                  <a:lnTo>
                    <a:pt x="4002032" y="383601"/>
                  </a:lnTo>
                  <a:cubicBezTo>
                    <a:pt x="4000456" y="383154"/>
                    <a:pt x="3998686" y="382725"/>
                    <a:pt x="3996806" y="382313"/>
                  </a:cubicBezTo>
                  <a:lnTo>
                    <a:pt x="3958396" y="372802"/>
                  </a:lnTo>
                  <a:lnTo>
                    <a:pt x="3956100" y="376064"/>
                  </a:lnTo>
                  <a:cubicBezTo>
                    <a:pt x="3956100" y="376064"/>
                    <a:pt x="3764463" y="312803"/>
                    <a:pt x="3546528" y="313816"/>
                  </a:cubicBezTo>
                  <a:cubicBezTo>
                    <a:pt x="3546528" y="313816"/>
                    <a:pt x="3542628" y="313816"/>
                    <a:pt x="3542628" y="313816"/>
                  </a:cubicBezTo>
                  <a:lnTo>
                    <a:pt x="3542628" y="349678"/>
                  </a:lnTo>
                  <a:lnTo>
                    <a:pt x="3544868" y="349678"/>
                  </a:lnTo>
                  <a:lnTo>
                    <a:pt x="3544868" y="360528"/>
                  </a:lnTo>
                  <a:lnTo>
                    <a:pt x="3580348" y="344803"/>
                  </a:lnTo>
                  <a:lnTo>
                    <a:pt x="3588118" y="341352"/>
                  </a:lnTo>
                  <a:lnTo>
                    <a:pt x="3596082" y="344614"/>
                  </a:lnTo>
                  <a:lnTo>
                    <a:pt x="3603853" y="347807"/>
                  </a:lnTo>
                  <a:lnTo>
                    <a:pt x="3603853" y="345661"/>
                  </a:lnTo>
                  <a:lnTo>
                    <a:pt x="3641655" y="345661"/>
                  </a:lnTo>
                  <a:lnTo>
                    <a:pt x="3641655" y="363275"/>
                  </a:lnTo>
                  <a:lnTo>
                    <a:pt x="3642872" y="363772"/>
                  </a:lnTo>
                  <a:lnTo>
                    <a:pt x="3649122" y="366331"/>
                  </a:lnTo>
                  <a:lnTo>
                    <a:pt x="3649122" y="370982"/>
                  </a:lnTo>
                  <a:lnTo>
                    <a:pt x="3642706" y="521161"/>
                  </a:lnTo>
                  <a:lnTo>
                    <a:pt x="3635184" y="370982"/>
                  </a:lnTo>
                  <a:lnTo>
                    <a:pt x="3627718" y="367927"/>
                  </a:lnTo>
                  <a:lnTo>
                    <a:pt x="3627718" y="354296"/>
                  </a:lnTo>
                  <a:lnTo>
                    <a:pt x="3617763" y="354296"/>
                  </a:lnTo>
                  <a:lnTo>
                    <a:pt x="3617763" y="363858"/>
                  </a:lnTo>
                  <a:lnTo>
                    <a:pt x="3588395" y="351841"/>
                  </a:lnTo>
                  <a:lnTo>
                    <a:pt x="3538204" y="374090"/>
                  </a:lnTo>
                  <a:lnTo>
                    <a:pt x="3528636" y="374090"/>
                  </a:lnTo>
                  <a:lnTo>
                    <a:pt x="3528636" y="360339"/>
                  </a:lnTo>
                  <a:lnTo>
                    <a:pt x="3530876" y="360339"/>
                  </a:lnTo>
                  <a:lnTo>
                    <a:pt x="3530876" y="358331"/>
                  </a:lnTo>
                  <a:lnTo>
                    <a:pt x="3528636" y="358331"/>
                  </a:lnTo>
                  <a:lnTo>
                    <a:pt x="3528636" y="301558"/>
                  </a:lnTo>
                  <a:lnTo>
                    <a:pt x="3532618" y="296237"/>
                  </a:lnTo>
                  <a:lnTo>
                    <a:pt x="3528636" y="296237"/>
                  </a:lnTo>
                  <a:lnTo>
                    <a:pt x="3528636" y="282640"/>
                  </a:lnTo>
                  <a:lnTo>
                    <a:pt x="3526893" y="282640"/>
                  </a:lnTo>
                  <a:lnTo>
                    <a:pt x="3526893" y="279396"/>
                  </a:lnTo>
                  <a:lnTo>
                    <a:pt x="3525760" y="279396"/>
                  </a:lnTo>
                  <a:lnTo>
                    <a:pt x="3525760" y="276374"/>
                  </a:lnTo>
                  <a:lnTo>
                    <a:pt x="3524764" y="276374"/>
                  </a:lnTo>
                  <a:lnTo>
                    <a:pt x="3524764" y="272975"/>
                  </a:lnTo>
                  <a:lnTo>
                    <a:pt x="3523631" y="272975"/>
                  </a:lnTo>
                  <a:lnTo>
                    <a:pt x="3523631" y="269885"/>
                  </a:lnTo>
                  <a:lnTo>
                    <a:pt x="3522525" y="269885"/>
                  </a:lnTo>
                  <a:lnTo>
                    <a:pt x="3520340" y="262554"/>
                  </a:lnTo>
                  <a:lnTo>
                    <a:pt x="3518266" y="269885"/>
                  </a:lnTo>
                  <a:lnTo>
                    <a:pt x="3517050" y="269885"/>
                  </a:lnTo>
                  <a:lnTo>
                    <a:pt x="3517050" y="272975"/>
                  </a:lnTo>
                  <a:lnTo>
                    <a:pt x="3515943" y="272975"/>
                  </a:lnTo>
                  <a:lnTo>
                    <a:pt x="3515943" y="276374"/>
                  </a:lnTo>
                  <a:lnTo>
                    <a:pt x="3515196" y="276374"/>
                  </a:lnTo>
                  <a:lnTo>
                    <a:pt x="3515196" y="279396"/>
                  </a:lnTo>
                  <a:lnTo>
                    <a:pt x="3514091" y="279396"/>
                  </a:lnTo>
                  <a:lnTo>
                    <a:pt x="3514091" y="282640"/>
                  </a:lnTo>
                  <a:lnTo>
                    <a:pt x="3512984" y="282640"/>
                  </a:lnTo>
                  <a:lnTo>
                    <a:pt x="3512984" y="284889"/>
                  </a:lnTo>
                  <a:lnTo>
                    <a:pt x="3510108" y="284889"/>
                  </a:lnTo>
                  <a:lnTo>
                    <a:pt x="3510108" y="288752"/>
                  </a:lnTo>
                  <a:lnTo>
                    <a:pt x="3505269" y="288752"/>
                  </a:lnTo>
                  <a:lnTo>
                    <a:pt x="3505269" y="282658"/>
                  </a:lnTo>
                  <a:lnTo>
                    <a:pt x="3497858" y="282658"/>
                  </a:lnTo>
                  <a:lnTo>
                    <a:pt x="3497858" y="278640"/>
                  </a:lnTo>
                  <a:lnTo>
                    <a:pt x="3493682" y="278640"/>
                  </a:lnTo>
                  <a:lnTo>
                    <a:pt x="3493682" y="282658"/>
                  </a:lnTo>
                  <a:lnTo>
                    <a:pt x="3485967" y="282658"/>
                  </a:lnTo>
                  <a:lnTo>
                    <a:pt x="3485967" y="288752"/>
                  </a:lnTo>
                  <a:lnTo>
                    <a:pt x="3481127" y="288752"/>
                  </a:lnTo>
                  <a:lnTo>
                    <a:pt x="3481127" y="284889"/>
                  </a:lnTo>
                  <a:lnTo>
                    <a:pt x="3478390" y="284889"/>
                  </a:lnTo>
                  <a:lnTo>
                    <a:pt x="3478390" y="282640"/>
                  </a:lnTo>
                  <a:lnTo>
                    <a:pt x="3476150" y="282640"/>
                  </a:lnTo>
                  <a:lnTo>
                    <a:pt x="3476150" y="279396"/>
                  </a:lnTo>
                  <a:lnTo>
                    <a:pt x="3475017" y="279396"/>
                  </a:lnTo>
                  <a:lnTo>
                    <a:pt x="3475017" y="276374"/>
                  </a:lnTo>
                  <a:lnTo>
                    <a:pt x="3474021" y="276374"/>
                  </a:lnTo>
                  <a:lnTo>
                    <a:pt x="3474021" y="272975"/>
                  </a:lnTo>
                  <a:lnTo>
                    <a:pt x="3472915" y="272975"/>
                  </a:lnTo>
                  <a:lnTo>
                    <a:pt x="3472915" y="269885"/>
                  </a:lnTo>
                  <a:lnTo>
                    <a:pt x="3471809" y="269885"/>
                  </a:lnTo>
                  <a:lnTo>
                    <a:pt x="3469623" y="262554"/>
                  </a:lnTo>
                  <a:lnTo>
                    <a:pt x="3467550" y="269885"/>
                  </a:lnTo>
                  <a:lnTo>
                    <a:pt x="3466305" y="269885"/>
                  </a:lnTo>
                  <a:lnTo>
                    <a:pt x="3466305" y="272975"/>
                  </a:lnTo>
                  <a:lnTo>
                    <a:pt x="3465199" y="272975"/>
                  </a:lnTo>
                  <a:lnTo>
                    <a:pt x="3465199" y="276374"/>
                  </a:lnTo>
                  <a:lnTo>
                    <a:pt x="3464453" y="276374"/>
                  </a:lnTo>
                  <a:lnTo>
                    <a:pt x="3464453" y="279396"/>
                  </a:lnTo>
                  <a:lnTo>
                    <a:pt x="3463319" y="279396"/>
                  </a:lnTo>
                  <a:lnTo>
                    <a:pt x="3463319" y="282640"/>
                  </a:lnTo>
                  <a:lnTo>
                    <a:pt x="3461964" y="282640"/>
                  </a:lnTo>
                  <a:lnTo>
                    <a:pt x="3461964" y="296237"/>
                  </a:lnTo>
                  <a:lnTo>
                    <a:pt x="3457235" y="296237"/>
                  </a:lnTo>
                  <a:lnTo>
                    <a:pt x="3461964" y="301593"/>
                  </a:lnTo>
                  <a:lnTo>
                    <a:pt x="3461964" y="358347"/>
                  </a:lnTo>
                  <a:lnTo>
                    <a:pt x="3458479" y="358347"/>
                  </a:lnTo>
                  <a:lnTo>
                    <a:pt x="3458479" y="360356"/>
                  </a:lnTo>
                  <a:lnTo>
                    <a:pt x="3461964" y="360356"/>
                  </a:lnTo>
                  <a:lnTo>
                    <a:pt x="3461964" y="374107"/>
                  </a:lnTo>
                  <a:lnTo>
                    <a:pt x="3454995" y="374107"/>
                  </a:lnTo>
                  <a:lnTo>
                    <a:pt x="3351960" y="310159"/>
                  </a:lnTo>
                  <a:lnTo>
                    <a:pt x="3318111" y="332923"/>
                  </a:lnTo>
                  <a:lnTo>
                    <a:pt x="3318111" y="321593"/>
                  </a:lnTo>
                  <a:lnTo>
                    <a:pt x="3302681" y="321593"/>
                  </a:lnTo>
                  <a:lnTo>
                    <a:pt x="3302681" y="343309"/>
                  </a:lnTo>
                  <a:lnTo>
                    <a:pt x="3256887" y="374107"/>
                  </a:lnTo>
                  <a:lnTo>
                    <a:pt x="3252214" y="521590"/>
                  </a:lnTo>
                  <a:lnTo>
                    <a:pt x="3243614" y="413420"/>
                  </a:lnTo>
                  <a:lnTo>
                    <a:pt x="3239189" y="409849"/>
                  </a:lnTo>
                  <a:lnTo>
                    <a:pt x="3239189" y="366691"/>
                  </a:lnTo>
                  <a:lnTo>
                    <a:pt x="3235981" y="365712"/>
                  </a:lnTo>
                  <a:lnTo>
                    <a:pt x="3237419" y="364579"/>
                  </a:lnTo>
                  <a:lnTo>
                    <a:pt x="3237419" y="362382"/>
                  </a:lnTo>
                  <a:lnTo>
                    <a:pt x="3232995" y="361472"/>
                  </a:lnTo>
                  <a:lnTo>
                    <a:pt x="3232995" y="356802"/>
                  </a:lnTo>
                  <a:lnTo>
                    <a:pt x="3234460" y="355807"/>
                  </a:lnTo>
                  <a:lnTo>
                    <a:pt x="3230617" y="349661"/>
                  </a:lnTo>
                  <a:lnTo>
                    <a:pt x="3229290" y="349661"/>
                  </a:lnTo>
                  <a:lnTo>
                    <a:pt x="3227216" y="346811"/>
                  </a:lnTo>
                  <a:lnTo>
                    <a:pt x="3227962" y="346073"/>
                  </a:lnTo>
                  <a:lnTo>
                    <a:pt x="3226192" y="345610"/>
                  </a:lnTo>
                  <a:lnTo>
                    <a:pt x="3227381" y="344322"/>
                  </a:lnTo>
                  <a:lnTo>
                    <a:pt x="3225169" y="341936"/>
                  </a:lnTo>
                  <a:lnTo>
                    <a:pt x="3223261" y="344322"/>
                  </a:lnTo>
                  <a:lnTo>
                    <a:pt x="3224422" y="345421"/>
                  </a:lnTo>
                  <a:lnTo>
                    <a:pt x="3222072" y="345970"/>
                  </a:lnTo>
                  <a:lnTo>
                    <a:pt x="3223399" y="346983"/>
                  </a:lnTo>
                  <a:lnTo>
                    <a:pt x="3217066" y="355790"/>
                  </a:lnTo>
                  <a:lnTo>
                    <a:pt x="3218837" y="357163"/>
                  </a:lnTo>
                  <a:lnTo>
                    <a:pt x="3218587" y="360356"/>
                  </a:lnTo>
                  <a:lnTo>
                    <a:pt x="3175283" y="347052"/>
                  </a:lnTo>
                  <a:lnTo>
                    <a:pt x="3175283" y="336906"/>
                  </a:lnTo>
                  <a:lnTo>
                    <a:pt x="3173209" y="336906"/>
                  </a:lnTo>
                  <a:lnTo>
                    <a:pt x="3171743" y="333421"/>
                  </a:lnTo>
                  <a:lnTo>
                    <a:pt x="3172323" y="333060"/>
                  </a:lnTo>
                  <a:lnTo>
                    <a:pt x="3171439" y="332151"/>
                  </a:lnTo>
                  <a:lnTo>
                    <a:pt x="3172186" y="330966"/>
                  </a:lnTo>
                  <a:lnTo>
                    <a:pt x="3170277" y="329507"/>
                  </a:lnTo>
                  <a:lnTo>
                    <a:pt x="3168507" y="330880"/>
                  </a:lnTo>
                  <a:lnTo>
                    <a:pt x="3169393" y="332065"/>
                  </a:lnTo>
                  <a:lnTo>
                    <a:pt x="3168507" y="332888"/>
                  </a:lnTo>
                  <a:lnTo>
                    <a:pt x="3169254" y="333798"/>
                  </a:lnTo>
                  <a:lnTo>
                    <a:pt x="3167319" y="337283"/>
                  </a:lnTo>
                  <a:lnTo>
                    <a:pt x="3165245" y="337369"/>
                  </a:lnTo>
                  <a:lnTo>
                    <a:pt x="3165245" y="343962"/>
                  </a:lnTo>
                  <a:lnTo>
                    <a:pt x="3151805" y="339842"/>
                  </a:lnTo>
                  <a:lnTo>
                    <a:pt x="3151805" y="331138"/>
                  </a:lnTo>
                  <a:lnTo>
                    <a:pt x="3149150" y="331138"/>
                  </a:lnTo>
                  <a:lnTo>
                    <a:pt x="3146192" y="326091"/>
                  </a:lnTo>
                  <a:lnTo>
                    <a:pt x="3147823" y="326091"/>
                  </a:lnTo>
                  <a:lnTo>
                    <a:pt x="3148985" y="323343"/>
                  </a:lnTo>
                  <a:lnTo>
                    <a:pt x="3140135" y="320133"/>
                  </a:lnTo>
                  <a:lnTo>
                    <a:pt x="3139112" y="279533"/>
                  </a:lnTo>
                  <a:lnTo>
                    <a:pt x="3140744" y="278245"/>
                  </a:lnTo>
                  <a:lnTo>
                    <a:pt x="3140744" y="276494"/>
                  </a:lnTo>
                  <a:lnTo>
                    <a:pt x="3139112" y="275670"/>
                  </a:lnTo>
                  <a:lnTo>
                    <a:pt x="3138531" y="263945"/>
                  </a:lnTo>
                  <a:lnTo>
                    <a:pt x="3140881" y="262658"/>
                  </a:lnTo>
                  <a:lnTo>
                    <a:pt x="3140881" y="261009"/>
                  </a:lnTo>
                  <a:lnTo>
                    <a:pt x="3138531" y="260271"/>
                  </a:lnTo>
                  <a:lnTo>
                    <a:pt x="3138531" y="255688"/>
                  </a:lnTo>
                  <a:lnTo>
                    <a:pt x="3139416" y="254864"/>
                  </a:lnTo>
                  <a:lnTo>
                    <a:pt x="3139555" y="253490"/>
                  </a:lnTo>
                  <a:lnTo>
                    <a:pt x="3135434" y="250040"/>
                  </a:lnTo>
                  <a:lnTo>
                    <a:pt x="3135434" y="246813"/>
                  </a:lnTo>
                  <a:lnTo>
                    <a:pt x="3136595" y="245250"/>
                  </a:lnTo>
                  <a:lnTo>
                    <a:pt x="3130401" y="237731"/>
                  </a:lnTo>
                  <a:lnTo>
                    <a:pt x="3130982" y="235808"/>
                  </a:lnTo>
                  <a:lnTo>
                    <a:pt x="3128908" y="233971"/>
                  </a:lnTo>
                  <a:lnTo>
                    <a:pt x="3127442" y="235619"/>
                  </a:lnTo>
                  <a:lnTo>
                    <a:pt x="3128328" y="237628"/>
                  </a:lnTo>
                  <a:lnTo>
                    <a:pt x="3126557" y="239087"/>
                  </a:lnTo>
                  <a:lnTo>
                    <a:pt x="3107587" y="159775"/>
                  </a:lnTo>
                  <a:cubicBezTo>
                    <a:pt x="3108860" y="159328"/>
                    <a:pt x="3109716" y="158556"/>
                    <a:pt x="3109716" y="157697"/>
                  </a:cubicBezTo>
                  <a:cubicBezTo>
                    <a:pt x="3109716" y="156633"/>
                    <a:pt x="3108445" y="155723"/>
                    <a:pt x="3106674" y="155380"/>
                  </a:cubicBezTo>
                  <a:lnTo>
                    <a:pt x="3106674" y="147380"/>
                  </a:lnTo>
                  <a:lnTo>
                    <a:pt x="3112648" y="147380"/>
                  </a:lnTo>
                  <a:lnTo>
                    <a:pt x="3112648" y="147723"/>
                  </a:lnTo>
                  <a:cubicBezTo>
                    <a:pt x="3112648" y="148101"/>
                    <a:pt x="3113146" y="148410"/>
                    <a:pt x="3113754" y="148410"/>
                  </a:cubicBezTo>
                  <a:cubicBezTo>
                    <a:pt x="3114362" y="148410"/>
                    <a:pt x="3114860" y="148101"/>
                    <a:pt x="3114860" y="147723"/>
                  </a:cubicBezTo>
                  <a:lnTo>
                    <a:pt x="3114860" y="147380"/>
                  </a:lnTo>
                  <a:cubicBezTo>
                    <a:pt x="3115690" y="147346"/>
                    <a:pt x="3116354" y="146934"/>
                    <a:pt x="3116354" y="146401"/>
                  </a:cubicBezTo>
                  <a:cubicBezTo>
                    <a:pt x="3116354" y="145869"/>
                    <a:pt x="3115690" y="145457"/>
                    <a:pt x="3114860" y="145440"/>
                  </a:cubicBezTo>
                  <a:cubicBezTo>
                    <a:pt x="3114860" y="145080"/>
                    <a:pt x="3114362" y="144788"/>
                    <a:pt x="3113754" y="144788"/>
                  </a:cubicBezTo>
                  <a:cubicBezTo>
                    <a:pt x="3113146" y="144788"/>
                    <a:pt x="3112676" y="145080"/>
                    <a:pt x="3112648" y="145440"/>
                  </a:cubicBezTo>
                  <a:lnTo>
                    <a:pt x="3106674" y="145440"/>
                  </a:lnTo>
                  <a:lnTo>
                    <a:pt x="3106674" y="141869"/>
                  </a:lnTo>
                  <a:cubicBezTo>
                    <a:pt x="3107311" y="141869"/>
                    <a:pt x="3107809" y="141561"/>
                    <a:pt x="3107809" y="141166"/>
                  </a:cubicBezTo>
                  <a:cubicBezTo>
                    <a:pt x="3107809" y="140771"/>
                    <a:pt x="3107311" y="140462"/>
                    <a:pt x="3106674" y="140462"/>
                  </a:cubicBezTo>
                  <a:lnTo>
                    <a:pt x="3106674" y="140273"/>
                  </a:lnTo>
                  <a:cubicBezTo>
                    <a:pt x="3106674" y="139723"/>
                    <a:pt x="3105956" y="139260"/>
                    <a:pt x="3105043" y="139260"/>
                  </a:cubicBezTo>
                  <a:cubicBezTo>
                    <a:pt x="3104131" y="139260"/>
                    <a:pt x="3103412" y="139723"/>
                    <a:pt x="3103412" y="140273"/>
                  </a:cubicBezTo>
                  <a:lnTo>
                    <a:pt x="3103412" y="140462"/>
                  </a:lnTo>
                  <a:lnTo>
                    <a:pt x="3103274" y="140462"/>
                  </a:lnTo>
                  <a:cubicBezTo>
                    <a:pt x="3102638" y="140462"/>
                    <a:pt x="3102140" y="140771"/>
                    <a:pt x="3102140" y="141166"/>
                  </a:cubicBezTo>
                  <a:cubicBezTo>
                    <a:pt x="3102140" y="141561"/>
                    <a:pt x="3102665" y="141869"/>
                    <a:pt x="3103274" y="141869"/>
                  </a:cubicBezTo>
                  <a:lnTo>
                    <a:pt x="3103412" y="141869"/>
                  </a:lnTo>
                  <a:lnTo>
                    <a:pt x="3103412" y="145440"/>
                  </a:lnTo>
                  <a:lnTo>
                    <a:pt x="3097549" y="145440"/>
                  </a:lnTo>
                  <a:cubicBezTo>
                    <a:pt x="3097439" y="145062"/>
                    <a:pt x="3096913" y="144788"/>
                    <a:pt x="3096277" y="144788"/>
                  </a:cubicBezTo>
                  <a:cubicBezTo>
                    <a:pt x="3095641" y="144788"/>
                    <a:pt x="3095115" y="145080"/>
                    <a:pt x="3095005" y="145457"/>
                  </a:cubicBezTo>
                  <a:cubicBezTo>
                    <a:pt x="3094259" y="145543"/>
                    <a:pt x="3093706" y="145938"/>
                    <a:pt x="3093706" y="146419"/>
                  </a:cubicBezTo>
                  <a:cubicBezTo>
                    <a:pt x="3093706" y="146899"/>
                    <a:pt x="3094259" y="147294"/>
                    <a:pt x="3094977" y="147380"/>
                  </a:cubicBezTo>
                  <a:lnTo>
                    <a:pt x="3094977" y="147414"/>
                  </a:lnTo>
                  <a:cubicBezTo>
                    <a:pt x="3094977" y="147861"/>
                    <a:pt x="3095558" y="148221"/>
                    <a:pt x="3096277" y="148221"/>
                  </a:cubicBezTo>
                  <a:cubicBezTo>
                    <a:pt x="3096996" y="148221"/>
                    <a:pt x="3097577" y="147861"/>
                    <a:pt x="3097577" y="147414"/>
                  </a:cubicBezTo>
                  <a:cubicBezTo>
                    <a:pt x="3097577" y="147414"/>
                    <a:pt x="3103412" y="147397"/>
                    <a:pt x="3103412" y="147397"/>
                  </a:cubicBezTo>
                  <a:lnTo>
                    <a:pt x="3103412" y="155380"/>
                  </a:lnTo>
                  <a:cubicBezTo>
                    <a:pt x="3101559" y="155723"/>
                    <a:pt x="3100259" y="156651"/>
                    <a:pt x="3100259" y="157732"/>
                  </a:cubicBezTo>
                  <a:cubicBezTo>
                    <a:pt x="3100259" y="158539"/>
                    <a:pt x="3101006" y="159260"/>
                    <a:pt x="3102140" y="159723"/>
                  </a:cubicBezTo>
                  <a:lnTo>
                    <a:pt x="3083142" y="239139"/>
                  </a:lnTo>
                  <a:lnTo>
                    <a:pt x="3081372" y="237679"/>
                  </a:lnTo>
                  <a:lnTo>
                    <a:pt x="3082257" y="235671"/>
                  </a:lnTo>
                  <a:lnTo>
                    <a:pt x="3080791" y="234023"/>
                  </a:lnTo>
                  <a:lnTo>
                    <a:pt x="3078717" y="235860"/>
                  </a:lnTo>
                  <a:lnTo>
                    <a:pt x="3079298" y="237783"/>
                  </a:lnTo>
                  <a:lnTo>
                    <a:pt x="3073104" y="245302"/>
                  </a:lnTo>
                  <a:lnTo>
                    <a:pt x="3074293" y="246864"/>
                  </a:lnTo>
                  <a:lnTo>
                    <a:pt x="3074293" y="250091"/>
                  </a:lnTo>
                  <a:lnTo>
                    <a:pt x="3070145" y="253542"/>
                  </a:lnTo>
                  <a:lnTo>
                    <a:pt x="3070310" y="254915"/>
                  </a:lnTo>
                  <a:lnTo>
                    <a:pt x="3071196" y="255739"/>
                  </a:lnTo>
                  <a:lnTo>
                    <a:pt x="3071196" y="260323"/>
                  </a:lnTo>
                  <a:lnTo>
                    <a:pt x="3068845" y="261061"/>
                  </a:lnTo>
                  <a:lnTo>
                    <a:pt x="3068845" y="262709"/>
                  </a:lnTo>
                  <a:lnTo>
                    <a:pt x="3071196" y="263997"/>
                  </a:lnTo>
                  <a:lnTo>
                    <a:pt x="3070615" y="275722"/>
                  </a:lnTo>
                  <a:lnTo>
                    <a:pt x="3068984" y="276546"/>
                  </a:lnTo>
                  <a:lnTo>
                    <a:pt x="3068984" y="278297"/>
                  </a:lnTo>
                  <a:lnTo>
                    <a:pt x="3070615" y="279584"/>
                  </a:lnTo>
                  <a:lnTo>
                    <a:pt x="3069564" y="320185"/>
                  </a:lnTo>
                  <a:lnTo>
                    <a:pt x="3060715" y="323395"/>
                  </a:lnTo>
                  <a:lnTo>
                    <a:pt x="3061876" y="326142"/>
                  </a:lnTo>
                  <a:lnTo>
                    <a:pt x="3063508" y="326142"/>
                  </a:lnTo>
                  <a:lnTo>
                    <a:pt x="3060550" y="331189"/>
                  </a:lnTo>
                  <a:lnTo>
                    <a:pt x="3057895" y="331189"/>
                  </a:lnTo>
                  <a:lnTo>
                    <a:pt x="3057895" y="339893"/>
                  </a:lnTo>
                  <a:lnTo>
                    <a:pt x="3044455" y="344013"/>
                  </a:lnTo>
                  <a:lnTo>
                    <a:pt x="3044455" y="337421"/>
                  </a:lnTo>
                  <a:lnTo>
                    <a:pt x="3042381" y="337335"/>
                  </a:lnTo>
                  <a:lnTo>
                    <a:pt x="3040473" y="333850"/>
                  </a:lnTo>
                  <a:lnTo>
                    <a:pt x="3041220" y="332940"/>
                  </a:lnTo>
                  <a:lnTo>
                    <a:pt x="3040334" y="332116"/>
                  </a:lnTo>
                  <a:lnTo>
                    <a:pt x="3041220" y="330932"/>
                  </a:lnTo>
                  <a:lnTo>
                    <a:pt x="3039450" y="329558"/>
                  </a:lnTo>
                  <a:lnTo>
                    <a:pt x="3037542" y="331017"/>
                  </a:lnTo>
                  <a:lnTo>
                    <a:pt x="3038288" y="332202"/>
                  </a:lnTo>
                  <a:lnTo>
                    <a:pt x="3037404" y="333112"/>
                  </a:lnTo>
                  <a:lnTo>
                    <a:pt x="3037984" y="333472"/>
                  </a:lnTo>
                  <a:lnTo>
                    <a:pt x="3036518" y="336957"/>
                  </a:lnTo>
                  <a:lnTo>
                    <a:pt x="3034444" y="336957"/>
                  </a:lnTo>
                  <a:lnTo>
                    <a:pt x="3034444" y="347103"/>
                  </a:lnTo>
                  <a:lnTo>
                    <a:pt x="2991140" y="360407"/>
                  </a:lnTo>
                  <a:lnTo>
                    <a:pt x="2990890" y="357215"/>
                  </a:lnTo>
                  <a:lnTo>
                    <a:pt x="2992661" y="355841"/>
                  </a:lnTo>
                  <a:lnTo>
                    <a:pt x="2986300" y="347034"/>
                  </a:lnTo>
                  <a:lnTo>
                    <a:pt x="2987628" y="346022"/>
                  </a:lnTo>
                  <a:lnTo>
                    <a:pt x="2985277" y="345472"/>
                  </a:lnTo>
                  <a:lnTo>
                    <a:pt x="2986466" y="344373"/>
                  </a:lnTo>
                  <a:lnTo>
                    <a:pt x="2984558" y="341987"/>
                  </a:lnTo>
                  <a:lnTo>
                    <a:pt x="2982346" y="344373"/>
                  </a:lnTo>
                  <a:lnTo>
                    <a:pt x="2983534" y="345661"/>
                  </a:lnTo>
                  <a:lnTo>
                    <a:pt x="2981765" y="346125"/>
                  </a:lnTo>
                  <a:lnTo>
                    <a:pt x="2982484" y="346863"/>
                  </a:lnTo>
                  <a:lnTo>
                    <a:pt x="2980410" y="349712"/>
                  </a:lnTo>
                  <a:lnTo>
                    <a:pt x="2979083" y="349712"/>
                  </a:lnTo>
                  <a:lnTo>
                    <a:pt x="2975239" y="355858"/>
                  </a:lnTo>
                  <a:lnTo>
                    <a:pt x="2976732" y="356854"/>
                  </a:lnTo>
                  <a:lnTo>
                    <a:pt x="2976732" y="361523"/>
                  </a:lnTo>
                  <a:lnTo>
                    <a:pt x="2972308" y="362433"/>
                  </a:lnTo>
                  <a:lnTo>
                    <a:pt x="2972308" y="364631"/>
                  </a:lnTo>
                  <a:lnTo>
                    <a:pt x="2973746" y="365764"/>
                  </a:lnTo>
                  <a:lnTo>
                    <a:pt x="2970538" y="366742"/>
                  </a:lnTo>
                  <a:lnTo>
                    <a:pt x="2970538" y="409901"/>
                  </a:lnTo>
                  <a:lnTo>
                    <a:pt x="2966113" y="413471"/>
                  </a:lnTo>
                  <a:lnTo>
                    <a:pt x="2957375" y="521642"/>
                  </a:lnTo>
                  <a:lnTo>
                    <a:pt x="2952176" y="171019"/>
                  </a:lnTo>
                  <a:lnTo>
                    <a:pt x="2946645" y="171019"/>
                  </a:lnTo>
                  <a:lnTo>
                    <a:pt x="2946645" y="160135"/>
                  </a:lnTo>
                  <a:lnTo>
                    <a:pt x="2952176" y="160135"/>
                  </a:lnTo>
                  <a:lnTo>
                    <a:pt x="2952176" y="149818"/>
                  </a:lnTo>
                  <a:lnTo>
                    <a:pt x="2868138" y="149818"/>
                  </a:lnTo>
                  <a:lnTo>
                    <a:pt x="2868138" y="132633"/>
                  </a:lnTo>
                  <a:lnTo>
                    <a:pt x="2767508" y="132633"/>
                  </a:lnTo>
                  <a:lnTo>
                    <a:pt x="2767508" y="149818"/>
                  </a:lnTo>
                  <a:lnTo>
                    <a:pt x="2683469" y="149818"/>
                  </a:lnTo>
                  <a:lnTo>
                    <a:pt x="2683469" y="160135"/>
                  </a:lnTo>
                  <a:lnTo>
                    <a:pt x="2689940" y="160135"/>
                  </a:lnTo>
                  <a:lnTo>
                    <a:pt x="2689940" y="171019"/>
                  </a:lnTo>
                  <a:lnTo>
                    <a:pt x="2683469" y="171019"/>
                  </a:lnTo>
                  <a:lnTo>
                    <a:pt x="2678851" y="354399"/>
                  </a:lnTo>
                  <a:lnTo>
                    <a:pt x="2582728" y="354399"/>
                  </a:lnTo>
                  <a:lnTo>
                    <a:pt x="2579133" y="99398"/>
                  </a:lnTo>
                  <a:lnTo>
                    <a:pt x="2536658" y="99398"/>
                  </a:lnTo>
                  <a:lnTo>
                    <a:pt x="2536658" y="86213"/>
                  </a:lnTo>
                  <a:lnTo>
                    <a:pt x="2529275" y="86213"/>
                  </a:lnTo>
                  <a:lnTo>
                    <a:pt x="2529275" y="99398"/>
                  </a:lnTo>
                  <a:lnTo>
                    <a:pt x="2491390" y="99398"/>
                  </a:lnTo>
                  <a:lnTo>
                    <a:pt x="2491390" y="90797"/>
                  </a:lnTo>
                  <a:lnTo>
                    <a:pt x="2411057" y="90797"/>
                  </a:lnTo>
                  <a:lnTo>
                    <a:pt x="2411057" y="99398"/>
                  </a:lnTo>
                  <a:lnTo>
                    <a:pt x="2324254" y="99398"/>
                  </a:lnTo>
                  <a:lnTo>
                    <a:pt x="2320603" y="335258"/>
                  </a:lnTo>
                  <a:cubicBezTo>
                    <a:pt x="2337997" y="330606"/>
                    <a:pt x="2360397" y="327017"/>
                    <a:pt x="2379588" y="327017"/>
                  </a:cubicBezTo>
                  <a:cubicBezTo>
                    <a:pt x="2408541" y="327017"/>
                    <a:pt x="2436470" y="332511"/>
                    <a:pt x="2460307" y="342880"/>
                  </a:cubicBezTo>
                  <a:cubicBezTo>
                    <a:pt x="2480937" y="351841"/>
                    <a:pt x="2497418" y="363961"/>
                    <a:pt x="2508369" y="378124"/>
                  </a:cubicBezTo>
                  <a:lnTo>
                    <a:pt x="2534723" y="378124"/>
                  </a:lnTo>
                  <a:lnTo>
                    <a:pt x="2534723" y="395669"/>
                  </a:lnTo>
                  <a:lnTo>
                    <a:pt x="2583171" y="395669"/>
                  </a:lnTo>
                  <a:lnTo>
                    <a:pt x="2583171" y="395154"/>
                  </a:lnTo>
                  <a:lnTo>
                    <a:pt x="2583254" y="395154"/>
                  </a:lnTo>
                  <a:cubicBezTo>
                    <a:pt x="2583254" y="395154"/>
                    <a:pt x="2583171" y="389351"/>
                    <a:pt x="2583171" y="389351"/>
                  </a:cubicBezTo>
                  <a:lnTo>
                    <a:pt x="2677938" y="389351"/>
                  </a:lnTo>
                  <a:lnTo>
                    <a:pt x="2677773" y="395686"/>
                  </a:lnTo>
                  <a:lnTo>
                    <a:pt x="2871566" y="395686"/>
                  </a:lnTo>
                  <a:lnTo>
                    <a:pt x="2865981" y="520852"/>
                  </a:lnTo>
                  <a:lnTo>
                    <a:pt x="2857657" y="404321"/>
                  </a:lnTo>
                  <a:lnTo>
                    <a:pt x="2416615" y="404321"/>
                  </a:lnTo>
                  <a:lnTo>
                    <a:pt x="2409509" y="522037"/>
                  </a:lnTo>
                  <a:lnTo>
                    <a:pt x="2403342" y="396613"/>
                  </a:lnTo>
                  <a:lnTo>
                    <a:pt x="2520813" y="396613"/>
                  </a:lnTo>
                  <a:lnTo>
                    <a:pt x="2520813" y="386776"/>
                  </a:lnTo>
                  <a:lnTo>
                    <a:pt x="2499299" y="386776"/>
                  </a:lnTo>
                  <a:cubicBezTo>
                    <a:pt x="2479692" y="356751"/>
                    <a:pt x="2433484" y="335670"/>
                    <a:pt x="2379560" y="335670"/>
                  </a:cubicBezTo>
                  <a:cubicBezTo>
                    <a:pt x="2325636" y="335670"/>
                    <a:pt x="2279428" y="356768"/>
                    <a:pt x="2259821" y="386776"/>
                  </a:cubicBezTo>
                  <a:lnTo>
                    <a:pt x="2240520" y="386776"/>
                  </a:lnTo>
                  <a:lnTo>
                    <a:pt x="2231338" y="523479"/>
                  </a:lnTo>
                  <a:lnTo>
                    <a:pt x="2223734" y="415068"/>
                  </a:lnTo>
                  <a:lnTo>
                    <a:pt x="2215189" y="415480"/>
                  </a:lnTo>
                  <a:lnTo>
                    <a:pt x="2215189" y="411737"/>
                  </a:lnTo>
                  <a:lnTo>
                    <a:pt x="2090002" y="411737"/>
                  </a:lnTo>
                  <a:lnTo>
                    <a:pt x="2090002" y="393609"/>
                  </a:lnTo>
                  <a:lnTo>
                    <a:pt x="2025903" y="393609"/>
                  </a:lnTo>
                  <a:lnTo>
                    <a:pt x="2025903" y="230727"/>
                  </a:lnTo>
                  <a:lnTo>
                    <a:pt x="2023884" y="230727"/>
                  </a:lnTo>
                  <a:lnTo>
                    <a:pt x="2023884" y="225731"/>
                  </a:lnTo>
                  <a:lnTo>
                    <a:pt x="2024299" y="225010"/>
                  </a:lnTo>
                  <a:lnTo>
                    <a:pt x="2024299" y="223911"/>
                  </a:lnTo>
                  <a:lnTo>
                    <a:pt x="2023469" y="223499"/>
                  </a:lnTo>
                  <a:lnTo>
                    <a:pt x="2023469" y="221456"/>
                  </a:lnTo>
                  <a:lnTo>
                    <a:pt x="2022611" y="221199"/>
                  </a:lnTo>
                  <a:lnTo>
                    <a:pt x="2022611" y="209800"/>
                  </a:lnTo>
                  <a:lnTo>
                    <a:pt x="2024299" y="208289"/>
                  </a:lnTo>
                  <a:lnTo>
                    <a:pt x="2024299" y="204495"/>
                  </a:lnTo>
                  <a:lnTo>
                    <a:pt x="2022611" y="201525"/>
                  </a:lnTo>
                  <a:lnTo>
                    <a:pt x="2021616" y="201525"/>
                  </a:lnTo>
                  <a:lnTo>
                    <a:pt x="2021616" y="196942"/>
                  </a:lnTo>
                  <a:lnTo>
                    <a:pt x="2015062" y="194178"/>
                  </a:lnTo>
                  <a:lnTo>
                    <a:pt x="2012131" y="194178"/>
                  </a:lnTo>
                  <a:lnTo>
                    <a:pt x="2012131" y="193388"/>
                  </a:lnTo>
                  <a:lnTo>
                    <a:pt x="2010444" y="193028"/>
                  </a:lnTo>
                  <a:lnTo>
                    <a:pt x="2010444" y="190058"/>
                  </a:lnTo>
                  <a:lnTo>
                    <a:pt x="2008758" y="189131"/>
                  </a:lnTo>
                  <a:lnTo>
                    <a:pt x="2008758" y="186882"/>
                  </a:lnTo>
                  <a:lnTo>
                    <a:pt x="2007486" y="186882"/>
                  </a:lnTo>
                  <a:lnTo>
                    <a:pt x="2007486" y="188444"/>
                  </a:lnTo>
                  <a:lnTo>
                    <a:pt x="2003614" y="186315"/>
                  </a:lnTo>
                  <a:lnTo>
                    <a:pt x="2003614" y="159757"/>
                  </a:lnTo>
                  <a:lnTo>
                    <a:pt x="2000102" y="156736"/>
                  </a:lnTo>
                  <a:lnTo>
                    <a:pt x="2000102" y="153200"/>
                  </a:lnTo>
                  <a:lnTo>
                    <a:pt x="1998747" y="151792"/>
                  </a:lnTo>
                  <a:lnTo>
                    <a:pt x="1999660" y="151002"/>
                  </a:lnTo>
                  <a:lnTo>
                    <a:pt x="1998249" y="149131"/>
                  </a:lnTo>
                  <a:lnTo>
                    <a:pt x="1996811" y="150436"/>
                  </a:lnTo>
                  <a:lnTo>
                    <a:pt x="1994709" y="149131"/>
                  </a:lnTo>
                  <a:lnTo>
                    <a:pt x="1994709" y="146573"/>
                  </a:lnTo>
                  <a:lnTo>
                    <a:pt x="1992857" y="145423"/>
                  </a:lnTo>
                  <a:lnTo>
                    <a:pt x="1992857" y="142607"/>
                  </a:lnTo>
                  <a:lnTo>
                    <a:pt x="1989152" y="140462"/>
                  </a:lnTo>
                  <a:lnTo>
                    <a:pt x="1984118" y="140462"/>
                  </a:lnTo>
                  <a:lnTo>
                    <a:pt x="1983455" y="140050"/>
                  </a:lnTo>
                  <a:lnTo>
                    <a:pt x="1983455" y="126247"/>
                  </a:lnTo>
                  <a:lnTo>
                    <a:pt x="1978339" y="123792"/>
                  </a:lnTo>
                  <a:lnTo>
                    <a:pt x="1978339" y="122917"/>
                  </a:lnTo>
                  <a:lnTo>
                    <a:pt x="1975380" y="121938"/>
                  </a:lnTo>
                  <a:lnTo>
                    <a:pt x="1975380" y="106419"/>
                  </a:lnTo>
                  <a:lnTo>
                    <a:pt x="1974550" y="106419"/>
                  </a:lnTo>
                  <a:lnTo>
                    <a:pt x="1974550" y="108428"/>
                  </a:lnTo>
                  <a:cubicBezTo>
                    <a:pt x="1973002" y="107896"/>
                    <a:pt x="1971398" y="108102"/>
                    <a:pt x="1969711" y="108204"/>
                  </a:cubicBezTo>
                  <a:cubicBezTo>
                    <a:pt x="1968383" y="108291"/>
                    <a:pt x="1967195" y="107947"/>
                    <a:pt x="1965895" y="107982"/>
                  </a:cubicBezTo>
                  <a:cubicBezTo>
                    <a:pt x="1965065" y="107998"/>
                    <a:pt x="1964816" y="108256"/>
                    <a:pt x="1964208" y="108582"/>
                  </a:cubicBezTo>
                  <a:cubicBezTo>
                    <a:pt x="1965480" y="109046"/>
                    <a:pt x="1965314" y="109938"/>
                    <a:pt x="1965314" y="110728"/>
                  </a:cubicBezTo>
                  <a:cubicBezTo>
                    <a:pt x="1966254" y="110471"/>
                    <a:pt x="1967277" y="110642"/>
                    <a:pt x="1968163" y="110882"/>
                  </a:cubicBezTo>
                  <a:cubicBezTo>
                    <a:pt x="1969296" y="111192"/>
                    <a:pt x="1970182" y="111518"/>
                    <a:pt x="1971426" y="111535"/>
                  </a:cubicBezTo>
                  <a:cubicBezTo>
                    <a:pt x="1972283" y="111535"/>
                    <a:pt x="1972836" y="111483"/>
                    <a:pt x="1973527" y="111827"/>
                  </a:cubicBezTo>
                  <a:cubicBezTo>
                    <a:pt x="1973693" y="111912"/>
                    <a:pt x="1974163" y="112222"/>
                    <a:pt x="1974523" y="112290"/>
                  </a:cubicBezTo>
                  <a:lnTo>
                    <a:pt x="1974523" y="113080"/>
                  </a:lnTo>
                  <a:cubicBezTo>
                    <a:pt x="1973693" y="112719"/>
                    <a:pt x="1972117" y="112548"/>
                    <a:pt x="1971370" y="112599"/>
                  </a:cubicBezTo>
                  <a:cubicBezTo>
                    <a:pt x="1970430" y="112668"/>
                    <a:pt x="1970209" y="113286"/>
                    <a:pt x="1969296" y="113475"/>
                  </a:cubicBezTo>
                  <a:cubicBezTo>
                    <a:pt x="1968466" y="113629"/>
                    <a:pt x="1967720" y="113372"/>
                    <a:pt x="1967250" y="113887"/>
                  </a:cubicBezTo>
                  <a:cubicBezTo>
                    <a:pt x="1967554" y="114076"/>
                    <a:pt x="1967692" y="114385"/>
                    <a:pt x="1967637" y="114677"/>
                  </a:cubicBezTo>
                  <a:cubicBezTo>
                    <a:pt x="1969047" y="114728"/>
                    <a:pt x="1970347" y="114591"/>
                    <a:pt x="1971619" y="115054"/>
                  </a:cubicBezTo>
                  <a:cubicBezTo>
                    <a:pt x="1972338" y="115329"/>
                    <a:pt x="1972891" y="115397"/>
                    <a:pt x="1973748" y="115295"/>
                  </a:cubicBezTo>
                  <a:cubicBezTo>
                    <a:pt x="1973997" y="115260"/>
                    <a:pt x="1974273" y="115192"/>
                    <a:pt x="1974523" y="115157"/>
                  </a:cubicBezTo>
                  <a:lnTo>
                    <a:pt x="1974523" y="116513"/>
                  </a:lnTo>
                  <a:cubicBezTo>
                    <a:pt x="1974163" y="116307"/>
                    <a:pt x="1973748" y="116204"/>
                    <a:pt x="1973195" y="116136"/>
                  </a:cubicBezTo>
                  <a:cubicBezTo>
                    <a:pt x="1972283" y="116033"/>
                    <a:pt x="1971758" y="115981"/>
                    <a:pt x="1970928" y="115724"/>
                  </a:cubicBezTo>
                  <a:cubicBezTo>
                    <a:pt x="1970209" y="115518"/>
                    <a:pt x="1969047" y="115329"/>
                    <a:pt x="1968245" y="115466"/>
                  </a:cubicBezTo>
                  <a:cubicBezTo>
                    <a:pt x="1967637" y="115569"/>
                    <a:pt x="1967831" y="115998"/>
                    <a:pt x="1967858" y="116393"/>
                  </a:cubicBezTo>
                  <a:cubicBezTo>
                    <a:pt x="1969656" y="116617"/>
                    <a:pt x="1969241" y="118385"/>
                    <a:pt x="1971121" y="118471"/>
                  </a:cubicBezTo>
                  <a:cubicBezTo>
                    <a:pt x="1972061" y="118522"/>
                    <a:pt x="1972891" y="118591"/>
                    <a:pt x="1973720" y="118882"/>
                  </a:cubicBezTo>
                  <a:cubicBezTo>
                    <a:pt x="1973997" y="118986"/>
                    <a:pt x="1974246" y="119174"/>
                    <a:pt x="1974495" y="119329"/>
                  </a:cubicBezTo>
                  <a:lnTo>
                    <a:pt x="1974495" y="121956"/>
                  </a:lnTo>
                  <a:lnTo>
                    <a:pt x="1971702" y="122882"/>
                  </a:lnTo>
                  <a:lnTo>
                    <a:pt x="1971702" y="123775"/>
                  </a:lnTo>
                  <a:lnTo>
                    <a:pt x="1966586" y="126213"/>
                  </a:lnTo>
                  <a:lnTo>
                    <a:pt x="1966586" y="140016"/>
                  </a:lnTo>
                  <a:lnTo>
                    <a:pt x="1965923" y="140427"/>
                  </a:lnTo>
                  <a:lnTo>
                    <a:pt x="1960890" y="140427"/>
                  </a:lnTo>
                  <a:lnTo>
                    <a:pt x="1957212" y="142556"/>
                  </a:lnTo>
                  <a:lnTo>
                    <a:pt x="1957212" y="145371"/>
                  </a:lnTo>
                  <a:lnTo>
                    <a:pt x="1955359" y="146522"/>
                  </a:lnTo>
                  <a:lnTo>
                    <a:pt x="1955359" y="149062"/>
                  </a:lnTo>
                  <a:lnTo>
                    <a:pt x="1953257" y="150367"/>
                  </a:lnTo>
                  <a:lnTo>
                    <a:pt x="1951820" y="149062"/>
                  </a:lnTo>
                  <a:lnTo>
                    <a:pt x="1950409" y="150934"/>
                  </a:lnTo>
                  <a:lnTo>
                    <a:pt x="1951322" y="151706"/>
                  </a:lnTo>
                  <a:lnTo>
                    <a:pt x="1949966" y="153114"/>
                  </a:lnTo>
                  <a:lnTo>
                    <a:pt x="1949966" y="156651"/>
                  </a:lnTo>
                  <a:lnTo>
                    <a:pt x="1946455" y="159672"/>
                  </a:lnTo>
                  <a:lnTo>
                    <a:pt x="1946455" y="186230"/>
                  </a:lnTo>
                  <a:lnTo>
                    <a:pt x="1942583" y="188358"/>
                  </a:lnTo>
                  <a:lnTo>
                    <a:pt x="1942583" y="186813"/>
                  </a:lnTo>
                  <a:lnTo>
                    <a:pt x="1941339" y="186813"/>
                  </a:lnTo>
                  <a:lnTo>
                    <a:pt x="1941339" y="189062"/>
                  </a:lnTo>
                  <a:lnTo>
                    <a:pt x="1939652" y="189989"/>
                  </a:lnTo>
                  <a:lnTo>
                    <a:pt x="1939652" y="192959"/>
                  </a:lnTo>
                  <a:lnTo>
                    <a:pt x="1937965" y="193336"/>
                  </a:lnTo>
                  <a:lnTo>
                    <a:pt x="1937965" y="194109"/>
                  </a:lnTo>
                  <a:lnTo>
                    <a:pt x="1935034" y="194109"/>
                  </a:lnTo>
                  <a:lnTo>
                    <a:pt x="1928480" y="196873"/>
                  </a:lnTo>
                  <a:lnTo>
                    <a:pt x="1928480" y="201456"/>
                  </a:lnTo>
                  <a:lnTo>
                    <a:pt x="1927484" y="201456"/>
                  </a:lnTo>
                  <a:lnTo>
                    <a:pt x="1925797" y="204426"/>
                  </a:lnTo>
                  <a:lnTo>
                    <a:pt x="1925797" y="208238"/>
                  </a:lnTo>
                  <a:lnTo>
                    <a:pt x="1927484" y="209749"/>
                  </a:lnTo>
                  <a:lnTo>
                    <a:pt x="1927484" y="221148"/>
                  </a:lnTo>
                  <a:lnTo>
                    <a:pt x="1926655" y="221405"/>
                  </a:lnTo>
                  <a:lnTo>
                    <a:pt x="1926655" y="223430"/>
                  </a:lnTo>
                  <a:lnTo>
                    <a:pt x="1925825" y="223843"/>
                  </a:lnTo>
                  <a:lnTo>
                    <a:pt x="1925825" y="224941"/>
                  </a:lnTo>
                  <a:lnTo>
                    <a:pt x="1926240" y="225662"/>
                  </a:lnTo>
                  <a:lnTo>
                    <a:pt x="1926240" y="230658"/>
                  </a:lnTo>
                  <a:lnTo>
                    <a:pt x="1924221" y="230658"/>
                  </a:lnTo>
                  <a:lnTo>
                    <a:pt x="1924221" y="393541"/>
                  </a:lnTo>
                  <a:lnTo>
                    <a:pt x="1860121" y="393541"/>
                  </a:lnTo>
                  <a:lnTo>
                    <a:pt x="1860121" y="411669"/>
                  </a:lnTo>
                  <a:lnTo>
                    <a:pt x="1734934" y="411669"/>
                  </a:lnTo>
                  <a:lnTo>
                    <a:pt x="1734934" y="415411"/>
                  </a:lnTo>
                  <a:lnTo>
                    <a:pt x="1726141" y="415531"/>
                  </a:lnTo>
                  <a:lnTo>
                    <a:pt x="1721966" y="520011"/>
                  </a:lnTo>
                  <a:lnTo>
                    <a:pt x="1711347" y="279859"/>
                  </a:lnTo>
                  <a:lnTo>
                    <a:pt x="1716241" y="276357"/>
                  </a:lnTo>
                  <a:lnTo>
                    <a:pt x="1713780" y="275550"/>
                  </a:lnTo>
                  <a:lnTo>
                    <a:pt x="1713449" y="268872"/>
                  </a:lnTo>
                  <a:lnTo>
                    <a:pt x="1715246" y="267550"/>
                  </a:lnTo>
                  <a:lnTo>
                    <a:pt x="1711319" y="264718"/>
                  </a:lnTo>
                  <a:lnTo>
                    <a:pt x="1706424" y="264718"/>
                  </a:lnTo>
                  <a:lnTo>
                    <a:pt x="1706424" y="269576"/>
                  </a:lnTo>
                  <a:lnTo>
                    <a:pt x="1699263" y="269576"/>
                  </a:lnTo>
                  <a:lnTo>
                    <a:pt x="1699263" y="264718"/>
                  </a:lnTo>
                  <a:lnTo>
                    <a:pt x="1691104" y="264718"/>
                  </a:lnTo>
                  <a:lnTo>
                    <a:pt x="1691104" y="269576"/>
                  </a:lnTo>
                  <a:lnTo>
                    <a:pt x="1683445" y="269576"/>
                  </a:lnTo>
                  <a:lnTo>
                    <a:pt x="1683445" y="264718"/>
                  </a:lnTo>
                  <a:lnTo>
                    <a:pt x="1675287" y="264718"/>
                  </a:lnTo>
                  <a:lnTo>
                    <a:pt x="1675287" y="269576"/>
                  </a:lnTo>
                  <a:lnTo>
                    <a:pt x="1668594" y="269576"/>
                  </a:lnTo>
                  <a:lnTo>
                    <a:pt x="1668594" y="264718"/>
                  </a:lnTo>
                  <a:lnTo>
                    <a:pt x="1659774" y="264718"/>
                  </a:lnTo>
                  <a:lnTo>
                    <a:pt x="1659774" y="269576"/>
                  </a:lnTo>
                  <a:lnTo>
                    <a:pt x="1653413" y="269576"/>
                  </a:lnTo>
                  <a:lnTo>
                    <a:pt x="1653413" y="264718"/>
                  </a:lnTo>
                  <a:lnTo>
                    <a:pt x="1645090" y="264718"/>
                  </a:lnTo>
                  <a:lnTo>
                    <a:pt x="1645090" y="269576"/>
                  </a:lnTo>
                  <a:lnTo>
                    <a:pt x="1639393" y="269576"/>
                  </a:lnTo>
                  <a:lnTo>
                    <a:pt x="1639393" y="264718"/>
                  </a:lnTo>
                  <a:lnTo>
                    <a:pt x="1630904" y="264718"/>
                  </a:lnTo>
                  <a:lnTo>
                    <a:pt x="1630904" y="269576"/>
                  </a:lnTo>
                  <a:lnTo>
                    <a:pt x="1624544" y="269576"/>
                  </a:lnTo>
                  <a:lnTo>
                    <a:pt x="1624544" y="269473"/>
                  </a:lnTo>
                  <a:lnTo>
                    <a:pt x="1623714" y="269473"/>
                  </a:lnTo>
                  <a:lnTo>
                    <a:pt x="1623714" y="279189"/>
                  </a:lnTo>
                  <a:lnTo>
                    <a:pt x="1618515" y="413609"/>
                  </a:lnTo>
                  <a:lnTo>
                    <a:pt x="1616385" y="266160"/>
                  </a:lnTo>
                  <a:lnTo>
                    <a:pt x="1620782" y="261508"/>
                  </a:lnTo>
                  <a:lnTo>
                    <a:pt x="1617602" y="259310"/>
                  </a:lnTo>
                  <a:lnTo>
                    <a:pt x="1617602" y="249748"/>
                  </a:lnTo>
                  <a:lnTo>
                    <a:pt x="1619317" y="248374"/>
                  </a:lnTo>
                  <a:lnTo>
                    <a:pt x="1616026" y="245645"/>
                  </a:lnTo>
                  <a:lnTo>
                    <a:pt x="1612237" y="244666"/>
                  </a:lnTo>
                  <a:lnTo>
                    <a:pt x="1609195" y="246109"/>
                  </a:lnTo>
                  <a:lnTo>
                    <a:pt x="1606735" y="243757"/>
                  </a:lnTo>
                  <a:lnTo>
                    <a:pt x="1600983" y="242847"/>
                  </a:lnTo>
                  <a:lnTo>
                    <a:pt x="1597941" y="244598"/>
                  </a:lnTo>
                  <a:lnTo>
                    <a:pt x="1595369" y="242177"/>
                  </a:lnTo>
                  <a:lnTo>
                    <a:pt x="1592438" y="241576"/>
                  </a:lnTo>
                  <a:lnTo>
                    <a:pt x="1586686" y="241576"/>
                  </a:lnTo>
                  <a:lnTo>
                    <a:pt x="1586686" y="248169"/>
                  </a:lnTo>
                  <a:lnTo>
                    <a:pt x="1578500" y="248014"/>
                  </a:lnTo>
                  <a:lnTo>
                    <a:pt x="1578500" y="241559"/>
                  </a:lnTo>
                  <a:lnTo>
                    <a:pt x="1568352" y="241559"/>
                  </a:lnTo>
                  <a:lnTo>
                    <a:pt x="1568213" y="247619"/>
                  </a:lnTo>
                  <a:lnTo>
                    <a:pt x="1560388" y="247465"/>
                  </a:lnTo>
                  <a:lnTo>
                    <a:pt x="1560388" y="241542"/>
                  </a:lnTo>
                  <a:lnTo>
                    <a:pt x="1551815" y="242074"/>
                  </a:lnTo>
                  <a:lnTo>
                    <a:pt x="1548773" y="245182"/>
                  </a:lnTo>
                  <a:lnTo>
                    <a:pt x="1545593" y="243207"/>
                  </a:lnTo>
                  <a:lnTo>
                    <a:pt x="1538486" y="243963"/>
                  </a:lnTo>
                  <a:lnTo>
                    <a:pt x="1535804" y="246915"/>
                  </a:lnTo>
                  <a:lnTo>
                    <a:pt x="1532513" y="244941"/>
                  </a:lnTo>
                  <a:lnTo>
                    <a:pt x="1528338" y="245405"/>
                  </a:lnTo>
                  <a:lnTo>
                    <a:pt x="1524908" y="248443"/>
                  </a:lnTo>
                  <a:lnTo>
                    <a:pt x="1526125" y="249439"/>
                  </a:lnTo>
                  <a:lnTo>
                    <a:pt x="1526319" y="251859"/>
                  </a:lnTo>
                  <a:lnTo>
                    <a:pt x="1526319" y="259448"/>
                  </a:lnTo>
                  <a:lnTo>
                    <a:pt x="1524908" y="260374"/>
                  </a:lnTo>
                  <a:lnTo>
                    <a:pt x="1523084" y="265834"/>
                  </a:lnTo>
                  <a:lnTo>
                    <a:pt x="1528338" y="268340"/>
                  </a:lnTo>
                  <a:lnTo>
                    <a:pt x="1523637" y="448080"/>
                  </a:lnTo>
                  <a:lnTo>
                    <a:pt x="1523084" y="271602"/>
                  </a:lnTo>
                  <a:lnTo>
                    <a:pt x="1515893" y="266949"/>
                  </a:lnTo>
                  <a:lnTo>
                    <a:pt x="1519046" y="259464"/>
                  </a:lnTo>
                  <a:lnTo>
                    <a:pt x="1521728" y="256958"/>
                  </a:lnTo>
                  <a:lnTo>
                    <a:pt x="1521645" y="256684"/>
                  </a:lnTo>
                  <a:lnTo>
                    <a:pt x="1521645" y="250349"/>
                  </a:lnTo>
                  <a:lnTo>
                    <a:pt x="1519571" y="249061"/>
                  </a:lnTo>
                  <a:cubicBezTo>
                    <a:pt x="1519571" y="249061"/>
                    <a:pt x="1524548" y="242915"/>
                    <a:pt x="1524548" y="242915"/>
                  </a:cubicBezTo>
                  <a:lnTo>
                    <a:pt x="1531766" y="241748"/>
                  </a:lnTo>
                  <a:lnTo>
                    <a:pt x="1534448" y="242864"/>
                  </a:lnTo>
                  <a:lnTo>
                    <a:pt x="1536661" y="240890"/>
                  </a:lnTo>
                  <a:lnTo>
                    <a:pt x="1544487" y="240031"/>
                  </a:lnTo>
                  <a:lnTo>
                    <a:pt x="1548164" y="241044"/>
                  </a:lnTo>
                  <a:lnTo>
                    <a:pt x="1549630" y="238744"/>
                  </a:lnTo>
                  <a:lnTo>
                    <a:pt x="1560498" y="237903"/>
                  </a:lnTo>
                  <a:lnTo>
                    <a:pt x="1564425" y="239808"/>
                  </a:lnTo>
                  <a:lnTo>
                    <a:pt x="1570039" y="239722"/>
                  </a:lnTo>
                  <a:lnTo>
                    <a:pt x="1567356" y="238366"/>
                  </a:lnTo>
                  <a:lnTo>
                    <a:pt x="1567356" y="236770"/>
                  </a:lnTo>
                  <a:lnTo>
                    <a:pt x="1568573" y="235482"/>
                  </a:lnTo>
                  <a:lnTo>
                    <a:pt x="1567964" y="234504"/>
                  </a:lnTo>
                  <a:lnTo>
                    <a:pt x="1567854" y="230023"/>
                  </a:lnTo>
                  <a:lnTo>
                    <a:pt x="1569320" y="229559"/>
                  </a:lnTo>
                  <a:lnTo>
                    <a:pt x="1566388" y="227362"/>
                  </a:lnTo>
                  <a:lnTo>
                    <a:pt x="1561134" y="227362"/>
                  </a:lnTo>
                  <a:lnTo>
                    <a:pt x="1561134" y="232238"/>
                  </a:lnTo>
                  <a:lnTo>
                    <a:pt x="1554276" y="232238"/>
                  </a:lnTo>
                  <a:lnTo>
                    <a:pt x="1554276" y="227585"/>
                  </a:lnTo>
                  <a:lnTo>
                    <a:pt x="1545234" y="227585"/>
                  </a:lnTo>
                  <a:lnTo>
                    <a:pt x="1545234" y="232238"/>
                  </a:lnTo>
                  <a:lnTo>
                    <a:pt x="1537740" y="232238"/>
                  </a:lnTo>
                  <a:lnTo>
                    <a:pt x="1537740" y="227585"/>
                  </a:lnTo>
                  <a:lnTo>
                    <a:pt x="1528836" y="227585"/>
                  </a:lnTo>
                  <a:lnTo>
                    <a:pt x="1528836" y="232238"/>
                  </a:lnTo>
                  <a:lnTo>
                    <a:pt x="1522171" y="232238"/>
                  </a:lnTo>
                  <a:lnTo>
                    <a:pt x="1522171" y="227585"/>
                  </a:lnTo>
                  <a:lnTo>
                    <a:pt x="1513599" y="227585"/>
                  </a:lnTo>
                  <a:lnTo>
                    <a:pt x="1513599" y="232238"/>
                  </a:lnTo>
                  <a:lnTo>
                    <a:pt x="1506602" y="232238"/>
                  </a:lnTo>
                  <a:lnTo>
                    <a:pt x="1506602" y="227362"/>
                  </a:lnTo>
                  <a:lnTo>
                    <a:pt x="1497394" y="227362"/>
                  </a:lnTo>
                  <a:lnTo>
                    <a:pt x="1497394" y="232238"/>
                  </a:lnTo>
                  <a:lnTo>
                    <a:pt x="1490314" y="232238"/>
                  </a:lnTo>
                  <a:lnTo>
                    <a:pt x="1490314" y="227362"/>
                  </a:lnTo>
                  <a:lnTo>
                    <a:pt x="1481686" y="227362"/>
                  </a:lnTo>
                  <a:lnTo>
                    <a:pt x="1481686" y="232238"/>
                  </a:lnTo>
                  <a:lnTo>
                    <a:pt x="1474358" y="232238"/>
                  </a:lnTo>
                  <a:lnTo>
                    <a:pt x="1474358" y="227362"/>
                  </a:lnTo>
                  <a:lnTo>
                    <a:pt x="1465703" y="227362"/>
                  </a:lnTo>
                  <a:lnTo>
                    <a:pt x="1465703" y="232238"/>
                  </a:lnTo>
                  <a:lnTo>
                    <a:pt x="1458596" y="232238"/>
                  </a:lnTo>
                  <a:lnTo>
                    <a:pt x="1458596" y="227362"/>
                  </a:lnTo>
                  <a:lnTo>
                    <a:pt x="1449388" y="227362"/>
                  </a:lnTo>
                  <a:lnTo>
                    <a:pt x="1449388" y="232238"/>
                  </a:lnTo>
                  <a:lnTo>
                    <a:pt x="1442363" y="232238"/>
                  </a:lnTo>
                  <a:lnTo>
                    <a:pt x="1442363" y="227585"/>
                  </a:lnTo>
                  <a:lnTo>
                    <a:pt x="1433819" y="227585"/>
                  </a:lnTo>
                  <a:lnTo>
                    <a:pt x="1433819" y="232238"/>
                  </a:lnTo>
                  <a:lnTo>
                    <a:pt x="1427126" y="232238"/>
                  </a:lnTo>
                  <a:lnTo>
                    <a:pt x="1427126" y="227585"/>
                  </a:lnTo>
                  <a:lnTo>
                    <a:pt x="1418249" y="227585"/>
                  </a:lnTo>
                  <a:lnTo>
                    <a:pt x="1418249" y="232238"/>
                  </a:lnTo>
                  <a:lnTo>
                    <a:pt x="1410756" y="232238"/>
                  </a:lnTo>
                  <a:lnTo>
                    <a:pt x="1410756" y="227585"/>
                  </a:lnTo>
                  <a:lnTo>
                    <a:pt x="1401686" y="227585"/>
                  </a:lnTo>
                  <a:lnTo>
                    <a:pt x="1401686" y="232238"/>
                  </a:lnTo>
                  <a:lnTo>
                    <a:pt x="1394828" y="232238"/>
                  </a:lnTo>
                  <a:lnTo>
                    <a:pt x="1394828" y="227362"/>
                  </a:lnTo>
                  <a:lnTo>
                    <a:pt x="1389573" y="227362"/>
                  </a:lnTo>
                  <a:lnTo>
                    <a:pt x="1386642" y="229559"/>
                  </a:lnTo>
                  <a:lnTo>
                    <a:pt x="1388108" y="230023"/>
                  </a:lnTo>
                  <a:lnTo>
                    <a:pt x="1387997" y="234504"/>
                  </a:lnTo>
                  <a:lnTo>
                    <a:pt x="1387389" y="235482"/>
                  </a:lnTo>
                  <a:lnTo>
                    <a:pt x="1388605" y="236770"/>
                  </a:lnTo>
                  <a:lnTo>
                    <a:pt x="1388605" y="238366"/>
                  </a:lnTo>
                  <a:lnTo>
                    <a:pt x="1385923" y="239722"/>
                  </a:lnTo>
                  <a:lnTo>
                    <a:pt x="1391537" y="239808"/>
                  </a:lnTo>
                  <a:lnTo>
                    <a:pt x="1395436" y="237903"/>
                  </a:lnTo>
                  <a:lnTo>
                    <a:pt x="1406331" y="238744"/>
                  </a:lnTo>
                  <a:lnTo>
                    <a:pt x="1407796" y="241044"/>
                  </a:lnTo>
                  <a:lnTo>
                    <a:pt x="1411474" y="240031"/>
                  </a:lnTo>
                  <a:lnTo>
                    <a:pt x="1419300" y="240890"/>
                  </a:lnTo>
                  <a:lnTo>
                    <a:pt x="1421513" y="242864"/>
                  </a:lnTo>
                  <a:lnTo>
                    <a:pt x="1424196" y="241748"/>
                  </a:lnTo>
                  <a:lnTo>
                    <a:pt x="1431412" y="242915"/>
                  </a:lnTo>
                  <a:lnTo>
                    <a:pt x="1436390" y="249061"/>
                  </a:lnTo>
                  <a:cubicBezTo>
                    <a:pt x="1436390" y="249061"/>
                    <a:pt x="1434316" y="250349"/>
                    <a:pt x="1434316" y="250349"/>
                  </a:cubicBezTo>
                  <a:lnTo>
                    <a:pt x="1434316" y="256684"/>
                  </a:lnTo>
                  <a:lnTo>
                    <a:pt x="1434234" y="256958"/>
                  </a:lnTo>
                  <a:lnTo>
                    <a:pt x="1436916" y="259464"/>
                  </a:lnTo>
                  <a:lnTo>
                    <a:pt x="1440068" y="266949"/>
                  </a:lnTo>
                  <a:lnTo>
                    <a:pt x="1432878" y="271602"/>
                  </a:lnTo>
                  <a:lnTo>
                    <a:pt x="1432325" y="448080"/>
                  </a:lnTo>
                  <a:lnTo>
                    <a:pt x="1427624" y="268340"/>
                  </a:lnTo>
                  <a:lnTo>
                    <a:pt x="1432878" y="265834"/>
                  </a:lnTo>
                  <a:lnTo>
                    <a:pt x="1431053" y="260374"/>
                  </a:lnTo>
                  <a:lnTo>
                    <a:pt x="1429643" y="259448"/>
                  </a:lnTo>
                  <a:lnTo>
                    <a:pt x="1429643" y="251859"/>
                  </a:lnTo>
                  <a:lnTo>
                    <a:pt x="1429809" y="249439"/>
                  </a:lnTo>
                  <a:lnTo>
                    <a:pt x="1431026" y="248443"/>
                  </a:lnTo>
                  <a:lnTo>
                    <a:pt x="1427596" y="245405"/>
                  </a:lnTo>
                  <a:lnTo>
                    <a:pt x="1423448" y="244941"/>
                  </a:lnTo>
                  <a:lnTo>
                    <a:pt x="1420158" y="246915"/>
                  </a:lnTo>
                  <a:lnTo>
                    <a:pt x="1417476" y="243963"/>
                  </a:lnTo>
                  <a:lnTo>
                    <a:pt x="1410368" y="243207"/>
                  </a:lnTo>
                  <a:lnTo>
                    <a:pt x="1407188" y="245182"/>
                  </a:lnTo>
                  <a:lnTo>
                    <a:pt x="1404147" y="242074"/>
                  </a:lnTo>
                  <a:lnTo>
                    <a:pt x="1395574" y="241542"/>
                  </a:lnTo>
                  <a:lnTo>
                    <a:pt x="1395574" y="247465"/>
                  </a:lnTo>
                  <a:lnTo>
                    <a:pt x="1387748" y="247619"/>
                  </a:lnTo>
                  <a:lnTo>
                    <a:pt x="1387610" y="241559"/>
                  </a:lnTo>
                  <a:lnTo>
                    <a:pt x="1377461" y="241559"/>
                  </a:lnTo>
                  <a:lnTo>
                    <a:pt x="1377461" y="248014"/>
                  </a:lnTo>
                  <a:lnTo>
                    <a:pt x="1369276" y="248169"/>
                  </a:lnTo>
                  <a:lnTo>
                    <a:pt x="1369276" y="241576"/>
                  </a:lnTo>
                  <a:lnTo>
                    <a:pt x="1363524" y="241576"/>
                  </a:lnTo>
                  <a:lnTo>
                    <a:pt x="1360593" y="242177"/>
                  </a:lnTo>
                  <a:lnTo>
                    <a:pt x="1358021" y="244598"/>
                  </a:lnTo>
                  <a:lnTo>
                    <a:pt x="1354979" y="242847"/>
                  </a:lnTo>
                  <a:lnTo>
                    <a:pt x="1349227" y="243757"/>
                  </a:lnTo>
                  <a:lnTo>
                    <a:pt x="1346794" y="246109"/>
                  </a:lnTo>
                  <a:lnTo>
                    <a:pt x="1343725" y="244666"/>
                  </a:lnTo>
                  <a:lnTo>
                    <a:pt x="1339935" y="245645"/>
                  </a:lnTo>
                  <a:lnTo>
                    <a:pt x="1336645" y="248374"/>
                  </a:lnTo>
                  <a:lnTo>
                    <a:pt x="1338359" y="249748"/>
                  </a:lnTo>
                  <a:lnTo>
                    <a:pt x="1338359" y="259310"/>
                  </a:lnTo>
                  <a:lnTo>
                    <a:pt x="1335179" y="261508"/>
                  </a:lnTo>
                  <a:lnTo>
                    <a:pt x="1339549" y="266160"/>
                  </a:lnTo>
                  <a:lnTo>
                    <a:pt x="1337447" y="413609"/>
                  </a:lnTo>
                  <a:lnTo>
                    <a:pt x="1331446" y="269576"/>
                  </a:lnTo>
                  <a:lnTo>
                    <a:pt x="1325086" y="269576"/>
                  </a:lnTo>
                  <a:lnTo>
                    <a:pt x="1325086" y="264718"/>
                  </a:lnTo>
                  <a:lnTo>
                    <a:pt x="1316596" y="264718"/>
                  </a:lnTo>
                  <a:lnTo>
                    <a:pt x="1316596" y="269576"/>
                  </a:lnTo>
                  <a:lnTo>
                    <a:pt x="1310900" y="269576"/>
                  </a:lnTo>
                  <a:lnTo>
                    <a:pt x="1310900" y="264718"/>
                  </a:lnTo>
                  <a:lnTo>
                    <a:pt x="1302576" y="264718"/>
                  </a:lnTo>
                  <a:lnTo>
                    <a:pt x="1302576" y="269576"/>
                  </a:lnTo>
                  <a:lnTo>
                    <a:pt x="1296216" y="269576"/>
                  </a:lnTo>
                  <a:lnTo>
                    <a:pt x="1296216" y="264718"/>
                  </a:lnTo>
                  <a:lnTo>
                    <a:pt x="1287395" y="264718"/>
                  </a:lnTo>
                  <a:lnTo>
                    <a:pt x="1287395" y="269576"/>
                  </a:lnTo>
                  <a:lnTo>
                    <a:pt x="1280703" y="269576"/>
                  </a:lnTo>
                  <a:lnTo>
                    <a:pt x="1280703" y="264718"/>
                  </a:lnTo>
                  <a:lnTo>
                    <a:pt x="1272544" y="264718"/>
                  </a:lnTo>
                  <a:lnTo>
                    <a:pt x="1272544" y="269576"/>
                  </a:lnTo>
                  <a:lnTo>
                    <a:pt x="1264885" y="269576"/>
                  </a:lnTo>
                  <a:lnTo>
                    <a:pt x="1264885" y="264718"/>
                  </a:lnTo>
                  <a:lnTo>
                    <a:pt x="1256727" y="264718"/>
                  </a:lnTo>
                  <a:lnTo>
                    <a:pt x="1256727" y="269576"/>
                  </a:lnTo>
                  <a:lnTo>
                    <a:pt x="1249538" y="269576"/>
                  </a:lnTo>
                  <a:lnTo>
                    <a:pt x="1249538" y="264718"/>
                  </a:lnTo>
                  <a:lnTo>
                    <a:pt x="1244642" y="264718"/>
                  </a:lnTo>
                  <a:lnTo>
                    <a:pt x="1240744" y="267550"/>
                  </a:lnTo>
                  <a:lnTo>
                    <a:pt x="1242541" y="268872"/>
                  </a:lnTo>
                  <a:lnTo>
                    <a:pt x="1242209" y="275550"/>
                  </a:lnTo>
                  <a:lnTo>
                    <a:pt x="1239776" y="276357"/>
                  </a:lnTo>
                  <a:lnTo>
                    <a:pt x="1244670" y="279859"/>
                  </a:lnTo>
                  <a:lnTo>
                    <a:pt x="1244477" y="489763"/>
                  </a:lnTo>
                  <a:lnTo>
                    <a:pt x="1224871" y="465797"/>
                  </a:lnTo>
                  <a:lnTo>
                    <a:pt x="1197715" y="432012"/>
                  </a:lnTo>
                  <a:cubicBezTo>
                    <a:pt x="892976" y="432012"/>
                    <a:pt x="842564" y="398227"/>
                    <a:pt x="842564" y="398227"/>
                  </a:cubicBezTo>
                  <a:cubicBezTo>
                    <a:pt x="842564" y="398227"/>
                    <a:pt x="794724" y="431771"/>
                    <a:pt x="489957" y="431771"/>
                  </a:cubicBezTo>
                  <a:cubicBezTo>
                    <a:pt x="480472" y="431771"/>
                    <a:pt x="470766" y="431737"/>
                    <a:pt x="460783" y="431669"/>
                  </a:cubicBezTo>
                  <a:lnTo>
                    <a:pt x="460783" y="431635"/>
                  </a:lnTo>
                  <a:cubicBezTo>
                    <a:pt x="460037" y="431635"/>
                    <a:pt x="459290" y="431635"/>
                    <a:pt x="458544" y="431635"/>
                  </a:cubicBezTo>
                  <a:cubicBezTo>
                    <a:pt x="457796" y="431635"/>
                    <a:pt x="457078" y="431635"/>
                    <a:pt x="456303" y="431635"/>
                  </a:cubicBezTo>
                  <a:lnTo>
                    <a:pt x="456303" y="431669"/>
                  </a:lnTo>
                  <a:cubicBezTo>
                    <a:pt x="446320" y="431737"/>
                    <a:pt x="436587" y="431771"/>
                    <a:pt x="427129" y="431771"/>
                  </a:cubicBezTo>
                  <a:cubicBezTo>
                    <a:pt x="122391" y="431771"/>
                    <a:pt x="74523" y="398227"/>
                    <a:pt x="74523" y="398227"/>
                  </a:cubicBezTo>
                  <a:cubicBezTo>
                    <a:pt x="74523" y="398227"/>
                    <a:pt x="61926" y="406673"/>
                    <a:pt x="11234" y="415120"/>
                  </a:cubicBezTo>
                  <a:lnTo>
                    <a:pt x="2720" y="416279"/>
                  </a:lnTo>
                  <a:lnTo>
                    <a:pt x="2543" y="419776"/>
                  </a:lnTo>
                  <a:lnTo>
                    <a:pt x="9288" y="418793"/>
                  </a:lnTo>
                  <a:lnTo>
                    <a:pt x="2298" y="424635"/>
                  </a:lnTo>
                  <a:lnTo>
                    <a:pt x="2039" y="429753"/>
                  </a:lnTo>
                  <a:lnTo>
                    <a:pt x="11777" y="421609"/>
                  </a:lnTo>
                  <a:lnTo>
                    <a:pt x="12828" y="464406"/>
                  </a:lnTo>
                  <a:lnTo>
                    <a:pt x="290" y="464406"/>
                  </a:lnTo>
                  <a:lnTo>
                    <a:pt x="0" y="470140"/>
                  </a:lnTo>
                  <a:lnTo>
                    <a:pt x="45653" y="470140"/>
                  </a:lnTo>
                  <a:cubicBezTo>
                    <a:pt x="45653" y="470140"/>
                    <a:pt x="46786" y="470140"/>
                    <a:pt x="46786" y="470140"/>
                  </a:cubicBezTo>
                  <a:lnTo>
                    <a:pt x="68992" y="470140"/>
                  </a:lnTo>
                  <a:lnTo>
                    <a:pt x="68992" y="474501"/>
                  </a:lnTo>
                  <a:lnTo>
                    <a:pt x="66558" y="474501"/>
                  </a:lnTo>
                  <a:lnTo>
                    <a:pt x="66558" y="477076"/>
                  </a:lnTo>
                  <a:lnTo>
                    <a:pt x="67195" y="477076"/>
                  </a:lnTo>
                  <a:lnTo>
                    <a:pt x="62714" y="529624"/>
                  </a:lnTo>
                  <a:lnTo>
                    <a:pt x="50520" y="529624"/>
                  </a:lnTo>
                  <a:close/>
                </a:path>
              </a:pathLst>
            </a:custGeom>
            <a:gradFill flip="none" rotWithShape="1">
              <a:gsLst>
                <a:gs pos="22000">
                  <a:schemeClr val="bg1">
                    <a:alpha val="0"/>
                  </a:schemeClr>
                </a:gs>
                <a:gs pos="82000">
                  <a:schemeClr val="bg1">
                    <a:alpha val="6000"/>
                  </a:schemeClr>
                </a:gs>
              </a:gsLst>
              <a:lin ang="5400000" scaled="0"/>
              <a:tileRect/>
            </a:gradFill>
            <a:ln w="3056" cap="flat">
              <a:noFill/>
              <a:prstDash val="solid"/>
              <a:miter/>
            </a:ln>
          </p:spPr>
          <p:txBody>
            <a:bodyPr wrap="square" rtlCol="0" anchor="ctr">
              <a:noAutofit/>
            </a:bodyPr>
            <a:lstStyle/>
            <a:p>
              <a:endParaRPr lang="en-US" sz="2419"/>
            </a:p>
          </p:txBody>
        </p:sp>
        <p:sp>
          <p:nvSpPr>
            <p:cNvPr id="28" name="Freeform: Shape 27">
              <a:extLst>
                <a:ext uri="{FF2B5EF4-FFF2-40B4-BE49-F238E27FC236}">
                  <a16:creationId xmlns:a16="http://schemas.microsoft.com/office/drawing/2014/main" id="{F14BFBC6-A71D-8CE8-61F2-60C8C26D32E6}"/>
                </a:ext>
              </a:extLst>
            </p:cNvPr>
            <p:cNvSpPr/>
            <p:nvPr/>
          </p:nvSpPr>
          <p:spPr bwMode="gray">
            <a:xfrm>
              <a:off x="6379138" y="1704434"/>
              <a:ext cx="1041817" cy="1041817"/>
            </a:xfrm>
            <a:custGeom>
              <a:avLst/>
              <a:gdLst>
                <a:gd name="connsiteX0" fmla="*/ 391858 w 839910"/>
                <a:gd name="connsiteY0" fmla="*/ 827823 h 839910"/>
                <a:gd name="connsiteX1" fmla="*/ 396918 w 839910"/>
                <a:gd name="connsiteY1" fmla="*/ 832883 h 839910"/>
                <a:gd name="connsiteX2" fmla="*/ 396946 w 839910"/>
                <a:gd name="connsiteY2" fmla="*/ 832883 h 839910"/>
                <a:gd name="connsiteX3" fmla="*/ 396946 w 839910"/>
                <a:gd name="connsiteY3" fmla="*/ 834570 h 839910"/>
                <a:gd name="connsiteX4" fmla="*/ 386797 w 839910"/>
                <a:gd name="connsiteY4" fmla="*/ 834570 h 839910"/>
                <a:gd name="connsiteX5" fmla="*/ 386797 w 839910"/>
                <a:gd name="connsiteY5" fmla="*/ 832883 h 839910"/>
                <a:gd name="connsiteX6" fmla="*/ 391858 w 839910"/>
                <a:gd name="connsiteY6" fmla="*/ 827823 h 839910"/>
                <a:gd name="connsiteX7" fmla="*/ 399545 w 839910"/>
                <a:gd name="connsiteY7" fmla="*/ 806032 h 839910"/>
                <a:gd name="connsiteX8" fmla="*/ 403942 w 839910"/>
                <a:gd name="connsiteY8" fmla="*/ 806032 h 839910"/>
                <a:gd name="connsiteX9" fmla="*/ 403942 w 839910"/>
                <a:gd name="connsiteY9" fmla="*/ 815710 h 839910"/>
                <a:gd name="connsiteX10" fmla="*/ 399545 w 839910"/>
                <a:gd name="connsiteY10" fmla="*/ 815710 h 839910"/>
                <a:gd name="connsiteX11" fmla="*/ 393379 w 839910"/>
                <a:gd name="connsiteY11" fmla="*/ 806004 h 839910"/>
                <a:gd name="connsiteX12" fmla="*/ 397388 w 839910"/>
                <a:gd name="connsiteY12" fmla="*/ 806004 h 839910"/>
                <a:gd name="connsiteX13" fmla="*/ 397388 w 839910"/>
                <a:gd name="connsiteY13" fmla="*/ 815683 h 839910"/>
                <a:gd name="connsiteX14" fmla="*/ 393379 w 839910"/>
                <a:gd name="connsiteY14" fmla="*/ 815683 h 839910"/>
                <a:gd name="connsiteX15" fmla="*/ 386382 w 839910"/>
                <a:gd name="connsiteY15" fmla="*/ 806004 h 839910"/>
                <a:gd name="connsiteX16" fmla="*/ 391747 w 839910"/>
                <a:gd name="connsiteY16" fmla="*/ 806004 h 839910"/>
                <a:gd name="connsiteX17" fmla="*/ 391747 w 839910"/>
                <a:gd name="connsiteY17" fmla="*/ 815683 h 839910"/>
                <a:gd name="connsiteX18" fmla="*/ 386382 w 839910"/>
                <a:gd name="connsiteY18" fmla="*/ 815683 h 839910"/>
                <a:gd name="connsiteX19" fmla="*/ 379801 w 839910"/>
                <a:gd name="connsiteY19" fmla="*/ 806004 h 839910"/>
                <a:gd name="connsiteX20" fmla="*/ 384198 w 839910"/>
                <a:gd name="connsiteY20" fmla="*/ 806004 h 839910"/>
                <a:gd name="connsiteX21" fmla="*/ 384198 w 839910"/>
                <a:gd name="connsiteY21" fmla="*/ 815683 h 839910"/>
                <a:gd name="connsiteX22" fmla="*/ 379801 w 839910"/>
                <a:gd name="connsiteY22" fmla="*/ 815683 h 839910"/>
                <a:gd name="connsiteX23" fmla="*/ 419955 w 839910"/>
                <a:gd name="connsiteY23" fmla="*/ 0 h 839910"/>
                <a:gd name="connsiteX24" fmla="*/ 839910 w 839910"/>
                <a:gd name="connsiteY24" fmla="*/ 419955 h 839910"/>
                <a:gd name="connsiteX25" fmla="*/ 654756 w 839910"/>
                <a:gd name="connsiteY25" fmla="*/ 768188 h 839910"/>
                <a:gd name="connsiteX26" fmla="*/ 639294 w 839910"/>
                <a:gd name="connsiteY26" fmla="*/ 776581 h 839910"/>
                <a:gd name="connsiteX27" fmla="*/ 628211 w 839910"/>
                <a:gd name="connsiteY27" fmla="*/ 776581 h 839910"/>
                <a:gd name="connsiteX28" fmla="*/ 628211 w 839910"/>
                <a:gd name="connsiteY28" fmla="*/ 748900 h 839910"/>
                <a:gd name="connsiteX29" fmla="*/ 527580 w 839910"/>
                <a:gd name="connsiteY29" fmla="*/ 748900 h 839910"/>
                <a:gd name="connsiteX30" fmla="*/ 527580 w 839910"/>
                <a:gd name="connsiteY30" fmla="*/ 776581 h 839910"/>
                <a:gd name="connsiteX31" fmla="*/ 443542 w 839910"/>
                <a:gd name="connsiteY31" fmla="*/ 776581 h 839910"/>
                <a:gd name="connsiteX32" fmla="*/ 443542 w 839910"/>
                <a:gd name="connsiteY32" fmla="*/ 793201 h 839910"/>
                <a:gd name="connsiteX33" fmla="*/ 450013 w 839910"/>
                <a:gd name="connsiteY33" fmla="*/ 793201 h 839910"/>
                <a:gd name="connsiteX34" fmla="*/ 450013 w 839910"/>
                <a:gd name="connsiteY34" fmla="*/ 810733 h 839910"/>
                <a:gd name="connsiteX35" fmla="*/ 443542 w 839910"/>
                <a:gd name="connsiteY35" fmla="*/ 810733 h 839910"/>
                <a:gd name="connsiteX36" fmla="*/ 443123 w 839910"/>
                <a:gd name="connsiteY36" fmla="*/ 837575 h 839910"/>
                <a:gd name="connsiteX37" fmla="*/ 419955 w 839910"/>
                <a:gd name="connsiteY37" fmla="*/ 839910 h 839910"/>
                <a:gd name="connsiteX38" fmla="*/ 413039 w 839910"/>
                <a:gd name="connsiteY38" fmla="*/ 839213 h 839910"/>
                <a:gd name="connsiteX39" fmla="*/ 412266 w 839910"/>
                <a:gd name="connsiteY39" fmla="*/ 838054 h 839910"/>
                <a:gd name="connsiteX40" fmla="*/ 412266 w 839910"/>
                <a:gd name="connsiteY40" fmla="*/ 827906 h 839910"/>
                <a:gd name="connsiteX41" fmla="*/ 414810 w 839910"/>
                <a:gd name="connsiteY41" fmla="*/ 825970 h 839910"/>
                <a:gd name="connsiteX42" fmla="*/ 414810 w 839910"/>
                <a:gd name="connsiteY42" fmla="*/ 822237 h 839910"/>
                <a:gd name="connsiteX43" fmla="*/ 412266 w 839910"/>
                <a:gd name="connsiteY43" fmla="*/ 819112 h 839910"/>
                <a:gd name="connsiteX44" fmla="*/ 406763 w 839910"/>
                <a:gd name="connsiteY44" fmla="*/ 819112 h 839910"/>
                <a:gd name="connsiteX45" fmla="*/ 406763 w 839910"/>
                <a:gd name="connsiteY45" fmla="*/ 815683 h 839910"/>
                <a:gd name="connsiteX46" fmla="*/ 405436 w 839910"/>
                <a:gd name="connsiteY46" fmla="*/ 815683 h 839910"/>
                <a:gd name="connsiteX47" fmla="*/ 405436 w 839910"/>
                <a:gd name="connsiteY47" fmla="*/ 806004 h 839910"/>
                <a:gd name="connsiteX48" fmla="*/ 407979 w 839910"/>
                <a:gd name="connsiteY48" fmla="*/ 806004 h 839910"/>
                <a:gd name="connsiteX49" fmla="*/ 407979 w 839910"/>
                <a:gd name="connsiteY49" fmla="*/ 803184 h 839910"/>
                <a:gd name="connsiteX50" fmla="*/ 406624 w 839910"/>
                <a:gd name="connsiteY50" fmla="*/ 803184 h 839910"/>
                <a:gd name="connsiteX51" fmla="*/ 394098 w 839910"/>
                <a:gd name="connsiteY51" fmla="*/ 789606 h 839910"/>
                <a:gd name="connsiteX52" fmla="*/ 394098 w 839910"/>
                <a:gd name="connsiteY52" fmla="*/ 779927 h 839910"/>
                <a:gd name="connsiteX53" fmla="*/ 392604 w 839910"/>
                <a:gd name="connsiteY53" fmla="*/ 779927 h 839910"/>
                <a:gd name="connsiteX54" fmla="*/ 392604 w 839910"/>
                <a:gd name="connsiteY54" fmla="*/ 777632 h 839910"/>
                <a:gd name="connsiteX55" fmla="*/ 393959 w 839910"/>
                <a:gd name="connsiteY55" fmla="*/ 775586 h 839910"/>
                <a:gd name="connsiteX56" fmla="*/ 391858 w 839910"/>
                <a:gd name="connsiteY56" fmla="*/ 773401 h 839910"/>
                <a:gd name="connsiteX57" fmla="*/ 389784 w 839910"/>
                <a:gd name="connsiteY57" fmla="*/ 775586 h 839910"/>
                <a:gd name="connsiteX58" fmla="*/ 390973 w 839910"/>
                <a:gd name="connsiteY58" fmla="*/ 777549 h 839910"/>
                <a:gd name="connsiteX59" fmla="*/ 390973 w 839910"/>
                <a:gd name="connsiteY59" fmla="*/ 779900 h 839910"/>
                <a:gd name="connsiteX60" fmla="*/ 389645 w 839910"/>
                <a:gd name="connsiteY60" fmla="*/ 779900 h 839910"/>
                <a:gd name="connsiteX61" fmla="*/ 389645 w 839910"/>
                <a:gd name="connsiteY61" fmla="*/ 789578 h 839910"/>
                <a:gd name="connsiteX62" fmla="*/ 377119 w 839910"/>
                <a:gd name="connsiteY62" fmla="*/ 803156 h 839910"/>
                <a:gd name="connsiteX63" fmla="*/ 375791 w 839910"/>
                <a:gd name="connsiteY63" fmla="*/ 803156 h 839910"/>
                <a:gd name="connsiteX64" fmla="*/ 375791 w 839910"/>
                <a:gd name="connsiteY64" fmla="*/ 805977 h 839910"/>
                <a:gd name="connsiteX65" fmla="*/ 378335 w 839910"/>
                <a:gd name="connsiteY65" fmla="*/ 805977 h 839910"/>
                <a:gd name="connsiteX66" fmla="*/ 378335 w 839910"/>
                <a:gd name="connsiteY66" fmla="*/ 815655 h 839910"/>
                <a:gd name="connsiteX67" fmla="*/ 376980 w 839910"/>
                <a:gd name="connsiteY67" fmla="*/ 815655 h 839910"/>
                <a:gd name="connsiteX68" fmla="*/ 376980 w 839910"/>
                <a:gd name="connsiteY68" fmla="*/ 819084 h 839910"/>
                <a:gd name="connsiteX69" fmla="*/ 371477 w 839910"/>
                <a:gd name="connsiteY69" fmla="*/ 819084 h 839910"/>
                <a:gd name="connsiteX70" fmla="*/ 368933 w 839910"/>
                <a:gd name="connsiteY70" fmla="*/ 822209 h 839910"/>
                <a:gd name="connsiteX71" fmla="*/ 368933 w 839910"/>
                <a:gd name="connsiteY71" fmla="*/ 825942 h 839910"/>
                <a:gd name="connsiteX72" fmla="*/ 371477 w 839910"/>
                <a:gd name="connsiteY72" fmla="*/ 827878 h 839910"/>
                <a:gd name="connsiteX73" fmla="*/ 371477 w 839910"/>
                <a:gd name="connsiteY73" fmla="*/ 835023 h 839910"/>
                <a:gd name="connsiteX74" fmla="*/ 340401 w 839910"/>
                <a:gd name="connsiteY74" fmla="*/ 831890 h 839910"/>
                <a:gd name="connsiteX75" fmla="*/ 339206 w 839910"/>
                <a:gd name="connsiteY75" fmla="*/ 695364 h 839910"/>
                <a:gd name="connsiteX76" fmla="*/ 296731 w 839910"/>
                <a:gd name="connsiteY76" fmla="*/ 695364 h 839910"/>
                <a:gd name="connsiteX77" fmla="*/ 296731 w 839910"/>
                <a:gd name="connsiteY77" fmla="*/ 674126 h 839910"/>
                <a:gd name="connsiteX78" fmla="*/ 289348 w 839910"/>
                <a:gd name="connsiteY78" fmla="*/ 674126 h 839910"/>
                <a:gd name="connsiteX79" fmla="*/ 289348 w 839910"/>
                <a:gd name="connsiteY79" fmla="*/ 695364 h 839910"/>
                <a:gd name="connsiteX80" fmla="*/ 251463 w 839910"/>
                <a:gd name="connsiteY80" fmla="*/ 695364 h 839910"/>
                <a:gd name="connsiteX81" fmla="*/ 251463 w 839910"/>
                <a:gd name="connsiteY81" fmla="*/ 681509 h 839910"/>
                <a:gd name="connsiteX82" fmla="*/ 171130 w 839910"/>
                <a:gd name="connsiteY82" fmla="*/ 681509 h 839910"/>
                <a:gd name="connsiteX83" fmla="*/ 171130 w 839910"/>
                <a:gd name="connsiteY83" fmla="*/ 695364 h 839910"/>
                <a:gd name="connsiteX84" fmla="*/ 105227 w 839910"/>
                <a:gd name="connsiteY84" fmla="*/ 695364 h 839910"/>
                <a:gd name="connsiteX85" fmla="*/ 71722 w 839910"/>
                <a:gd name="connsiteY85" fmla="*/ 654756 h 839910"/>
                <a:gd name="connsiteX86" fmla="*/ 65618 w 839910"/>
                <a:gd name="connsiteY86" fmla="*/ 643510 h 839910"/>
                <a:gd name="connsiteX87" fmla="*/ 65494 w 839910"/>
                <a:gd name="connsiteY87" fmla="*/ 626867 h 839910"/>
                <a:gd name="connsiteX88" fmla="*/ 56584 w 839910"/>
                <a:gd name="connsiteY88" fmla="*/ 626867 h 839910"/>
                <a:gd name="connsiteX89" fmla="*/ 41547 w 839910"/>
                <a:gd name="connsiteY89" fmla="*/ 599163 h 839910"/>
                <a:gd name="connsiteX90" fmla="*/ 41547 w 839910"/>
                <a:gd name="connsiteY90" fmla="*/ 584862 h 839910"/>
                <a:gd name="connsiteX91" fmla="*/ 33785 w 839910"/>
                <a:gd name="connsiteY91" fmla="*/ 584862 h 839910"/>
                <a:gd name="connsiteX92" fmla="*/ 33002 w 839910"/>
                <a:gd name="connsiteY92" fmla="*/ 583421 h 839910"/>
                <a:gd name="connsiteX93" fmla="*/ 0 w 839910"/>
                <a:gd name="connsiteY93" fmla="*/ 419955 h 839910"/>
                <a:gd name="connsiteX94" fmla="*/ 419955 w 839910"/>
                <a:gd name="connsiteY94" fmla="*/ 0 h 83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39910" h="839910">
                  <a:moveTo>
                    <a:pt x="391858" y="827823"/>
                  </a:moveTo>
                  <a:cubicBezTo>
                    <a:pt x="394651" y="827823"/>
                    <a:pt x="396918" y="830090"/>
                    <a:pt x="396918" y="832883"/>
                  </a:cubicBezTo>
                  <a:lnTo>
                    <a:pt x="396946" y="832883"/>
                  </a:lnTo>
                  <a:lnTo>
                    <a:pt x="396946" y="834570"/>
                  </a:lnTo>
                  <a:lnTo>
                    <a:pt x="386797" y="834570"/>
                  </a:lnTo>
                  <a:lnTo>
                    <a:pt x="386797" y="832883"/>
                  </a:lnTo>
                  <a:cubicBezTo>
                    <a:pt x="386797" y="830090"/>
                    <a:pt x="389065" y="827823"/>
                    <a:pt x="391858" y="827823"/>
                  </a:cubicBezTo>
                  <a:close/>
                  <a:moveTo>
                    <a:pt x="399545" y="806032"/>
                  </a:moveTo>
                  <a:lnTo>
                    <a:pt x="403942" y="806032"/>
                  </a:lnTo>
                  <a:lnTo>
                    <a:pt x="403942" y="815710"/>
                  </a:lnTo>
                  <a:lnTo>
                    <a:pt x="399545" y="815710"/>
                  </a:lnTo>
                  <a:close/>
                  <a:moveTo>
                    <a:pt x="393379" y="806004"/>
                  </a:moveTo>
                  <a:lnTo>
                    <a:pt x="397388" y="806004"/>
                  </a:lnTo>
                  <a:lnTo>
                    <a:pt x="397388" y="815683"/>
                  </a:lnTo>
                  <a:lnTo>
                    <a:pt x="393379" y="815683"/>
                  </a:lnTo>
                  <a:close/>
                  <a:moveTo>
                    <a:pt x="386382" y="806004"/>
                  </a:moveTo>
                  <a:lnTo>
                    <a:pt x="391747" y="806004"/>
                  </a:lnTo>
                  <a:lnTo>
                    <a:pt x="391747" y="815683"/>
                  </a:lnTo>
                  <a:lnTo>
                    <a:pt x="386382" y="815683"/>
                  </a:lnTo>
                  <a:close/>
                  <a:moveTo>
                    <a:pt x="379801" y="806004"/>
                  </a:moveTo>
                  <a:lnTo>
                    <a:pt x="384198" y="806004"/>
                  </a:lnTo>
                  <a:lnTo>
                    <a:pt x="384198" y="815683"/>
                  </a:lnTo>
                  <a:lnTo>
                    <a:pt x="379801" y="815683"/>
                  </a:lnTo>
                  <a:close/>
                  <a:moveTo>
                    <a:pt x="419955" y="0"/>
                  </a:moveTo>
                  <a:cubicBezTo>
                    <a:pt x="651890" y="0"/>
                    <a:pt x="839910" y="188020"/>
                    <a:pt x="839910" y="419955"/>
                  </a:cubicBezTo>
                  <a:cubicBezTo>
                    <a:pt x="839910" y="564915"/>
                    <a:pt x="766465" y="692720"/>
                    <a:pt x="654756" y="768188"/>
                  </a:cubicBezTo>
                  <a:lnTo>
                    <a:pt x="639294" y="776581"/>
                  </a:lnTo>
                  <a:lnTo>
                    <a:pt x="628211" y="776581"/>
                  </a:lnTo>
                  <a:lnTo>
                    <a:pt x="628211" y="748900"/>
                  </a:lnTo>
                  <a:lnTo>
                    <a:pt x="527580" y="748900"/>
                  </a:lnTo>
                  <a:lnTo>
                    <a:pt x="527580" y="776581"/>
                  </a:lnTo>
                  <a:lnTo>
                    <a:pt x="443542" y="776581"/>
                  </a:lnTo>
                  <a:lnTo>
                    <a:pt x="443542" y="793201"/>
                  </a:lnTo>
                  <a:lnTo>
                    <a:pt x="450013" y="793201"/>
                  </a:lnTo>
                  <a:lnTo>
                    <a:pt x="450013" y="810733"/>
                  </a:lnTo>
                  <a:lnTo>
                    <a:pt x="443542" y="810733"/>
                  </a:lnTo>
                  <a:lnTo>
                    <a:pt x="443123" y="837575"/>
                  </a:lnTo>
                  <a:lnTo>
                    <a:pt x="419955" y="839910"/>
                  </a:lnTo>
                  <a:lnTo>
                    <a:pt x="413039" y="839213"/>
                  </a:lnTo>
                  <a:lnTo>
                    <a:pt x="412266" y="838054"/>
                  </a:lnTo>
                  <a:lnTo>
                    <a:pt x="412266" y="827906"/>
                  </a:lnTo>
                  <a:lnTo>
                    <a:pt x="414810" y="825970"/>
                  </a:lnTo>
                  <a:lnTo>
                    <a:pt x="414810" y="822237"/>
                  </a:lnTo>
                  <a:lnTo>
                    <a:pt x="412266" y="819112"/>
                  </a:lnTo>
                  <a:lnTo>
                    <a:pt x="406763" y="819112"/>
                  </a:lnTo>
                  <a:lnTo>
                    <a:pt x="406763" y="815683"/>
                  </a:lnTo>
                  <a:lnTo>
                    <a:pt x="405436" y="815683"/>
                  </a:lnTo>
                  <a:lnTo>
                    <a:pt x="405436" y="806004"/>
                  </a:lnTo>
                  <a:lnTo>
                    <a:pt x="407979" y="806004"/>
                  </a:lnTo>
                  <a:lnTo>
                    <a:pt x="407979" y="803184"/>
                  </a:lnTo>
                  <a:lnTo>
                    <a:pt x="406624" y="803184"/>
                  </a:lnTo>
                  <a:cubicBezTo>
                    <a:pt x="406624" y="803184"/>
                    <a:pt x="405574" y="793035"/>
                    <a:pt x="394098" y="789606"/>
                  </a:cubicBezTo>
                  <a:lnTo>
                    <a:pt x="394098" y="779927"/>
                  </a:lnTo>
                  <a:lnTo>
                    <a:pt x="392604" y="779927"/>
                  </a:lnTo>
                  <a:lnTo>
                    <a:pt x="392604" y="777632"/>
                  </a:lnTo>
                  <a:cubicBezTo>
                    <a:pt x="393379" y="777328"/>
                    <a:pt x="393959" y="776526"/>
                    <a:pt x="393959" y="775586"/>
                  </a:cubicBezTo>
                  <a:cubicBezTo>
                    <a:pt x="393959" y="774369"/>
                    <a:pt x="393019" y="773401"/>
                    <a:pt x="391858" y="773401"/>
                  </a:cubicBezTo>
                  <a:cubicBezTo>
                    <a:pt x="390696" y="773401"/>
                    <a:pt x="389784" y="774397"/>
                    <a:pt x="389784" y="775586"/>
                  </a:cubicBezTo>
                  <a:cubicBezTo>
                    <a:pt x="389784" y="776443"/>
                    <a:pt x="390254" y="777189"/>
                    <a:pt x="390973" y="777549"/>
                  </a:cubicBezTo>
                  <a:lnTo>
                    <a:pt x="390973" y="779900"/>
                  </a:lnTo>
                  <a:lnTo>
                    <a:pt x="389645" y="779900"/>
                  </a:lnTo>
                  <a:lnTo>
                    <a:pt x="389645" y="789578"/>
                  </a:lnTo>
                  <a:cubicBezTo>
                    <a:pt x="378170" y="793007"/>
                    <a:pt x="377119" y="803156"/>
                    <a:pt x="377119" y="803156"/>
                  </a:cubicBezTo>
                  <a:lnTo>
                    <a:pt x="375791" y="803156"/>
                  </a:lnTo>
                  <a:lnTo>
                    <a:pt x="375791" y="805977"/>
                  </a:lnTo>
                  <a:lnTo>
                    <a:pt x="378335" y="805977"/>
                  </a:lnTo>
                  <a:lnTo>
                    <a:pt x="378335" y="815655"/>
                  </a:lnTo>
                  <a:lnTo>
                    <a:pt x="376980" y="815655"/>
                  </a:lnTo>
                  <a:lnTo>
                    <a:pt x="376980" y="819084"/>
                  </a:lnTo>
                  <a:lnTo>
                    <a:pt x="371477" y="819084"/>
                  </a:lnTo>
                  <a:lnTo>
                    <a:pt x="368933" y="822209"/>
                  </a:lnTo>
                  <a:lnTo>
                    <a:pt x="368933" y="825942"/>
                  </a:lnTo>
                  <a:lnTo>
                    <a:pt x="371477" y="827878"/>
                  </a:lnTo>
                  <a:lnTo>
                    <a:pt x="371477" y="835023"/>
                  </a:lnTo>
                  <a:lnTo>
                    <a:pt x="340401" y="831890"/>
                  </a:lnTo>
                  <a:lnTo>
                    <a:pt x="339206" y="695364"/>
                  </a:lnTo>
                  <a:lnTo>
                    <a:pt x="296731" y="695364"/>
                  </a:lnTo>
                  <a:lnTo>
                    <a:pt x="296731" y="674126"/>
                  </a:lnTo>
                  <a:lnTo>
                    <a:pt x="289348" y="674126"/>
                  </a:lnTo>
                  <a:lnTo>
                    <a:pt x="289348" y="695364"/>
                  </a:lnTo>
                  <a:lnTo>
                    <a:pt x="251463" y="695364"/>
                  </a:lnTo>
                  <a:lnTo>
                    <a:pt x="251463" y="681509"/>
                  </a:lnTo>
                  <a:lnTo>
                    <a:pt x="171130" y="681509"/>
                  </a:lnTo>
                  <a:lnTo>
                    <a:pt x="171130" y="695364"/>
                  </a:lnTo>
                  <a:lnTo>
                    <a:pt x="105227" y="695364"/>
                  </a:lnTo>
                  <a:lnTo>
                    <a:pt x="71722" y="654756"/>
                  </a:lnTo>
                  <a:lnTo>
                    <a:pt x="65618" y="643510"/>
                  </a:lnTo>
                  <a:lnTo>
                    <a:pt x="65494" y="626867"/>
                  </a:lnTo>
                  <a:lnTo>
                    <a:pt x="56584" y="626867"/>
                  </a:lnTo>
                  <a:lnTo>
                    <a:pt x="41547" y="599163"/>
                  </a:lnTo>
                  <a:lnTo>
                    <a:pt x="41547" y="584862"/>
                  </a:lnTo>
                  <a:lnTo>
                    <a:pt x="33785" y="584862"/>
                  </a:lnTo>
                  <a:lnTo>
                    <a:pt x="33002" y="583421"/>
                  </a:lnTo>
                  <a:cubicBezTo>
                    <a:pt x="11752" y="533178"/>
                    <a:pt x="0" y="477939"/>
                    <a:pt x="0" y="419955"/>
                  </a:cubicBezTo>
                  <a:cubicBezTo>
                    <a:pt x="0" y="188020"/>
                    <a:pt x="188020" y="0"/>
                    <a:pt x="419955" y="0"/>
                  </a:cubicBezTo>
                  <a:close/>
                </a:path>
              </a:pathLst>
            </a:custGeom>
            <a:gradFill flip="none" rotWithShape="1">
              <a:gsLst>
                <a:gs pos="0">
                  <a:srgbClr val="ED8B00"/>
                </a:gs>
                <a:gs pos="100000">
                  <a:srgbClr val="FFCD00"/>
                </a:gs>
              </a:gsLst>
              <a:path path="circle">
                <a:fillToRect l="100000" t="100000"/>
              </a:path>
              <a:tileRect r="-100000" b="-100000"/>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897975010"/>
      </p:ext>
    </p:extLst>
  </p:cSld>
  <p:clrMapOvr>
    <a:masterClrMapping/>
  </p:clrMapOvr>
  <p:extLst>
    <p:ext uri="{DCECCB84-F9BA-43D5-87BE-67443E8EF086}">
      <p15:sldGuideLst xmlns:p15="http://schemas.microsoft.com/office/powerpoint/2012/main">
        <p15:guide id="1" orient="horz" pos="73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able of contents 1">
    <p:spTree>
      <p:nvGrpSpPr>
        <p:cNvPr id="1" name=""/>
        <p:cNvGrpSpPr/>
        <p:nvPr/>
      </p:nvGrpSpPr>
      <p:grpSpPr>
        <a:xfrm>
          <a:off x="0" y="0"/>
          <a:ext cx="0" cy="0"/>
          <a:chOff x="0" y="0"/>
          <a:chExt cx="0" cy="0"/>
        </a:xfrm>
      </p:grpSpPr>
      <p:pic>
        <p:nvPicPr>
          <p:cNvPr id="18" name="Picture 17" descr="Background pattern&#10;&#10;Description automatically generated">
            <a:extLst>
              <a:ext uri="{FF2B5EF4-FFF2-40B4-BE49-F238E27FC236}">
                <a16:creationId xmlns:a16="http://schemas.microsoft.com/office/drawing/2014/main" id="{B3C7973E-DE09-73C5-A3AF-09B08B4FFC83}"/>
              </a:ext>
            </a:extLst>
          </p:cNvPr>
          <p:cNvPicPr>
            <a:picLocks noChangeAspect="1"/>
          </p:cNvPicPr>
          <p:nvPr userDrawn="1"/>
        </p:nvPicPr>
        <p:blipFill>
          <a:blip r:embed="rId2" cstate="screen">
            <a:alphaModFix amt="70000"/>
            <a:extLst>
              <a:ext uri="{28A0092B-C50C-407E-A947-70E740481C1C}">
                <a14:useLocalDpi xmlns:a14="http://schemas.microsoft.com/office/drawing/2010/main"/>
              </a:ext>
            </a:extLst>
          </a:blip>
          <a:stretch>
            <a:fillRect/>
          </a:stretch>
        </p:blipFill>
        <p:spPr>
          <a:xfrm rot="10800000">
            <a:off x="0" y="4912062"/>
            <a:ext cx="12192000" cy="1945939"/>
          </a:xfrm>
          <a:prstGeom prst="rect">
            <a:avLst/>
          </a:prstGeom>
        </p:spPr>
      </p:pic>
      <p:grpSp>
        <p:nvGrpSpPr>
          <p:cNvPr id="33" name="Group 32">
            <a:extLst>
              <a:ext uri="{FF2B5EF4-FFF2-40B4-BE49-F238E27FC236}">
                <a16:creationId xmlns:a16="http://schemas.microsoft.com/office/drawing/2014/main" id="{4A7F0D8B-E9C7-B00F-45F3-6442D2E630A8}"/>
              </a:ext>
            </a:extLst>
          </p:cNvPr>
          <p:cNvGrpSpPr/>
          <p:nvPr userDrawn="1"/>
        </p:nvGrpSpPr>
        <p:grpSpPr>
          <a:xfrm>
            <a:off x="8690172" y="3991421"/>
            <a:ext cx="3501829" cy="2866580"/>
            <a:chOff x="9591675" y="4729387"/>
            <a:chExt cx="2600325" cy="2128613"/>
          </a:xfrm>
        </p:grpSpPr>
        <p:sp>
          <p:nvSpPr>
            <p:cNvPr id="26" name="Freeform: Shape 25">
              <a:extLst>
                <a:ext uri="{FF2B5EF4-FFF2-40B4-BE49-F238E27FC236}">
                  <a16:creationId xmlns:a16="http://schemas.microsoft.com/office/drawing/2014/main" id="{8B31BE9C-3AFF-FC12-E635-D5CD9E39E91B}"/>
                </a:ext>
              </a:extLst>
            </p:cNvPr>
            <p:cNvSpPr/>
            <p:nvPr userDrawn="1"/>
          </p:nvSpPr>
          <p:spPr bwMode="gray">
            <a:xfrm flipV="1">
              <a:off x="9591675" y="4989489"/>
              <a:ext cx="2600325" cy="1868511"/>
            </a:xfrm>
            <a:custGeom>
              <a:avLst/>
              <a:gdLst>
                <a:gd name="connsiteX0" fmla="*/ 85171 w 2600325"/>
                <a:gd name="connsiteY0" fmla="*/ 0 h 1868511"/>
                <a:gd name="connsiteX1" fmla="*/ 629485 w 2600325"/>
                <a:gd name="connsiteY1" fmla="*/ 0 h 1868511"/>
                <a:gd name="connsiteX2" fmla="*/ 601132 w 2600325"/>
                <a:gd name="connsiteY2" fmla="*/ 46671 h 1868511"/>
                <a:gd name="connsiteX3" fmla="*/ 492476 w 2600325"/>
                <a:gd name="connsiteY3" fmla="*/ 475783 h 1868511"/>
                <a:gd name="connsiteX4" fmla="*/ 1392727 w 2600325"/>
                <a:gd name="connsiteY4" fmla="*/ 1376034 h 1868511"/>
                <a:gd name="connsiteX5" fmla="*/ 2292978 w 2600325"/>
                <a:gd name="connsiteY5" fmla="*/ 475783 h 1868511"/>
                <a:gd name="connsiteX6" fmla="*/ 2184323 w 2600325"/>
                <a:gd name="connsiteY6" fmla="*/ 46671 h 1868511"/>
                <a:gd name="connsiteX7" fmla="*/ 2155970 w 2600325"/>
                <a:gd name="connsiteY7" fmla="*/ 0 h 1868511"/>
                <a:gd name="connsiteX8" fmla="*/ 2600325 w 2600325"/>
                <a:gd name="connsiteY8" fmla="*/ 0 h 1868511"/>
                <a:gd name="connsiteX9" fmla="*/ 2600325 w 2600325"/>
                <a:gd name="connsiteY9" fmla="*/ 1167681 h 1868511"/>
                <a:gd name="connsiteX10" fmla="*/ 2547599 w 2600325"/>
                <a:gd name="connsiteY10" fmla="*/ 1254471 h 1868511"/>
                <a:gd name="connsiteX11" fmla="*/ 1392727 w 2600325"/>
                <a:gd name="connsiteY11" fmla="*/ 1868511 h 1868511"/>
                <a:gd name="connsiteX12" fmla="*/ 0 w 2600325"/>
                <a:gd name="connsiteY12" fmla="*/ 475784 h 1868511"/>
                <a:gd name="connsiteX13" fmla="*/ 62614 w 2600325"/>
                <a:gd name="connsiteY13" fmla="*/ 61629 h 186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0325" h="1868511">
                  <a:moveTo>
                    <a:pt x="85171" y="0"/>
                  </a:moveTo>
                  <a:lnTo>
                    <a:pt x="629485" y="0"/>
                  </a:lnTo>
                  <a:lnTo>
                    <a:pt x="601132" y="46671"/>
                  </a:lnTo>
                  <a:cubicBezTo>
                    <a:pt x="531838" y="174230"/>
                    <a:pt x="492476" y="320410"/>
                    <a:pt x="492476" y="475783"/>
                  </a:cubicBezTo>
                  <a:cubicBezTo>
                    <a:pt x="492476" y="972978"/>
                    <a:pt x="895533" y="1376034"/>
                    <a:pt x="1392727" y="1376034"/>
                  </a:cubicBezTo>
                  <a:cubicBezTo>
                    <a:pt x="1889922" y="1376034"/>
                    <a:pt x="2292978" y="972978"/>
                    <a:pt x="2292978" y="475783"/>
                  </a:cubicBezTo>
                  <a:cubicBezTo>
                    <a:pt x="2292978" y="320410"/>
                    <a:pt x="2253617" y="174230"/>
                    <a:pt x="2184323" y="46671"/>
                  </a:cubicBezTo>
                  <a:lnTo>
                    <a:pt x="2155970" y="0"/>
                  </a:lnTo>
                  <a:lnTo>
                    <a:pt x="2600325" y="0"/>
                  </a:lnTo>
                  <a:lnTo>
                    <a:pt x="2600325" y="1167681"/>
                  </a:lnTo>
                  <a:lnTo>
                    <a:pt x="2547599" y="1254471"/>
                  </a:lnTo>
                  <a:cubicBezTo>
                    <a:pt x="2297316" y="1624939"/>
                    <a:pt x="1873466" y="1868511"/>
                    <a:pt x="1392727" y="1868511"/>
                  </a:cubicBezTo>
                  <a:cubicBezTo>
                    <a:pt x="623545" y="1868511"/>
                    <a:pt x="0" y="1244966"/>
                    <a:pt x="0" y="475784"/>
                  </a:cubicBezTo>
                  <a:cubicBezTo>
                    <a:pt x="0" y="331562"/>
                    <a:pt x="21921" y="192460"/>
                    <a:pt x="62614" y="61629"/>
                  </a:cubicBezTo>
                  <a:close/>
                </a:path>
              </a:pathLst>
            </a:custGeom>
            <a:gradFill>
              <a:gsLst>
                <a:gs pos="0">
                  <a:srgbClr val="62B5E5">
                    <a:alpha val="20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2" name="Freeform: Shape 31">
              <a:extLst>
                <a:ext uri="{FF2B5EF4-FFF2-40B4-BE49-F238E27FC236}">
                  <a16:creationId xmlns:a16="http://schemas.microsoft.com/office/drawing/2014/main" id="{D7830B34-689C-B21A-6B09-C84443C4B7FD}"/>
                </a:ext>
              </a:extLst>
            </p:cNvPr>
            <p:cNvSpPr/>
            <p:nvPr userDrawn="1"/>
          </p:nvSpPr>
          <p:spPr bwMode="gray">
            <a:xfrm flipV="1">
              <a:off x="11050891" y="4729387"/>
              <a:ext cx="1141109" cy="1375923"/>
            </a:xfrm>
            <a:custGeom>
              <a:avLst/>
              <a:gdLst>
                <a:gd name="connsiteX0" fmla="*/ 1848733 w 3066457"/>
                <a:gd name="connsiteY0" fmla="*/ 973565 h 3697466"/>
                <a:gd name="connsiteX1" fmla="*/ 973564 w 3066457"/>
                <a:gd name="connsiteY1" fmla="*/ 1848733 h 3697466"/>
                <a:gd name="connsiteX2" fmla="*/ 1848733 w 3066457"/>
                <a:gd name="connsiteY2" fmla="*/ 2723902 h 3697466"/>
                <a:gd name="connsiteX3" fmla="*/ 2723902 w 3066457"/>
                <a:gd name="connsiteY3" fmla="*/ 1848733 h 3697466"/>
                <a:gd name="connsiteX4" fmla="*/ 1848733 w 3066457"/>
                <a:gd name="connsiteY4" fmla="*/ 973565 h 3697466"/>
                <a:gd name="connsiteX5" fmla="*/ 1848733 w 3066457"/>
                <a:gd name="connsiteY5" fmla="*/ 0 h 3697466"/>
                <a:gd name="connsiteX6" fmla="*/ 3024699 w 3066457"/>
                <a:gd name="connsiteY6" fmla="*/ 422161 h 3697466"/>
                <a:gd name="connsiteX7" fmla="*/ 3066457 w 3066457"/>
                <a:gd name="connsiteY7" fmla="*/ 460113 h 3697466"/>
                <a:gd name="connsiteX8" fmla="*/ 3066457 w 3066457"/>
                <a:gd name="connsiteY8" fmla="*/ 3237353 h 3697466"/>
                <a:gd name="connsiteX9" fmla="*/ 3024699 w 3066457"/>
                <a:gd name="connsiteY9" fmla="*/ 3275305 h 3697466"/>
                <a:gd name="connsiteX10" fmla="*/ 1848733 w 3066457"/>
                <a:gd name="connsiteY10" fmla="*/ 3697466 h 3697466"/>
                <a:gd name="connsiteX11" fmla="*/ 0 w 3066457"/>
                <a:gd name="connsiteY11" fmla="*/ 1848733 h 3697466"/>
                <a:gd name="connsiteX12" fmla="*/ 1848733 w 3066457"/>
                <a:gd name="connsiteY12" fmla="*/ 0 h 369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66457" h="3697466">
                  <a:moveTo>
                    <a:pt x="1848733" y="973565"/>
                  </a:moveTo>
                  <a:cubicBezTo>
                    <a:pt x="1365390" y="973565"/>
                    <a:pt x="973564" y="1365391"/>
                    <a:pt x="973564" y="1848733"/>
                  </a:cubicBezTo>
                  <a:cubicBezTo>
                    <a:pt x="973564" y="2332076"/>
                    <a:pt x="1365390" y="2723902"/>
                    <a:pt x="1848733" y="2723902"/>
                  </a:cubicBezTo>
                  <a:cubicBezTo>
                    <a:pt x="2332076" y="2723902"/>
                    <a:pt x="2723902" y="2332076"/>
                    <a:pt x="2723902" y="1848733"/>
                  </a:cubicBezTo>
                  <a:cubicBezTo>
                    <a:pt x="2723902" y="1365391"/>
                    <a:pt x="2332076" y="973565"/>
                    <a:pt x="1848733" y="973565"/>
                  </a:cubicBezTo>
                  <a:close/>
                  <a:moveTo>
                    <a:pt x="1848733" y="0"/>
                  </a:moveTo>
                  <a:cubicBezTo>
                    <a:pt x="2295432" y="0"/>
                    <a:pt x="2705129" y="158428"/>
                    <a:pt x="3024699" y="422161"/>
                  </a:cubicBezTo>
                  <a:lnTo>
                    <a:pt x="3066457" y="460113"/>
                  </a:lnTo>
                  <a:lnTo>
                    <a:pt x="3066457" y="3237353"/>
                  </a:lnTo>
                  <a:lnTo>
                    <a:pt x="3024699" y="3275305"/>
                  </a:lnTo>
                  <a:cubicBezTo>
                    <a:pt x="2705129" y="3539038"/>
                    <a:pt x="2295432" y="3697466"/>
                    <a:pt x="1848733" y="3697466"/>
                  </a:cubicBezTo>
                  <a:cubicBezTo>
                    <a:pt x="827707" y="3697466"/>
                    <a:pt x="0" y="2869760"/>
                    <a:pt x="0" y="1848733"/>
                  </a:cubicBezTo>
                  <a:cubicBezTo>
                    <a:pt x="0" y="827707"/>
                    <a:pt x="827707" y="0"/>
                    <a:pt x="1848733" y="0"/>
                  </a:cubicBezTo>
                  <a:close/>
                </a:path>
              </a:pathLst>
            </a:custGeom>
            <a:gradFill>
              <a:gsLst>
                <a:gs pos="0">
                  <a:srgbClr val="62B5E5">
                    <a:alpha val="20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grpSp>
      <p:sp>
        <p:nvSpPr>
          <p:cNvPr id="31" name="Rectangle 30">
            <a:extLst>
              <a:ext uri="{FF2B5EF4-FFF2-40B4-BE49-F238E27FC236}">
                <a16:creationId xmlns:a16="http://schemas.microsoft.com/office/drawing/2014/main" id="{76DBC385-85DF-1E73-569B-B7A782C04F50}"/>
              </a:ext>
              <a:ext uri="{C183D7F6-B498-43B3-948B-1728B52AA6E4}">
                <adec:decorative xmlns="" xmlns:adec="http://schemas.microsoft.com/office/drawing/2017/decorative" val="1"/>
              </a:ext>
            </a:extLst>
          </p:cNvPr>
          <p:cNvSpPr>
            <a:spLocks/>
          </p:cNvSpPr>
          <p:nvPr userDrawn="1"/>
        </p:nvSpPr>
        <p:spPr bwMode="gray">
          <a:xfrm>
            <a:off x="457199" y="790230"/>
            <a:ext cx="11274552" cy="38100"/>
          </a:xfrm>
          <a:prstGeom prst="rect">
            <a:avLst/>
          </a:prstGeom>
          <a:gradFill>
            <a:gsLst>
              <a:gs pos="100000">
                <a:srgbClr val="62B5E5">
                  <a:alpha val="0"/>
                </a:srgbClr>
              </a:gs>
              <a:gs pos="0">
                <a:srgbClr val="005587"/>
              </a:gs>
            </a:gsLst>
            <a:lin ang="0" scaled="0"/>
          </a:gra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
        <p:nvSpPr>
          <p:cNvPr id="35" name="Text Placeholder 34">
            <a:extLst>
              <a:ext uri="{FF2B5EF4-FFF2-40B4-BE49-F238E27FC236}">
                <a16:creationId xmlns:a16="http://schemas.microsoft.com/office/drawing/2014/main" id="{7C01712B-206A-70E3-871E-50A9EA3773D3}"/>
              </a:ext>
            </a:extLst>
          </p:cNvPr>
          <p:cNvSpPr>
            <a:spLocks noGrp="1"/>
          </p:cNvSpPr>
          <p:nvPr>
            <p:ph type="body" sz="quarter" idx="10" hasCustomPrompt="1"/>
          </p:nvPr>
        </p:nvSpPr>
        <p:spPr>
          <a:xfrm>
            <a:off x="449266" y="323658"/>
            <a:ext cx="10548938" cy="651881"/>
          </a:xfrm>
        </p:spPr>
        <p:txBody>
          <a:bodyPr>
            <a:normAutofit/>
          </a:bodyPr>
          <a:lstStyle>
            <a:lvl1pPr>
              <a:defRPr sz="3000">
                <a:solidFill>
                  <a:srgbClr val="005587"/>
                </a:solidFill>
                <a:latin typeface="Calibri Light" panose="020F0302020204030204" pitchFamily="34" charset="0"/>
                <a:ea typeface="Open Sans Light" panose="020B0306030504020204" pitchFamily="34" charset="0"/>
                <a:cs typeface="Calibri Light" panose="020F0302020204030204" pitchFamily="34" charset="0"/>
              </a:defRPr>
            </a:lvl1pPr>
            <a:lvl2pPr marL="0" indent="0">
              <a:buNone/>
              <a:defRPr/>
            </a:lvl2pPr>
          </a:lstStyle>
          <a:p>
            <a:pPr lvl="0"/>
            <a:r>
              <a:rPr lang="en-US"/>
              <a:t>Click to add title</a:t>
            </a:r>
          </a:p>
        </p:txBody>
      </p:sp>
    </p:spTree>
    <p:extLst>
      <p:ext uri="{BB962C8B-B14F-4D97-AF65-F5344CB8AC3E}">
        <p14:creationId xmlns:p14="http://schemas.microsoft.com/office/powerpoint/2010/main" val="8107548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3" y="5254692"/>
            <a:ext cx="4490720" cy="827500"/>
          </a:xfrm>
          <a:prstGeom prst="rect">
            <a:avLst/>
          </a:prstGeom>
        </p:spPr>
        <p:txBody>
          <a:bodyPr anchor="b" anchorCtr="0">
            <a:sp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3" y="6365849"/>
            <a:ext cx="4490720" cy="215400"/>
          </a:xfrm>
          <a:prstGeom prst="rect">
            <a:avLst/>
          </a:prstGeom>
        </p:spPr>
        <p:txBody>
          <a:bodyPr anchor="t">
            <a:sp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grpSp>
      <p:grpSp>
        <p:nvGrpSpPr>
          <p:cNvPr id="14" name="Group 13">
            <a:extLst>
              <a:ext uri="{FF2B5EF4-FFF2-40B4-BE49-F238E27FC236}">
                <a16:creationId xmlns:a16="http://schemas.microsoft.com/office/drawing/2014/main" id="{76BC1622-F29E-60C7-3CC6-8D2A772FC3CA}"/>
              </a:ext>
            </a:extLst>
          </p:cNvPr>
          <p:cNvGrpSpPr/>
          <p:nvPr userDrawn="1"/>
        </p:nvGrpSpPr>
        <p:grpSpPr>
          <a:xfrm>
            <a:off x="3596829" y="970516"/>
            <a:ext cx="4981570" cy="4979846"/>
            <a:chOff x="3596829" y="970516"/>
            <a:chExt cx="4981570" cy="4979846"/>
          </a:xfrm>
        </p:grpSpPr>
        <p:sp>
          <p:nvSpPr>
            <p:cNvPr id="15" name="Freeform: Shape 14">
              <a:extLst>
                <a:ext uri="{FF2B5EF4-FFF2-40B4-BE49-F238E27FC236}">
                  <a16:creationId xmlns:a16="http://schemas.microsoft.com/office/drawing/2014/main" id="{021D1AC9-5F4B-087F-5047-EA6875C666AB}"/>
                </a:ext>
              </a:extLst>
            </p:cNvPr>
            <p:cNvSpPr/>
            <p:nvPr/>
          </p:nvSpPr>
          <p:spPr bwMode="gray">
            <a:xfrm>
              <a:off x="3597099" y="970516"/>
              <a:ext cx="4981164" cy="2485381"/>
            </a:xfrm>
            <a:custGeom>
              <a:avLst/>
              <a:gdLst>
                <a:gd name="connsiteX0" fmla="*/ 3742420 w 7484840"/>
                <a:gd name="connsiteY0" fmla="*/ 0 h 3734604"/>
                <a:gd name="connsiteX1" fmla="*/ 7480173 w 7484840"/>
                <a:gd name="connsiteY1" fmla="*/ 3550028 h 3734604"/>
                <a:gd name="connsiteX2" fmla="*/ 7484840 w 7484840"/>
                <a:gd name="connsiteY2" fmla="*/ 3734604 h 3734604"/>
                <a:gd name="connsiteX3" fmla="*/ 6161224 w 7484840"/>
                <a:gd name="connsiteY3" fmla="*/ 3734604 h 3734604"/>
                <a:gd name="connsiteX4" fmla="*/ 6149139 w 7484840"/>
                <a:gd name="connsiteY4" fmla="*/ 3495272 h 3734604"/>
                <a:gd name="connsiteX5" fmla="*/ 3742420 w 7484840"/>
                <a:gd name="connsiteY5" fmla="*/ 1323414 h 3734604"/>
                <a:gd name="connsiteX6" fmla="*/ 1335701 w 7484840"/>
                <a:gd name="connsiteY6" fmla="*/ 3495272 h 3734604"/>
                <a:gd name="connsiteX7" fmla="*/ 1323616 w 7484840"/>
                <a:gd name="connsiteY7" fmla="*/ 3734604 h 3734604"/>
                <a:gd name="connsiteX8" fmla="*/ 0 w 7484840"/>
                <a:gd name="connsiteY8" fmla="*/ 3734604 h 3734604"/>
                <a:gd name="connsiteX9" fmla="*/ 4667 w 7484840"/>
                <a:gd name="connsiteY9" fmla="*/ 3550028 h 3734604"/>
                <a:gd name="connsiteX10" fmla="*/ 3742420 w 7484840"/>
                <a:gd name="connsiteY10" fmla="*/ 0 h 3734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4840" h="3734604">
                  <a:moveTo>
                    <a:pt x="3742420" y="0"/>
                  </a:moveTo>
                  <a:cubicBezTo>
                    <a:pt x="5744820" y="0"/>
                    <a:pt x="7379934" y="1572539"/>
                    <a:pt x="7480173" y="3550028"/>
                  </a:cubicBezTo>
                  <a:lnTo>
                    <a:pt x="7484840" y="3734604"/>
                  </a:lnTo>
                  <a:lnTo>
                    <a:pt x="6161224" y="3734604"/>
                  </a:lnTo>
                  <a:lnTo>
                    <a:pt x="6149139" y="3495272"/>
                  </a:lnTo>
                  <a:cubicBezTo>
                    <a:pt x="6025251" y="2275372"/>
                    <a:pt x="4995006" y="1323414"/>
                    <a:pt x="3742420" y="1323414"/>
                  </a:cubicBezTo>
                  <a:cubicBezTo>
                    <a:pt x="2489834" y="1323414"/>
                    <a:pt x="1459589" y="2275372"/>
                    <a:pt x="1335701" y="3495272"/>
                  </a:cubicBezTo>
                  <a:lnTo>
                    <a:pt x="1323616" y="3734604"/>
                  </a:lnTo>
                  <a:lnTo>
                    <a:pt x="0" y="3734604"/>
                  </a:lnTo>
                  <a:lnTo>
                    <a:pt x="4667" y="3550028"/>
                  </a:lnTo>
                  <a:cubicBezTo>
                    <a:pt x="104906" y="1572539"/>
                    <a:pt x="1740020" y="0"/>
                    <a:pt x="3742420" y="0"/>
                  </a:cubicBezTo>
                  <a:close/>
                </a:path>
              </a:pathLst>
            </a:custGeom>
            <a:gradFill>
              <a:gsLst>
                <a:gs pos="0">
                  <a:srgbClr val="62B5E5">
                    <a:alpha val="49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16" name="Freeform: Shape 15">
              <a:extLst>
                <a:ext uri="{FF2B5EF4-FFF2-40B4-BE49-F238E27FC236}">
                  <a16:creationId xmlns:a16="http://schemas.microsoft.com/office/drawing/2014/main" id="{93D25754-4436-450E-7BF5-26394A411F7F}"/>
                </a:ext>
              </a:extLst>
            </p:cNvPr>
            <p:cNvSpPr/>
            <p:nvPr/>
          </p:nvSpPr>
          <p:spPr bwMode="gray">
            <a:xfrm>
              <a:off x="3596829" y="3454309"/>
              <a:ext cx="4981435" cy="2496053"/>
            </a:xfrm>
            <a:custGeom>
              <a:avLst/>
              <a:gdLst>
                <a:gd name="connsiteX0" fmla="*/ 203 w 7485246"/>
                <a:gd name="connsiteY0" fmla="*/ 0 h 3750642"/>
                <a:gd name="connsiteX1" fmla="*/ 1323819 w 7485246"/>
                <a:gd name="connsiteY1" fmla="*/ 0 h 3750642"/>
                <a:gd name="connsiteX2" fmla="*/ 1323414 w 7485246"/>
                <a:gd name="connsiteY2" fmla="*/ 8018 h 3750642"/>
                <a:gd name="connsiteX3" fmla="*/ 3742623 w 7485246"/>
                <a:gd name="connsiteY3" fmla="*/ 2427226 h 3750642"/>
                <a:gd name="connsiteX4" fmla="*/ 6161832 w 7485246"/>
                <a:gd name="connsiteY4" fmla="*/ 8018 h 3750642"/>
                <a:gd name="connsiteX5" fmla="*/ 6161427 w 7485246"/>
                <a:gd name="connsiteY5" fmla="*/ 0 h 3750642"/>
                <a:gd name="connsiteX6" fmla="*/ 7485043 w 7485246"/>
                <a:gd name="connsiteY6" fmla="*/ 0 h 3750642"/>
                <a:gd name="connsiteX7" fmla="*/ 7485246 w 7485246"/>
                <a:gd name="connsiteY7" fmla="*/ 8019 h 3750642"/>
                <a:gd name="connsiteX8" fmla="*/ 3742623 w 7485246"/>
                <a:gd name="connsiteY8" fmla="*/ 3750642 h 3750642"/>
                <a:gd name="connsiteX9" fmla="*/ 0 w 7485246"/>
                <a:gd name="connsiteY9" fmla="*/ 8019 h 375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5246" h="3750642">
                  <a:moveTo>
                    <a:pt x="203" y="0"/>
                  </a:moveTo>
                  <a:lnTo>
                    <a:pt x="1323819" y="0"/>
                  </a:lnTo>
                  <a:lnTo>
                    <a:pt x="1323414" y="8018"/>
                  </a:lnTo>
                  <a:cubicBezTo>
                    <a:pt x="1323414" y="1344110"/>
                    <a:pt x="2406531" y="2427226"/>
                    <a:pt x="3742623" y="2427226"/>
                  </a:cubicBezTo>
                  <a:cubicBezTo>
                    <a:pt x="5078715" y="2427226"/>
                    <a:pt x="6161832" y="1344110"/>
                    <a:pt x="6161832" y="8018"/>
                  </a:cubicBezTo>
                  <a:lnTo>
                    <a:pt x="6161427" y="0"/>
                  </a:lnTo>
                  <a:lnTo>
                    <a:pt x="7485043" y="0"/>
                  </a:lnTo>
                  <a:lnTo>
                    <a:pt x="7485246" y="8019"/>
                  </a:lnTo>
                  <a:cubicBezTo>
                    <a:pt x="7485246" y="2075013"/>
                    <a:pt x="5809617" y="3750642"/>
                    <a:pt x="3742623" y="3750642"/>
                  </a:cubicBezTo>
                  <a:cubicBezTo>
                    <a:pt x="1675629" y="3750642"/>
                    <a:pt x="0" y="2075013"/>
                    <a:pt x="0" y="8019"/>
                  </a:cubicBezTo>
                  <a:close/>
                </a:path>
              </a:pathLst>
            </a:custGeom>
            <a:gradFill>
              <a:gsLst>
                <a:gs pos="0">
                  <a:srgbClr val="0097A9">
                    <a:alpha val="52000"/>
                  </a:srgbClr>
                </a:gs>
                <a:gs pos="100000">
                  <a:schemeClr val="accent4"/>
                </a:gs>
              </a:gsLst>
              <a:lin ang="5400000" scaled="0"/>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17" name="Freeform: Shape 16">
              <a:extLst>
                <a:ext uri="{FF2B5EF4-FFF2-40B4-BE49-F238E27FC236}">
                  <a16:creationId xmlns:a16="http://schemas.microsoft.com/office/drawing/2014/main" id="{A3717AE9-DA01-7DBF-CC10-9B3110BBDD08}"/>
                </a:ext>
              </a:extLst>
            </p:cNvPr>
            <p:cNvSpPr/>
            <p:nvPr/>
          </p:nvSpPr>
          <p:spPr bwMode="gray">
            <a:xfrm>
              <a:off x="3597099" y="2276713"/>
              <a:ext cx="4981164" cy="1179184"/>
            </a:xfrm>
            <a:custGeom>
              <a:avLst/>
              <a:gdLst>
                <a:gd name="connsiteX0" fmla="*/ 3690476 w 4015800"/>
                <a:gd name="connsiteY0" fmla="*/ 10160 h 950655"/>
                <a:gd name="connsiteX1" fmla="*/ 3750349 w 4015800"/>
                <a:gd name="connsiteY1" fmla="*/ 17278 h 950655"/>
                <a:gd name="connsiteX2" fmla="*/ 3788962 w 4015800"/>
                <a:gd name="connsiteY2" fmla="*/ 31493 h 950655"/>
                <a:gd name="connsiteX3" fmla="*/ 3828343 w 4015800"/>
                <a:gd name="connsiteY3" fmla="*/ 106422 h 950655"/>
                <a:gd name="connsiteX4" fmla="*/ 4013296 w 4015800"/>
                <a:gd name="connsiteY4" fmla="*/ 851626 h 950655"/>
                <a:gd name="connsiteX5" fmla="*/ 4015800 w 4015800"/>
                <a:gd name="connsiteY5" fmla="*/ 950655 h 950655"/>
                <a:gd name="connsiteX6" fmla="*/ 3305648 w 4015800"/>
                <a:gd name="connsiteY6" fmla="*/ 950655 h 950655"/>
                <a:gd name="connsiteX7" fmla="*/ 3299164 w 4015800"/>
                <a:gd name="connsiteY7" fmla="*/ 822248 h 950655"/>
                <a:gd name="connsiteX8" fmla="*/ 3038589 w 4015800"/>
                <a:gd name="connsiteY8" fmla="*/ 165929 h 950655"/>
                <a:gd name="connsiteX9" fmla="*/ 3014943 w 4015800"/>
                <a:gd name="connsiteY9" fmla="*/ 137792 h 950655"/>
                <a:gd name="connsiteX10" fmla="*/ 3057902 w 4015800"/>
                <a:gd name="connsiteY10" fmla="*/ 113704 h 950655"/>
                <a:gd name="connsiteX11" fmla="*/ 3134505 w 4015800"/>
                <a:gd name="connsiteY11" fmla="*/ 100447 h 950655"/>
                <a:gd name="connsiteX12" fmla="*/ 3305736 w 4015800"/>
                <a:gd name="connsiteY12" fmla="*/ 178459 h 950655"/>
                <a:gd name="connsiteX13" fmla="*/ 3370246 w 4015800"/>
                <a:gd name="connsiteY13" fmla="*/ 164684 h 950655"/>
                <a:gd name="connsiteX14" fmla="*/ 3448599 w 4015800"/>
                <a:gd name="connsiteY14" fmla="*/ 185551 h 950655"/>
                <a:gd name="connsiteX15" fmla="*/ 3690476 w 4015800"/>
                <a:gd name="connsiteY15" fmla="*/ 10160 h 950655"/>
                <a:gd name="connsiteX16" fmla="*/ 969949 w 4015800"/>
                <a:gd name="connsiteY16" fmla="*/ 0 h 950655"/>
                <a:gd name="connsiteX17" fmla="*/ 1087180 w 4015800"/>
                <a:gd name="connsiteY17" fmla="*/ 38665 h 950655"/>
                <a:gd name="connsiteX18" fmla="*/ 1088788 w 4015800"/>
                <a:gd name="connsiteY18" fmla="*/ 40295 h 950655"/>
                <a:gd name="connsiteX19" fmla="*/ 1052378 w 4015800"/>
                <a:gd name="connsiteY19" fmla="*/ 76488 h 950655"/>
                <a:gd name="connsiteX20" fmla="*/ 716637 w 4015800"/>
                <a:gd name="connsiteY20" fmla="*/ 822248 h 950655"/>
                <a:gd name="connsiteX21" fmla="*/ 710153 w 4015800"/>
                <a:gd name="connsiteY21" fmla="*/ 950655 h 950655"/>
                <a:gd name="connsiteX22" fmla="*/ 0 w 4015800"/>
                <a:gd name="connsiteY22" fmla="*/ 950655 h 950655"/>
                <a:gd name="connsiteX23" fmla="*/ 2504 w 4015800"/>
                <a:gd name="connsiteY23" fmla="*/ 851626 h 950655"/>
                <a:gd name="connsiteX24" fmla="*/ 187458 w 4015800"/>
                <a:gd name="connsiteY24" fmla="*/ 106422 h 950655"/>
                <a:gd name="connsiteX25" fmla="*/ 241795 w 4015800"/>
                <a:gd name="connsiteY25" fmla="*/ 3037 h 950655"/>
                <a:gd name="connsiteX26" fmla="*/ 243362 w 4015800"/>
                <a:gd name="connsiteY26" fmla="*/ 2796 h 950655"/>
                <a:gd name="connsiteX27" fmla="*/ 505902 w 4015800"/>
                <a:gd name="connsiteY27" fmla="*/ 171980 h 950655"/>
                <a:gd name="connsiteX28" fmla="*/ 543612 w 4015800"/>
                <a:gd name="connsiteY28" fmla="*/ 167480 h 950655"/>
                <a:gd name="connsiteX29" fmla="*/ 617328 w 4015800"/>
                <a:gd name="connsiteY29" fmla="*/ 185482 h 950655"/>
                <a:gd name="connsiteX30" fmla="*/ 723298 w 4015800"/>
                <a:gd name="connsiteY30" fmla="*/ 86399 h 950655"/>
                <a:gd name="connsiteX31" fmla="*/ 792240 w 4015800"/>
                <a:gd name="connsiteY31" fmla="*/ 111835 h 950655"/>
                <a:gd name="connsiteX32" fmla="*/ 969949 w 4015800"/>
                <a:gd name="connsiteY32" fmla="*/ 0 h 950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15800" h="950655">
                  <a:moveTo>
                    <a:pt x="3690476" y="10160"/>
                  </a:moveTo>
                  <a:cubicBezTo>
                    <a:pt x="3711105" y="10160"/>
                    <a:pt x="3731153" y="12632"/>
                    <a:pt x="3750349" y="17278"/>
                  </a:cubicBezTo>
                  <a:lnTo>
                    <a:pt x="3788962" y="31493"/>
                  </a:lnTo>
                  <a:lnTo>
                    <a:pt x="3828343" y="106422"/>
                  </a:lnTo>
                  <a:cubicBezTo>
                    <a:pt x="3934937" y="334719"/>
                    <a:pt x="3999851" y="586383"/>
                    <a:pt x="4013296" y="851626"/>
                  </a:cubicBezTo>
                  <a:lnTo>
                    <a:pt x="4015800" y="950655"/>
                  </a:lnTo>
                  <a:lnTo>
                    <a:pt x="3305648" y="950655"/>
                  </a:lnTo>
                  <a:lnTo>
                    <a:pt x="3299164" y="822248"/>
                  </a:lnTo>
                  <a:cubicBezTo>
                    <a:pt x="3274238" y="576808"/>
                    <a:pt x="3180929" y="351584"/>
                    <a:pt x="3038589" y="165929"/>
                  </a:cubicBezTo>
                  <a:lnTo>
                    <a:pt x="3014943" y="137792"/>
                  </a:lnTo>
                  <a:lnTo>
                    <a:pt x="3057902" y="113704"/>
                  </a:lnTo>
                  <a:cubicBezTo>
                    <a:pt x="3081831" y="105123"/>
                    <a:pt x="3107620" y="100447"/>
                    <a:pt x="3134505" y="100447"/>
                  </a:cubicBezTo>
                  <a:cubicBezTo>
                    <a:pt x="3202834" y="100447"/>
                    <a:pt x="3264139" y="130656"/>
                    <a:pt x="3305736" y="178459"/>
                  </a:cubicBezTo>
                  <a:cubicBezTo>
                    <a:pt x="3325443" y="169662"/>
                    <a:pt x="3347265" y="164684"/>
                    <a:pt x="3370246" y="164684"/>
                  </a:cubicBezTo>
                  <a:cubicBezTo>
                    <a:pt x="3398818" y="164684"/>
                    <a:pt x="3425550" y="172321"/>
                    <a:pt x="3448599" y="185551"/>
                  </a:cubicBezTo>
                  <a:cubicBezTo>
                    <a:pt x="3481876" y="83740"/>
                    <a:pt x="3577550" y="10160"/>
                    <a:pt x="3690476" y="10160"/>
                  </a:cubicBezTo>
                  <a:close/>
                  <a:moveTo>
                    <a:pt x="969949" y="0"/>
                  </a:moveTo>
                  <a:cubicBezTo>
                    <a:pt x="1013865" y="0"/>
                    <a:pt x="1054423" y="14372"/>
                    <a:pt x="1087180" y="38665"/>
                  </a:cubicBezTo>
                  <a:lnTo>
                    <a:pt x="1088788" y="40295"/>
                  </a:lnTo>
                  <a:lnTo>
                    <a:pt x="1052378" y="76488"/>
                  </a:lnTo>
                  <a:cubicBezTo>
                    <a:pt x="867874" y="277071"/>
                    <a:pt x="745717" y="535901"/>
                    <a:pt x="716637" y="822248"/>
                  </a:cubicBezTo>
                  <a:lnTo>
                    <a:pt x="710153" y="950655"/>
                  </a:lnTo>
                  <a:lnTo>
                    <a:pt x="0" y="950655"/>
                  </a:lnTo>
                  <a:lnTo>
                    <a:pt x="2504" y="851626"/>
                  </a:lnTo>
                  <a:cubicBezTo>
                    <a:pt x="15949" y="586383"/>
                    <a:pt x="80863" y="334719"/>
                    <a:pt x="187458" y="106422"/>
                  </a:cubicBezTo>
                  <a:lnTo>
                    <a:pt x="241795" y="3037"/>
                  </a:lnTo>
                  <a:lnTo>
                    <a:pt x="243362" y="2796"/>
                  </a:lnTo>
                  <a:cubicBezTo>
                    <a:pt x="360107" y="2796"/>
                    <a:pt x="460554" y="72215"/>
                    <a:pt x="505902" y="171980"/>
                  </a:cubicBezTo>
                  <a:cubicBezTo>
                    <a:pt x="518040" y="169048"/>
                    <a:pt x="530587" y="167480"/>
                    <a:pt x="543612" y="167480"/>
                  </a:cubicBezTo>
                  <a:cubicBezTo>
                    <a:pt x="570207" y="167480"/>
                    <a:pt x="595302" y="174026"/>
                    <a:pt x="617328" y="185482"/>
                  </a:cubicBezTo>
                  <a:cubicBezTo>
                    <a:pt x="621078" y="130179"/>
                    <a:pt x="667040" y="86399"/>
                    <a:pt x="723298" y="86399"/>
                  </a:cubicBezTo>
                  <a:cubicBezTo>
                    <a:pt x="749620" y="86399"/>
                    <a:pt x="773692" y="96014"/>
                    <a:pt x="792240" y="111835"/>
                  </a:cubicBezTo>
                  <a:cubicBezTo>
                    <a:pt x="824018" y="45688"/>
                    <a:pt x="891665" y="0"/>
                    <a:pt x="969949" y="0"/>
                  </a:cubicBezTo>
                  <a:close/>
                </a:path>
              </a:pathLst>
            </a:custGeom>
            <a:solidFill>
              <a:srgbClr val="00A3E0">
                <a:alpha val="21000"/>
              </a:srgbClr>
            </a:solidFill>
            <a:ln w="681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19"/>
            </a:p>
          </p:txBody>
        </p:sp>
        <p:sp>
          <p:nvSpPr>
            <p:cNvPr id="18" name="Freeform: Shape 17">
              <a:extLst>
                <a:ext uri="{FF2B5EF4-FFF2-40B4-BE49-F238E27FC236}">
                  <a16:creationId xmlns:a16="http://schemas.microsoft.com/office/drawing/2014/main" id="{9AD621CA-FF14-436D-E5B8-5EE50E70ACCC}"/>
                </a:ext>
              </a:extLst>
            </p:cNvPr>
            <p:cNvSpPr/>
            <p:nvPr/>
          </p:nvSpPr>
          <p:spPr bwMode="gray">
            <a:xfrm>
              <a:off x="3597099" y="2552810"/>
              <a:ext cx="4981164" cy="903087"/>
            </a:xfrm>
            <a:custGeom>
              <a:avLst/>
              <a:gdLst>
                <a:gd name="connsiteX0" fmla="*/ 907212 w 4015800"/>
                <a:gd name="connsiteY0" fmla="*/ 7695 h 728066"/>
                <a:gd name="connsiteX1" fmla="*/ 934122 w 4015800"/>
                <a:gd name="connsiteY1" fmla="*/ 11485 h 728066"/>
                <a:gd name="connsiteX2" fmla="*/ 851932 w 4015800"/>
                <a:gd name="connsiteY2" fmla="*/ 141468 h 728066"/>
                <a:gd name="connsiteX3" fmla="*/ 716637 w 4015800"/>
                <a:gd name="connsiteY3" fmla="*/ 599659 h 728066"/>
                <a:gd name="connsiteX4" fmla="*/ 710153 w 4015800"/>
                <a:gd name="connsiteY4" fmla="*/ 728066 h 728066"/>
                <a:gd name="connsiteX5" fmla="*/ 0 w 4015800"/>
                <a:gd name="connsiteY5" fmla="*/ 728066 h 728066"/>
                <a:gd name="connsiteX6" fmla="*/ 2504 w 4015800"/>
                <a:gd name="connsiteY6" fmla="*/ 629037 h 728066"/>
                <a:gd name="connsiteX7" fmla="*/ 60050 w 4015800"/>
                <a:gd name="connsiteY7" fmla="*/ 242580 h 728066"/>
                <a:gd name="connsiteX8" fmla="*/ 90397 w 4015800"/>
                <a:gd name="connsiteY8" fmla="*/ 142228 h 728066"/>
                <a:gd name="connsiteX9" fmla="*/ 93247 w 4015800"/>
                <a:gd name="connsiteY9" fmla="*/ 140891 h 728066"/>
                <a:gd name="connsiteX10" fmla="*/ 149597 w 4015800"/>
                <a:gd name="connsiteY10" fmla="*/ 132555 h 728066"/>
                <a:gd name="connsiteX11" fmla="*/ 330511 w 4015800"/>
                <a:gd name="connsiteY11" fmla="*/ 257415 h 728066"/>
                <a:gd name="connsiteX12" fmla="*/ 476647 w 4015800"/>
                <a:gd name="connsiteY12" fmla="*/ 215000 h 728066"/>
                <a:gd name="connsiteX13" fmla="*/ 634717 w 4015800"/>
                <a:gd name="connsiteY13" fmla="*/ 265462 h 728066"/>
                <a:gd name="connsiteX14" fmla="*/ 907212 w 4015800"/>
                <a:gd name="connsiteY14" fmla="*/ 7695 h 728066"/>
                <a:gd name="connsiteX15" fmla="*/ 3876000 w 4015800"/>
                <a:gd name="connsiteY15" fmla="*/ 0 h 728066"/>
                <a:gd name="connsiteX16" fmla="*/ 3900321 w 4015800"/>
                <a:gd name="connsiteY16" fmla="*/ 59284 h 728066"/>
                <a:gd name="connsiteX17" fmla="*/ 4013296 w 4015800"/>
                <a:gd name="connsiteY17" fmla="*/ 629037 h 728066"/>
                <a:gd name="connsiteX18" fmla="*/ 4015800 w 4015800"/>
                <a:gd name="connsiteY18" fmla="*/ 728066 h 728066"/>
                <a:gd name="connsiteX19" fmla="*/ 3305648 w 4015800"/>
                <a:gd name="connsiteY19" fmla="*/ 728066 h 728066"/>
                <a:gd name="connsiteX20" fmla="*/ 3299164 w 4015800"/>
                <a:gd name="connsiteY20" fmla="*/ 599659 h 728066"/>
                <a:gd name="connsiteX21" fmla="*/ 3163869 w 4015800"/>
                <a:gd name="connsiteY21" fmla="*/ 141468 h 728066"/>
                <a:gd name="connsiteX22" fmla="*/ 3135999 w 4015800"/>
                <a:gd name="connsiteY22" fmla="*/ 97392 h 728066"/>
                <a:gd name="connsiteX23" fmla="*/ 3168942 w 4015800"/>
                <a:gd name="connsiteY23" fmla="*/ 92731 h 728066"/>
                <a:gd name="connsiteX24" fmla="*/ 3221859 w 4015800"/>
                <a:gd name="connsiteY24" fmla="*/ 97914 h 728066"/>
                <a:gd name="connsiteX25" fmla="*/ 3342901 w 4015800"/>
                <a:gd name="connsiteY25" fmla="*/ 27880 h 728066"/>
                <a:gd name="connsiteX26" fmla="*/ 3475535 w 4015800"/>
                <a:gd name="connsiteY26" fmla="*/ 123690 h 728066"/>
                <a:gd name="connsiteX27" fmla="*/ 3610964 w 4015800"/>
                <a:gd name="connsiteY27" fmla="*/ 73296 h 728066"/>
                <a:gd name="connsiteX28" fmla="*/ 3714821 w 4015800"/>
                <a:gd name="connsiteY28" fmla="*/ 101187 h 728066"/>
                <a:gd name="connsiteX29" fmla="*/ 3834047 w 4015800"/>
                <a:gd name="connsiteY29" fmla="*/ 5810 h 72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15800" h="728066">
                  <a:moveTo>
                    <a:pt x="907212" y="7695"/>
                  </a:moveTo>
                  <a:lnTo>
                    <a:pt x="934122" y="11485"/>
                  </a:lnTo>
                  <a:lnTo>
                    <a:pt x="851932" y="141468"/>
                  </a:lnTo>
                  <a:cubicBezTo>
                    <a:pt x="780264" y="281390"/>
                    <a:pt x="733254" y="436032"/>
                    <a:pt x="716637" y="599659"/>
                  </a:cubicBezTo>
                  <a:lnTo>
                    <a:pt x="710153" y="728066"/>
                  </a:lnTo>
                  <a:lnTo>
                    <a:pt x="0" y="728066"/>
                  </a:lnTo>
                  <a:lnTo>
                    <a:pt x="2504" y="629037"/>
                  </a:lnTo>
                  <a:cubicBezTo>
                    <a:pt x="9227" y="496415"/>
                    <a:pt x="28817" y="367189"/>
                    <a:pt x="60050" y="242580"/>
                  </a:cubicBezTo>
                  <a:lnTo>
                    <a:pt x="90397" y="142228"/>
                  </a:lnTo>
                  <a:lnTo>
                    <a:pt x="93247" y="140891"/>
                  </a:lnTo>
                  <a:cubicBezTo>
                    <a:pt x="111073" y="135470"/>
                    <a:pt x="129992" y="132555"/>
                    <a:pt x="149597" y="132555"/>
                  </a:cubicBezTo>
                  <a:cubicBezTo>
                    <a:pt x="232314" y="132555"/>
                    <a:pt x="302825" y="184450"/>
                    <a:pt x="330511" y="257415"/>
                  </a:cubicBezTo>
                  <a:cubicBezTo>
                    <a:pt x="372790" y="230616"/>
                    <a:pt x="422912" y="215000"/>
                    <a:pt x="476647" y="215000"/>
                  </a:cubicBezTo>
                  <a:cubicBezTo>
                    <a:pt x="535565" y="215000"/>
                    <a:pt x="590119" y="233684"/>
                    <a:pt x="634717" y="265462"/>
                  </a:cubicBezTo>
                  <a:cubicBezTo>
                    <a:pt x="642559" y="121781"/>
                    <a:pt x="761554" y="7695"/>
                    <a:pt x="907212" y="7695"/>
                  </a:cubicBezTo>
                  <a:close/>
                  <a:moveTo>
                    <a:pt x="3876000" y="0"/>
                  </a:moveTo>
                  <a:lnTo>
                    <a:pt x="3900321" y="59284"/>
                  </a:lnTo>
                  <a:cubicBezTo>
                    <a:pt x="3964177" y="238811"/>
                    <a:pt x="4003212" y="430104"/>
                    <a:pt x="4013296" y="629037"/>
                  </a:cubicBezTo>
                  <a:lnTo>
                    <a:pt x="4015800" y="728066"/>
                  </a:lnTo>
                  <a:lnTo>
                    <a:pt x="3305648" y="728066"/>
                  </a:lnTo>
                  <a:lnTo>
                    <a:pt x="3299164" y="599659"/>
                  </a:lnTo>
                  <a:cubicBezTo>
                    <a:pt x="3282547" y="436032"/>
                    <a:pt x="3235537" y="281390"/>
                    <a:pt x="3163869" y="141468"/>
                  </a:cubicBezTo>
                  <a:lnTo>
                    <a:pt x="3135999" y="97392"/>
                  </a:lnTo>
                  <a:lnTo>
                    <a:pt x="3168942" y="92731"/>
                  </a:lnTo>
                  <a:cubicBezTo>
                    <a:pt x="3187082" y="92731"/>
                    <a:pt x="3204743" y="94572"/>
                    <a:pt x="3221859" y="97914"/>
                  </a:cubicBezTo>
                  <a:cubicBezTo>
                    <a:pt x="3246000" y="56112"/>
                    <a:pt x="3291075" y="27880"/>
                    <a:pt x="3342901" y="27880"/>
                  </a:cubicBezTo>
                  <a:cubicBezTo>
                    <a:pt x="3404683" y="27880"/>
                    <a:pt x="3457054" y="68046"/>
                    <a:pt x="3475535" y="123690"/>
                  </a:cubicBezTo>
                  <a:cubicBezTo>
                    <a:pt x="3511881" y="92322"/>
                    <a:pt x="3559206" y="73296"/>
                    <a:pt x="3610964" y="73296"/>
                  </a:cubicBezTo>
                  <a:cubicBezTo>
                    <a:pt x="3648811" y="73296"/>
                    <a:pt x="3684271" y="83457"/>
                    <a:pt x="3714821" y="101187"/>
                  </a:cubicBezTo>
                  <a:cubicBezTo>
                    <a:pt x="3739882" y="55259"/>
                    <a:pt x="3782702" y="20379"/>
                    <a:pt x="3834047" y="5810"/>
                  </a:cubicBezTo>
                  <a:close/>
                </a:path>
              </a:pathLst>
            </a:custGeom>
            <a:solidFill>
              <a:srgbClr val="00ABAB">
                <a:alpha val="20000"/>
              </a:srgbClr>
            </a:solidFill>
            <a:ln w="681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19"/>
            </a:p>
          </p:txBody>
        </p:sp>
        <p:sp>
          <p:nvSpPr>
            <p:cNvPr id="19" name="Freeform: Shape 18">
              <a:extLst>
                <a:ext uri="{FF2B5EF4-FFF2-40B4-BE49-F238E27FC236}">
                  <a16:creationId xmlns:a16="http://schemas.microsoft.com/office/drawing/2014/main" id="{47C7DF4D-B943-D377-416D-40DDFC51BF53}"/>
                </a:ext>
              </a:extLst>
            </p:cNvPr>
            <p:cNvSpPr/>
            <p:nvPr/>
          </p:nvSpPr>
          <p:spPr bwMode="gray">
            <a:xfrm>
              <a:off x="3597099" y="2891221"/>
              <a:ext cx="4981164" cy="564676"/>
            </a:xfrm>
            <a:custGeom>
              <a:avLst/>
              <a:gdLst>
                <a:gd name="connsiteX0" fmla="*/ 492467 w 4015800"/>
                <a:gd name="connsiteY0" fmla="*/ 95401 h 455240"/>
                <a:gd name="connsiteX1" fmla="*/ 732397 w 4015800"/>
                <a:gd name="connsiteY1" fmla="*/ 193358 h 455240"/>
                <a:gd name="connsiteX2" fmla="*/ 740883 w 4015800"/>
                <a:gd name="connsiteY2" fmla="*/ 204073 h 455240"/>
                <a:gd name="connsiteX3" fmla="*/ 716637 w 4015800"/>
                <a:gd name="connsiteY3" fmla="*/ 326833 h 455240"/>
                <a:gd name="connsiteX4" fmla="*/ 710153 w 4015800"/>
                <a:gd name="connsiteY4" fmla="*/ 455240 h 455240"/>
                <a:gd name="connsiteX5" fmla="*/ 0 w 4015800"/>
                <a:gd name="connsiteY5" fmla="*/ 455240 h 455240"/>
                <a:gd name="connsiteX6" fmla="*/ 2504 w 4015800"/>
                <a:gd name="connsiteY6" fmla="*/ 356211 h 455240"/>
                <a:gd name="connsiteX7" fmla="*/ 22085 w 4015800"/>
                <a:gd name="connsiteY7" fmla="*/ 159977 h 455240"/>
                <a:gd name="connsiteX8" fmla="*/ 27779 w 4015800"/>
                <a:gd name="connsiteY8" fmla="*/ 131452 h 455240"/>
                <a:gd name="connsiteX9" fmla="*/ 96679 w 4015800"/>
                <a:gd name="connsiteY9" fmla="*/ 167889 h 455240"/>
                <a:gd name="connsiteX10" fmla="*/ 192762 w 4015800"/>
                <a:gd name="connsiteY10" fmla="*/ 135634 h 455240"/>
                <a:gd name="connsiteX11" fmla="*/ 285162 w 4015800"/>
                <a:gd name="connsiteY11" fmla="*/ 165230 h 455240"/>
                <a:gd name="connsiteX12" fmla="*/ 492467 w 4015800"/>
                <a:gd name="connsiteY12" fmla="*/ 95401 h 455240"/>
                <a:gd name="connsiteX13" fmla="*/ 3598620 w 4015800"/>
                <a:gd name="connsiteY13" fmla="*/ 0 h 455240"/>
                <a:gd name="connsiteX14" fmla="*/ 3762350 w 4015800"/>
                <a:gd name="connsiteY14" fmla="*/ 49712 h 455240"/>
                <a:gd name="connsiteX15" fmla="*/ 3842135 w 4015800"/>
                <a:gd name="connsiteY15" fmla="*/ 32869 h 455240"/>
                <a:gd name="connsiteX16" fmla="*/ 3966705 w 4015800"/>
                <a:gd name="connsiteY16" fmla="*/ 77279 h 455240"/>
                <a:gd name="connsiteX17" fmla="*/ 3980310 w 4015800"/>
                <a:gd name="connsiteY17" fmla="*/ 92810 h 455240"/>
                <a:gd name="connsiteX18" fmla="*/ 3993715 w 4015800"/>
                <a:gd name="connsiteY18" fmla="*/ 159977 h 455240"/>
                <a:gd name="connsiteX19" fmla="*/ 4013296 w 4015800"/>
                <a:gd name="connsiteY19" fmla="*/ 356211 h 455240"/>
                <a:gd name="connsiteX20" fmla="*/ 4015800 w 4015800"/>
                <a:gd name="connsiteY20" fmla="*/ 455240 h 455240"/>
                <a:gd name="connsiteX21" fmla="*/ 3305648 w 4015800"/>
                <a:gd name="connsiteY21" fmla="*/ 455240 h 455240"/>
                <a:gd name="connsiteX22" fmla="*/ 3299164 w 4015800"/>
                <a:gd name="connsiteY22" fmla="*/ 326833 h 455240"/>
                <a:gd name="connsiteX23" fmla="*/ 3259369 w 4015800"/>
                <a:gd name="connsiteY23" fmla="*/ 125344 h 455240"/>
                <a:gd name="connsiteX24" fmla="*/ 3301013 w 4015800"/>
                <a:gd name="connsiteY24" fmla="*/ 130597 h 455240"/>
                <a:gd name="connsiteX25" fmla="*/ 3343718 w 4015800"/>
                <a:gd name="connsiteY25" fmla="*/ 147431 h 455240"/>
                <a:gd name="connsiteX26" fmla="*/ 3598620 w 4015800"/>
                <a:gd name="connsiteY26" fmla="*/ 0 h 45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5800" h="455240">
                  <a:moveTo>
                    <a:pt x="492467" y="95401"/>
                  </a:moveTo>
                  <a:cubicBezTo>
                    <a:pt x="585908" y="95401"/>
                    <a:pt x="670564" y="132762"/>
                    <a:pt x="732397" y="193358"/>
                  </a:cubicBezTo>
                  <a:lnTo>
                    <a:pt x="740883" y="204073"/>
                  </a:lnTo>
                  <a:lnTo>
                    <a:pt x="716637" y="326833"/>
                  </a:lnTo>
                  <a:lnTo>
                    <a:pt x="710153" y="455240"/>
                  </a:lnTo>
                  <a:lnTo>
                    <a:pt x="0" y="455240"/>
                  </a:lnTo>
                  <a:lnTo>
                    <a:pt x="2504" y="356211"/>
                  </a:lnTo>
                  <a:cubicBezTo>
                    <a:pt x="5865" y="289900"/>
                    <a:pt x="12444" y="224438"/>
                    <a:pt x="22085" y="159977"/>
                  </a:cubicBezTo>
                  <a:lnTo>
                    <a:pt x="27779" y="131452"/>
                  </a:lnTo>
                  <a:lnTo>
                    <a:pt x="96679" y="167889"/>
                  </a:lnTo>
                  <a:cubicBezTo>
                    <a:pt x="123411" y="147636"/>
                    <a:pt x="158257" y="135634"/>
                    <a:pt x="192762" y="135634"/>
                  </a:cubicBezTo>
                  <a:cubicBezTo>
                    <a:pt x="227267" y="135634"/>
                    <a:pt x="259113" y="146613"/>
                    <a:pt x="285162" y="165230"/>
                  </a:cubicBezTo>
                  <a:cubicBezTo>
                    <a:pt x="342717" y="121450"/>
                    <a:pt x="414523" y="95401"/>
                    <a:pt x="492467" y="95401"/>
                  </a:cubicBezTo>
                  <a:close/>
                  <a:moveTo>
                    <a:pt x="3598620" y="0"/>
                  </a:moveTo>
                  <a:cubicBezTo>
                    <a:pt x="3659243" y="0"/>
                    <a:pt x="3715570" y="18276"/>
                    <a:pt x="3762350" y="49712"/>
                  </a:cubicBezTo>
                  <a:cubicBezTo>
                    <a:pt x="3786763" y="38938"/>
                    <a:pt x="3813767" y="32869"/>
                    <a:pt x="3842135" y="32869"/>
                  </a:cubicBezTo>
                  <a:cubicBezTo>
                    <a:pt x="3889392" y="32869"/>
                    <a:pt x="3932763" y="49525"/>
                    <a:pt x="3966705" y="77279"/>
                  </a:cubicBezTo>
                  <a:lnTo>
                    <a:pt x="3980310" y="92810"/>
                  </a:lnTo>
                  <a:lnTo>
                    <a:pt x="3993715" y="159977"/>
                  </a:lnTo>
                  <a:cubicBezTo>
                    <a:pt x="4003357" y="224438"/>
                    <a:pt x="4009935" y="289900"/>
                    <a:pt x="4013296" y="356211"/>
                  </a:cubicBezTo>
                  <a:lnTo>
                    <a:pt x="4015800" y="455240"/>
                  </a:lnTo>
                  <a:lnTo>
                    <a:pt x="3305648" y="455240"/>
                  </a:lnTo>
                  <a:lnTo>
                    <a:pt x="3299164" y="326833"/>
                  </a:lnTo>
                  <a:lnTo>
                    <a:pt x="3259369" y="125344"/>
                  </a:lnTo>
                  <a:lnTo>
                    <a:pt x="3301013" y="130597"/>
                  </a:lnTo>
                  <a:cubicBezTo>
                    <a:pt x="3316067" y="134475"/>
                    <a:pt x="3330387" y="140169"/>
                    <a:pt x="3343718" y="147431"/>
                  </a:cubicBezTo>
                  <a:cubicBezTo>
                    <a:pt x="3394521" y="59327"/>
                    <a:pt x="3489581" y="0"/>
                    <a:pt x="3598620" y="0"/>
                  </a:cubicBezTo>
                  <a:close/>
                </a:path>
              </a:pathLst>
            </a:custGeom>
            <a:solidFill>
              <a:srgbClr val="79C8D2"/>
            </a:solidFill>
            <a:ln w="681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19"/>
            </a:p>
          </p:txBody>
        </p:sp>
        <p:sp>
          <p:nvSpPr>
            <p:cNvPr id="20" name="Oval 19">
              <a:extLst>
                <a:ext uri="{FF2B5EF4-FFF2-40B4-BE49-F238E27FC236}">
                  <a16:creationId xmlns:a16="http://schemas.microsoft.com/office/drawing/2014/main" id="{3A5C0AA1-D03B-2961-9B5F-FA5599C03F42}"/>
                </a:ext>
              </a:extLst>
            </p:cNvPr>
            <p:cNvSpPr>
              <a:spLocks noChangeAspect="1"/>
            </p:cNvSpPr>
            <p:nvPr/>
          </p:nvSpPr>
          <p:spPr bwMode="gray">
            <a:xfrm rot="2700000">
              <a:off x="4260080" y="1632180"/>
              <a:ext cx="3654934" cy="3654934"/>
            </a:xfrm>
            <a:prstGeom prst="ellipse">
              <a:avLst/>
            </a:prstGeom>
            <a:solidFill>
              <a:srgbClr val="0076A8"/>
            </a:solidFill>
            <a:ln w="6350" algn="ctr">
              <a:noFill/>
              <a:prstDash val="solid"/>
              <a:miter lim="800000"/>
              <a:headEnd/>
              <a:tailEnd/>
            </a:ln>
          </p:spPr>
          <p:txBody>
            <a:bodyPr rtlCol="0" anchor="ctr"/>
            <a:lstStyle/>
            <a:p>
              <a:pPr algn="ctr"/>
              <a:endParaRPr lang="en-US" sz="2419"/>
            </a:p>
          </p:txBody>
        </p:sp>
        <p:sp>
          <p:nvSpPr>
            <p:cNvPr id="21" name="Freeform: Shape 20">
              <a:extLst>
                <a:ext uri="{FF2B5EF4-FFF2-40B4-BE49-F238E27FC236}">
                  <a16:creationId xmlns:a16="http://schemas.microsoft.com/office/drawing/2014/main" id="{82CCD941-61EE-FCEF-34D5-A11681BBD53E}"/>
                </a:ext>
              </a:extLst>
            </p:cNvPr>
            <p:cNvSpPr/>
            <p:nvPr/>
          </p:nvSpPr>
          <p:spPr bwMode="gray">
            <a:xfrm rot="10800000">
              <a:off x="4458087" y="3451133"/>
              <a:ext cx="3258925" cy="1621961"/>
            </a:xfrm>
            <a:custGeom>
              <a:avLst/>
              <a:gdLst>
                <a:gd name="connsiteX0" fmla="*/ 1074988 w 2149976"/>
                <a:gd name="connsiteY0" fmla="*/ 0 h 1070040"/>
                <a:gd name="connsiteX1" fmla="*/ 2144688 w 2149976"/>
                <a:gd name="connsiteY1" fmla="*/ 965314 h 1070040"/>
                <a:gd name="connsiteX2" fmla="*/ 2149976 w 2149976"/>
                <a:gd name="connsiteY2" fmla="*/ 1070040 h 1070040"/>
                <a:gd name="connsiteX3" fmla="*/ 1583474 w 2149976"/>
                <a:gd name="connsiteY3" fmla="*/ 1070040 h 1070040"/>
                <a:gd name="connsiteX4" fmla="*/ 1573658 w 2149976"/>
                <a:gd name="connsiteY4" fmla="*/ 972668 h 1070040"/>
                <a:gd name="connsiteX5" fmla="*/ 1074988 w 2149976"/>
                <a:gd name="connsiteY5" fmla="*/ 566240 h 1070040"/>
                <a:gd name="connsiteX6" fmla="*/ 576319 w 2149976"/>
                <a:gd name="connsiteY6" fmla="*/ 972668 h 1070040"/>
                <a:gd name="connsiteX7" fmla="*/ 566503 w 2149976"/>
                <a:gd name="connsiteY7" fmla="*/ 1070040 h 1070040"/>
                <a:gd name="connsiteX8" fmla="*/ 0 w 2149976"/>
                <a:gd name="connsiteY8" fmla="*/ 1070040 h 1070040"/>
                <a:gd name="connsiteX9" fmla="*/ 5289 w 2149976"/>
                <a:gd name="connsiteY9" fmla="*/ 965314 h 1070040"/>
                <a:gd name="connsiteX10" fmla="*/ 1074988 w 2149976"/>
                <a:gd name="connsiteY10" fmla="*/ 0 h 10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9976" h="1070040">
                  <a:moveTo>
                    <a:pt x="1074988" y="0"/>
                  </a:moveTo>
                  <a:cubicBezTo>
                    <a:pt x="1631717" y="0"/>
                    <a:pt x="2089624" y="423112"/>
                    <a:pt x="2144688" y="965314"/>
                  </a:cubicBezTo>
                  <a:lnTo>
                    <a:pt x="2149976" y="1070040"/>
                  </a:lnTo>
                  <a:lnTo>
                    <a:pt x="1583474" y="1070040"/>
                  </a:lnTo>
                  <a:lnTo>
                    <a:pt x="1573658" y="972668"/>
                  </a:lnTo>
                  <a:cubicBezTo>
                    <a:pt x="1526195" y="740720"/>
                    <a:pt x="1320968" y="566240"/>
                    <a:pt x="1074988" y="566240"/>
                  </a:cubicBezTo>
                  <a:cubicBezTo>
                    <a:pt x="829009" y="566240"/>
                    <a:pt x="623782" y="740720"/>
                    <a:pt x="576319" y="972668"/>
                  </a:cubicBezTo>
                  <a:lnTo>
                    <a:pt x="566503" y="1070040"/>
                  </a:lnTo>
                  <a:lnTo>
                    <a:pt x="0" y="1070040"/>
                  </a:lnTo>
                  <a:lnTo>
                    <a:pt x="5289" y="965314"/>
                  </a:lnTo>
                  <a:cubicBezTo>
                    <a:pt x="60352" y="423112"/>
                    <a:pt x="518259" y="0"/>
                    <a:pt x="1074988" y="0"/>
                  </a:cubicBezTo>
                  <a:close/>
                </a:path>
              </a:pathLst>
            </a:custGeom>
            <a:gradFill>
              <a:gsLst>
                <a:gs pos="0">
                  <a:srgbClr val="0097A9"/>
                </a:gs>
                <a:gs pos="100000">
                  <a:srgbClr val="78C8D1">
                    <a:alpha val="30000"/>
                  </a:srgbClr>
                </a:gs>
              </a:gsLst>
              <a:lin ang="5400000" scaled="0"/>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sp>
          <p:nvSpPr>
            <p:cNvPr id="22" name="Freeform: Shape 21">
              <a:extLst>
                <a:ext uri="{FF2B5EF4-FFF2-40B4-BE49-F238E27FC236}">
                  <a16:creationId xmlns:a16="http://schemas.microsoft.com/office/drawing/2014/main" id="{27F3EE6D-38C1-2CED-F6BE-DC6EA6FF3A72}"/>
                </a:ext>
              </a:extLst>
            </p:cNvPr>
            <p:cNvSpPr/>
            <p:nvPr/>
          </p:nvSpPr>
          <p:spPr bwMode="gray">
            <a:xfrm rot="10800000">
              <a:off x="4457817" y="1823862"/>
              <a:ext cx="3259460" cy="1627271"/>
            </a:xfrm>
            <a:custGeom>
              <a:avLst/>
              <a:gdLst>
                <a:gd name="connsiteX0" fmla="*/ 0 w 2150329"/>
                <a:gd name="connsiteY0" fmla="*/ 0 h 1073543"/>
                <a:gd name="connsiteX1" fmla="*/ 566326 w 2150329"/>
                <a:gd name="connsiteY1" fmla="*/ 0 h 1073543"/>
                <a:gd name="connsiteX2" fmla="*/ 576495 w 2150329"/>
                <a:gd name="connsiteY2" fmla="*/ 100875 h 1073543"/>
                <a:gd name="connsiteX3" fmla="*/ 1075164 w 2150329"/>
                <a:gd name="connsiteY3" fmla="*/ 507303 h 1073543"/>
                <a:gd name="connsiteX4" fmla="*/ 1573834 w 2150329"/>
                <a:gd name="connsiteY4" fmla="*/ 100875 h 1073543"/>
                <a:gd name="connsiteX5" fmla="*/ 1584003 w 2150329"/>
                <a:gd name="connsiteY5" fmla="*/ 0 h 1073543"/>
                <a:gd name="connsiteX6" fmla="*/ 2150329 w 2150329"/>
                <a:gd name="connsiteY6" fmla="*/ 0 h 1073543"/>
                <a:gd name="connsiteX7" fmla="*/ 2144864 w 2150329"/>
                <a:gd name="connsiteY7" fmla="*/ 108229 h 1073543"/>
                <a:gd name="connsiteX8" fmla="*/ 1075164 w 2150329"/>
                <a:gd name="connsiteY8" fmla="*/ 1073543 h 1073543"/>
                <a:gd name="connsiteX9" fmla="*/ 5465 w 2150329"/>
                <a:gd name="connsiteY9" fmla="*/ 108229 h 107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0329" h="1073543">
                  <a:moveTo>
                    <a:pt x="0" y="0"/>
                  </a:moveTo>
                  <a:lnTo>
                    <a:pt x="566326" y="0"/>
                  </a:lnTo>
                  <a:lnTo>
                    <a:pt x="576495" y="100875"/>
                  </a:lnTo>
                  <a:cubicBezTo>
                    <a:pt x="623958" y="332823"/>
                    <a:pt x="829185" y="507303"/>
                    <a:pt x="1075164" y="507303"/>
                  </a:cubicBezTo>
                  <a:cubicBezTo>
                    <a:pt x="1321144" y="507303"/>
                    <a:pt x="1526371" y="332823"/>
                    <a:pt x="1573834" y="100875"/>
                  </a:cubicBezTo>
                  <a:lnTo>
                    <a:pt x="1584003" y="0"/>
                  </a:lnTo>
                  <a:lnTo>
                    <a:pt x="2150329" y="0"/>
                  </a:lnTo>
                  <a:lnTo>
                    <a:pt x="2144864" y="108229"/>
                  </a:lnTo>
                  <a:cubicBezTo>
                    <a:pt x="2089800" y="650432"/>
                    <a:pt x="1631893" y="1073543"/>
                    <a:pt x="1075164" y="1073543"/>
                  </a:cubicBezTo>
                  <a:cubicBezTo>
                    <a:pt x="518435" y="1073543"/>
                    <a:pt x="60528" y="650432"/>
                    <a:pt x="5465" y="108229"/>
                  </a:cubicBezTo>
                  <a:close/>
                </a:path>
              </a:pathLst>
            </a:custGeom>
            <a:gradFill>
              <a:gsLst>
                <a:gs pos="0">
                  <a:srgbClr val="62B5E5"/>
                </a:gs>
                <a:gs pos="100000">
                  <a:srgbClr val="00A3E0"/>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sp>
          <p:nvSpPr>
            <p:cNvPr id="23" name="Freeform: Shape 22">
              <a:extLst>
                <a:ext uri="{FF2B5EF4-FFF2-40B4-BE49-F238E27FC236}">
                  <a16:creationId xmlns:a16="http://schemas.microsoft.com/office/drawing/2014/main" id="{186E57C2-5D78-3D4A-E38D-C3837FA87547}"/>
                </a:ext>
              </a:extLst>
            </p:cNvPr>
            <p:cNvSpPr/>
            <p:nvPr/>
          </p:nvSpPr>
          <p:spPr>
            <a:xfrm>
              <a:off x="3604636" y="2368356"/>
              <a:ext cx="4973182" cy="1081335"/>
            </a:xfrm>
            <a:custGeom>
              <a:avLst/>
              <a:gdLst>
                <a:gd name="connsiteX0" fmla="*/ 866836 w 4009365"/>
                <a:gd name="connsiteY0" fmla="*/ 724294 h 871769"/>
                <a:gd name="connsiteX1" fmla="*/ 849304 w 4009365"/>
                <a:gd name="connsiteY1" fmla="*/ 748048 h 871769"/>
                <a:gd name="connsiteX2" fmla="*/ 866366 w 4009365"/>
                <a:gd name="connsiteY2" fmla="*/ 748048 h 871769"/>
                <a:gd name="connsiteX3" fmla="*/ 812000 w 4009365"/>
                <a:gd name="connsiteY3" fmla="*/ 724294 h 871769"/>
                <a:gd name="connsiteX4" fmla="*/ 812470 w 4009365"/>
                <a:gd name="connsiteY4" fmla="*/ 748048 h 871769"/>
                <a:gd name="connsiteX5" fmla="*/ 829532 w 4009365"/>
                <a:gd name="connsiteY5" fmla="*/ 748048 h 871769"/>
                <a:gd name="connsiteX6" fmla="*/ 99044 w 4009365"/>
                <a:gd name="connsiteY6" fmla="*/ 724294 h 871769"/>
                <a:gd name="connsiteX7" fmla="*/ 81511 w 4009365"/>
                <a:gd name="connsiteY7" fmla="*/ 748048 h 871769"/>
                <a:gd name="connsiteX8" fmla="*/ 98574 w 4009365"/>
                <a:gd name="connsiteY8" fmla="*/ 748048 h 871769"/>
                <a:gd name="connsiteX9" fmla="*/ 44207 w 4009365"/>
                <a:gd name="connsiteY9" fmla="*/ 724294 h 871769"/>
                <a:gd name="connsiteX10" fmla="*/ 44677 w 4009365"/>
                <a:gd name="connsiteY10" fmla="*/ 748048 h 871769"/>
                <a:gd name="connsiteX11" fmla="*/ 61739 w 4009365"/>
                <a:gd name="connsiteY11" fmla="*/ 748048 h 871769"/>
                <a:gd name="connsiteX12" fmla="*/ 870265 w 4009365"/>
                <a:gd name="connsiteY12" fmla="*/ 719648 h 871769"/>
                <a:gd name="connsiteX13" fmla="*/ 869159 w 4009365"/>
                <a:gd name="connsiteY13" fmla="*/ 721141 h 871769"/>
                <a:gd name="connsiteX14" fmla="*/ 868634 w 4009365"/>
                <a:gd name="connsiteY14" fmla="*/ 748048 h 871769"/>
                <a:gd name="connsiteX15" fmla="*/ 868606 w 4009365"/>
                <a:gd name="connsiteY15" fmla="*/ 748076 h 871769"/>
                <a:gd name="connsiteX16" fmla="*/ 888461 w 4009365"/>
                <a:gd name="connsiteY16" fmla="*/ 748076 h 871769"/>
                <a:gd name="connsiteX17" fmla="*/ 870265 w 4009365"/>
                <a:gd name="connsiteY17" fmla="*/ 719648 h 871769"/>
                <a:gd name="connsiteX18" fmla="*/ 808543 w 4009365"/>
                <a:gd name="connsiteY18" fmla="*/ 719648 h 871769"/>
                <a:gd name="connsiteX19" fmla="*/ 790348 w 4009365"/>
                <a:gd name="connsiteY19" fmla="*/ 748048 h 871769"/>
                <a:gd name="connsiteX20" fmla="*/ 810175 w 4009365"/>
                <a:gd name="connsiteY20" fmla="*/ 748048 h 871769"/>
                <a:gd name="connsiteX21" fmla="*/ 809649 w 4009365"/>
                <a:gd name="connsiteY21" fmla="*/ 721141 h 871769"/>
                <a:gd name="connsiteX22" fmla="*/ 808543 w 4009365"/>
                <a:gd name="connsiteY22" fmla="*/ 719648 h 871769"/>
                <a:gd name="connsiteX23" fmla="*/ 102500 w 4009365"/>
                <a:gd name="connsiteY23" fmla="*/ 719648 h 871769"/>
                <a:gd name="connsiteX24" fmla="*/ 101366 w 4009365"/>
                <a:gd name="connsiteY24" fmla="*/ 721141 h 871769"/>
                <a:gd name="connsiteX25" fmla="*/ 100841 w 4009365"/>
                <a:gd name="connsiteY25" fmla="*/ 748048 h 871769"/>
                <a:gd name="connsiteX26" fmla="*/ 100841 w 4009365"/>
                <a:gd name="connsiteY26" fmla="*/ 748076 h 871769"/>
                <a:gd name="connsiteX27" fmla="*/ 120696 w 4009365"/>
                <a:gd name="connsiteY27" fmla="*/ 748076 h 871769"/>
                <a:gd name="connsiteX28" fmla="*/ 102500 w 4009365"/>
                <a:gd name="connsiteY28" fmla="*/ 719648 h 871769"/>
                <a:gd name="connsiteX29" fmla="*/ 40751 w 4009365"/>
                <a:gd name="connsiteY29" fmla="*/ 719648 h 871769"/>
                <a:gd name="connsiteX30" fmla="*/ 22555 w 4009365"/>
                <a:gd name="connsiteY30" fmla="*/ 748048 h 871769"/>
                <a:gd name="connsiteX31" fmla="*/ 42382 w 4009365"/>
                <a:gd name="connsiteY31" fmla="*/ 748048 h 871769"/>
                <a:gd name="connsiteX32" fmla="*/ 41857 w 4009365"/>
                <a:gd name="connsiteY32" fmla="*/ 721141 h 871769"/>
                <a:gd name="connsiteX33" fmla="*/ 40751 w 4009365"/>
                <a:gd name="connsiteY33" fmla="*/ 719648 h 871769"/>
                <a:gd name="connsiteX34" fmla="*/ 925793 w 4009365"/>
                <a:gd name="connsiteY34" fmla="*/ 710661 h 871769"/>
                <a:gd name="connsiteX35" fmla="*/ 925434 w 4009365"/>
                <a:gd name="connsiteY35" fmla="*/ 748048 h 871769"/>
                <a:gd name="connsiteX36" fmla="*/ 953529 w 4009365"/>
                <a:gd name="connsiteY36" fmla="*/ 748048 h 871769"/>
                <a:gd name="connsiteX37" fmla="*/ 753016 w 4009365"/>
                <a:gd name="connsiteY37" fmla="*/ 710661 h 871769"/>
                <a:gd name="connsiteX38" fmla="*/ 725279 w 4009365"/>
                <a:gd name="connsiteY38" fmla="*/ 748048 h 871769"/>
                <a:gd name="connsiteX39" fmla="*/ 753375 w 4009365"/>
                <a:gd name="connsiteY39" fmla="*/ 748048 h 871769"/>
                <a:gd name="connsiteX40" fmla="*/ 157973 w 4009365"/>
                <a:gd name="connsiteY40" fmla="*/ 710661 h 871769"/>
                <a:gd name="connsiteX41" fmla="*/ 157613 w 4009365"/>
                <a:gd name="connsiteY41" fmla="*/ 748048 h 871769"/>
                <a:gd name="connsiteX42" fmla="*/ 185709 w 4009365"/>
                <a:gd name="connsiteY42" fmla="*/ 748048 h 871769"/>
                <a:gd name="connsiteX43" fmla="*/ 1192454 w 4009365"/>
                <a:gd name="connsiteY43" fmla="*/ 709250 h 871769"/>
                <a:gd name="connsiteX44" fmla="*/ 1172184 w 4009365"/>
                <a:gd name="connsiteY44" fmla="*/ 748020 h 871769"/>
                <a:gd name="connsiteX45" fmla="*/ 1172211 w 4009365"/>
                <a:gd name="connsiteY45" fmla="*/ 748020 h 871769"/>
                <a:gd name="connsiteX46" fmla="*/ 1192730 w 4009365"/>
                <a:gd name="connsiteY46" fmla="*/ 748020 h 871769"/>
                <a:gd name="connsiteX47" fmla="*/ 486383 w 4009365"/>
                <a:gd name="connsiteY47" fmla="*/ 709250 h 871769"/>
                <a:gd name="connsiteX48" fmla="*/ 486106 w 4009365"/>
                <a:gd name="connsiteY48" fmla="*/ 748020 h 871769"/>
                <a:gd name="connsiteX49" fmla="*/ 486134 w 4009365"/>
                <a:gd name="connsiteY49" fmla="*/ 748020 h 871769"/>
                <a:gd name="connsiteX50" fmla="*/ 506653 w 4009365"/>
                <a:gd name="connsiteY50" fmla="*/ 748020 h 871769"/>
                <a:gd name="connsiteX51" fmla="*/ 424633 w 4009365"/>
                <a:gd name="connsiteY51" fmla="*/ 709250 h 871769"/>
                <a:gd name="connsiteX52" fmla="*/ 404363 w 4009365"/>
                <a:gd name="connsiteY52" fmla="*/ 748020 h 871769"/>
                <a:gd name="connsiteX53" fmla="*/ 404391 w 4009365"/>
                <a:gd name="connsiteY53" fmla="*/ 748020 h 871769"/>
                <a:gd name="connsiteX54" fmla="*/ 424910 w 4009365"/>
                <a:gd name="connsiteY54" fmla="*/ 748020 h 871769"/>
                <a:gd name="connsiteX55" fmla="*/ 843193 w 4009365"/>
                <a:gd name="connsiteY55" fmla="*/ 707564 h 871769"/>
                <a:gd name="connsiteX56" fmla="*/ 843193 w 4009365"/>
                <a:gd name="connsiteY56" fmla="*/ 748048 h 871769"/>
                <a:gd name="connsiteX57" fmla="*/ 843469 w 4009365"/>
                <a:gd name="connsiteY57" fmla="*/ 748048 h 871769"/>
                <a:gd name="connsiteX58" fmla="*/ 865896 w 4009365"/>
                <a:gd name="connsiteY58" fmla="*/ 717685 h 871769"/>
                <a:gd name="connsiteX59" fmla="*/ 835643 w 4009365"/>
                <a:gd name="connsiteY59" fmla="*/ 707564 h 871769"/>
                <a:gd name="connsiteX60" fmla="*/ 812940 w 4009365"/>
                <a:gd name="connsiteY60" fmla="*/ 717685 h 871769"/>
                <a:gd name="connsiteX61" fmla="*/ 835339 w 4009365"/>
                <a:gd name="connsiteY61" fmla="*/ 748048 h 871769"/>
                <a:gd name="connsiteX62" fmla="*/ 835643 w 4009365"/>
                <a:gd name="connsiteY62" fmla="*/ 748048 h 871769"/>
                <a:gd name="connsiteX63" fmla="*/ 75372 w 4009365"/>
                <a:gd name="connsiteY63" fmla="*/ 707564 h 871769"/>
                <a:gd name="connsiteX64" fmla="*/ 75372 w 4009365"/>
                <a:gd name="connsiteY64" fmla="*/ 748048 h 871769"/>
                <a:gd name="connsiteX65" fmla="*/ 75649 w 4009365"/>
                <a:gd name="connsiteY65" fmla="*/ 748048 h 871769"/>
                <a:gd name="connsiteX66" fmla="*/ 98076 w 4009365"/>
                <a:gd name="connsiteY66" fmla="*/ 717685 h 871769"/>
                <a:gd name="connsiteX67" fmla="*/ 67851 w 4009365"/>
                <a:gd name="connsiteY67" fmla="*/ 707564 h 871769"/>
                <a:gd name="connsiteX68" fmla="*/ 45147 w 4009365"/>
                <a:gd name="connsiteY68" fmla="*/ 717685 h 871769"/>
                <a:gd name="connsiteX69" fmla="*/ 67547 w 4009365"/>
                <a:gd name="connsiteY69" fmla="*/ 748048 h 871769"/>
                <a:gd name="connsiteX70" fmla="*/ 67851 w 4009365"/>
                <a:gd name="connsiteY70" fmla="*/ 748048 h 871769"/>
                <a:gd name="connsiteX71" fmla="*/ 543017 w 4009365"/>
                <a:gd name="connsiteY71" fmla="*/ 706872 h 871769"/>
                <a:gd name="connsiteX72" fmla="*/ 543017 w 4009365"/>
                <a:gd name="connsiteY72" fmla="*/ 748020 h 871769"/>
                <a:gd name="connsiteX73" fmla="*/ 565858 w 4009365"/>
                <a:gd name="connsiteY73" fmla="*/ 748020 h 871769"/>
                <a:gd name="connsiteX74" fmla="*/ 1135820 w 4009365"/>
                <a:gd name="connsiteY74" fmla="*/ 706845 h 871769"/>
                <a:gd name="connsiteX75" fmla="*/ 1112978 w 4009365"/>
                <a:gd name="connsiteY75" fmla="*/ 747993 h 871769"/>
                <a:gd name="connsiteX76" fmla="*/ 1135820 w 4009365"/>
                <a:gd name="connsiteY76" fmla="*/ 747993 h 871769"/>
                <a:gd name="connsiteX77" fmla="*/ 367999 w 4009365"/>
                <a:gd name="connsiteY77" fmla="*/ 706845 h 871769"/>
                <a:gd name="connsiteX78" fmla="*/ 345158 w 4009365"/>
                <a:gd name="connsiteY78" fmla="*/ 747993 h 871769"/>
                <a:gd name="connsiteX79" fmla="*/ 367999 w 4009365"/>
                <a:gd name="connsiteY79" fmla="*/ 747993 h 871769"/>
                <a:gd name="connsiteX80" fmla="*/ 1194666 w 4009365"/>
                <a:gd name="connsiteY80" fmla="*/ 706070 h 871769"/>
                <a:gd name="connsiteX81" fmla="*/ 1194970 w 4009365"/>
                <a:gd name="connsiteY81" fmla="*/ 748020 h 871769"/>
                <a:gd name="connsiteX82" fmla="*/ 1215516 w 4009365"/>
                <a:gd name="connsiteY82" fmla="*/ 748020 h 871769"/>
                <a:gd name="connsiteX83" fmla="*/ 484143 w 4009365"/>
                <a:gd name="connsiteY83" fmla="*/ 706070 h 871769"/>
                <a:gd name="connsiteX84" fmla="*/ 463292 w 4009365"/>
                <a:gd name="connsiteY84" fmla="*/ 748020 h 871769"/>
                <a:gd name="connsiteX85" fmla="*/ 483839 w 4009365"/>
                <a:gd name="connsiteY85" fmla="*/ 748020 h 871769"/>
                <a:gd name="connsiteX86" fmla="*/ 426873 w 4009365"/>
                <a:gd name="connsiteY86" fmla="*/ 706070 h 871769"/>
                <a:gd name="connsiteX87" fmla="*/ 427150 w 4009365"/>
                <a:gd name="connsiteY87" fmla="*/ 748020 h 871769"/>
                <a:gd name="connsiteX88" fmla="*/ 427177 w 4009365"/>
                <a:gd name="connsiteY88" fmla="*/ 748020 h 871769"/>
                <a:gd name="connsiteX89" fmla="*/ 447724 w 4009365"/>
                <a:gd name="connsiteY89" fmla="*/ 748020 h 871769"/>
                <a:gd name="connsiteX90" fmla="*/ 601531 w 4009365"/>
                <a:gd name="connsiteY90" fmla="*/ 705932 h 871769"/>
                <a:gd name="connsiteX91" fmla="*/ 601807 w 4009365"/>
                <a:gd name="connsiteY91" fmla="*/ 748048 h 871769"/>
                <a:gd name="connsiteX92" fmla="*/ 623709 w 4009365"/>
                <a:gd name="connsiteY92" fmla="*/ 748048 h 871769"/>
                <a:gd name="connsiteX93" fmla="*/ 1077278 w 4009365"/>
                <a:gd name="connsiteY93" fmla="*/ 705904 h 871769"/>
                <a:gd name="connsiteX94" fmla="*/ 1055100 w 4009365"/>
                <a:gd name="connsiteY94" fmla="*/ 748020 h 871769"/>
                <a:gd name="connsiteX95" fmla="*/ 1077001 w 4009365"/>
                <a:gd name="connsiteY95" fmla="*/ 748020 h 871769"/>
                <a:gd name="connsiteX96" fmla="*/ 309485 w 4009365"/>
                <a:gd name="connsiteY96" fmla="*/ 705904 h 871769"/>
                <a:gd name="connsiteX97" fmla="*/ 287307 w 4009365"/>
                <a:gd name="connsiteY97" fmla="*/ 748020 h 871769"/>
                <a:gd name="connsiteX98" fmla="*/ 309208 w 4009365"/>
                <a:gd name="connsiteY98" fmla="*/ 748020 h 871769"/>
                <a:gd name="connsiteX99" fmla="*/ 540749 w 4009365"/>
                <a:gd name="connsiteY99" fmla="*/ 705407 h 871769"/>
                <a:gd name="connsiteX100" fmla="*/ 516635 w 4009365"/>
                <a:gd name="connsiteY100" fmla="*/ 748020 h 871769"/>
                <a:gd name="connsiteX101" fmla="*/ 540749 w 4009365"/>
                <a:gd name="connsiteY101" fmla="*/ 748020 h 871769"/>
                <a:gd name="connsiteX102" fmla="*/ 1138087 w 4009365"/>
                <a:gd name="connsiteY102" fmla="*/ 705379 h 871769"/>
                <a:gd name="connsiteX103" fmla="*/ 1138087 w 4009365"/>
                <a:gd name="connsiteY103" fmla="*/ 747993 h 871769"/>
                <a:gd name="connsiteX104" fmla="*/ 1162201 w 4009365"/>
                <a:gd name="connsiteY104" fmla="*/ 747993 h 871769"/>
                <a:gd name="connsiteX105" fmla="*/ 370267 w 4009365"/>
                <a:gd name="connsiteY105" fmla="*/ 705379 h 871769"/>
                <a:gd name="connsiteX106" fmla="*/ 370267 w 4009365"/>
                <a:gd name="connsiteY106" fmla="*/ 747993 h 871769"/>
                <a:gd name="connsiteX107" fmla="*/ 394353 w 4009365"/>
                <a:gd name="connsiteY107" fmla="*/ 747993 h 871769"/>
                <a:gd name="connsiteX108" fmla="*/ 630871 w 4009365"/>
                <a:gd name="connsiteY108" fmla="*/ 704854 h 871769"/>
                <a:gd name="connsiteX109" fmla="*/ 630871 w 4009365"/>
                <a:gd name="connsiteY109" fmla="*/ 748048 h 871769"/>
                <a:gd name="connsiteX110" fmla="*/ 654183 w 4009365"/>
                <a:gd name="connsiteY110" fmla="*/ 748048 h 871769"/>
                <a:gd name="connsiteX111" fmla="*/ 1047938 w 4009365"/>
                <a:gd name="connsiteY111" fmla="*/ 704826 h 871769"/>
                <a:gd name="connsiteX112" fmla="*/ 1024626 w 4009365"/>
                <a:gd name="connsiteY112" fmla="*/ 748020 h 871769"/>
                <a:gd name="connsiteX113" fmla="*/ 1047938 w 4009365"/>
                <a:gd name="connsiteY113" fmla="*/ 748020 h 871769"/>
                <a:gd name="connsiteX114" fmla="*/ 280117 w 4009365"/>
                <a:gd name="connsiteY114" fmla="*/ 704826 h 871769"/>
                <a:gd name="connsiteX115" fmla="*/ 256805 w 4009365"/>
                <a:gd name="connsiteY115" fmla="*/ 748020 h 871769"/>
                <a:gd name="connsiteX116" fmla="*/ 280117 w 4009365"/>
                <a:gd name="connsiteY116" fmla="*/ 748020 h 871769"/>
                <a:gd name="connsiteX117" fmla="*/ 599236 w 4009365"/>
                <a:gd name="connsiteY117" fmla="*/ 703554 h 871769"/>
                <a:gd name="connsiteX118" fmla="*/ 575813 w 4009365"/>
                <a:gd name="connsiteY118" fmla="*/ 748048 h 871769"/>
                <a:gd name="connsiteX119" fmla="*/ 599540 w 4009365"/>
                <a:gd name="connsiteY119" fmla="*/ 748048 h 871769"/>
                <a:gd name="connsiteX120" fmla="*/ 1079573 w 4009365"/>
                <a:gd name="connsiteY120" fmla="*/ 703526 h 871769"/>
                <a:gd name="connsiteX121" fmla="*/ 1079269 w 4009365"/>
                <a:gd name="connsiteY121" fmla="*/ 748020 h 871769"/>
                <a:gd name="connsiteX122" fmla="*/ 1102995 w 4009365"/>
                <a:gd name="connsiteY122" fmla="*/ 748020 h 871769"/>
                <a:gd name="connsiteX123" fmla="*/ 311780 w 4009365"/>
                <a:gd name="connsiteY123" fmla="*/ 703526 h 871769"/>
                <a:gd name="connsiteX124" fmla="*/ 311476 w 4009365"/>
                <a:gd name="connsiteY124" fmla="*/ 748020 h 871769"/>
                <a:gd name="connsiteX125" fmla="*/ 335202 w 4009365"/>
                <a:gd name="connsiteY125" fmla="*/ 748020 h 871769"/>
                <a:gd name="connsiteX126" fmla="*/ 511298 w 4009365"/>
                <a:gd name="connsiteY126" fmla="*/ 700318 h 871769"/>
                <a:gd name="connsiteX127" fmla="*/ 486964 w 4009365"/>
                <a:gd name="connsiteY127" fmla="*/ 700429 h 871769"/>
                <a:gd name="connsiteX128" fmla="*/ 510386 w 4009365"/>
                <a:gd name="connsiteY128" fmla="*/ 745200 h 871769"/>
                <a:gd name="connsiteX129" fmla="*/ 510386 w 4009365"/>
                <a:gd name="connsiteY129" fmla="*/ 745227 h 871769"/>
                <a:gd name="connsiteX130" fmla="*/ 399690 w 4009365"/>
                <a:gd name="connsiteY130" fmla="*/ 700291 h 871769"/>
                <a:gd name="connsiteX131" fmla="*/ 400630 w 4009365"/>
                <a:gd name="connsiteY131" fmla="*/ 745172 h 871769"/>
                <a:gd name="connsiteX132" fmla="*/ 424025 w 4009365"/>
                <a:gd name="connsiteY132" fmla="*/ 700401 h 871769"/>
                <a:gd name="connsiteX133" fmla="*/ 1167538 w 4009365"/>
                <a:gd name="connsiteY133" fmla="*/ 700263 h 871769"/>
                <a:gd name="connsiteX134" fmla="*/ 1167510 w 4009365"/>
                <a:gd name="connsiteY134" fmla="*/ 700291 h 871769"/>
                <a:gd name="connsiteX135" fmla="*/ 1167538 w 4009365"/>
                <a:gd name="connsiteY135" fmla="*/ 700291 h 871769"/>
                <a:gd name="connsiteX136" fmla="*/ 1168451 w 4009365"/>
                <a:gd name="connsiteY136" fmla="*/ 745172 h 871769"/>
                <a:gd name="connsiteX137" fmla="*/ 1191845 w 4009365"/>
                <a:gd name="connsiteY137" fmla="*/ 700401 h 871769"/>
                <a:gd name="connsiteX138" fmla="*/ 1167538 w 4009365"/>
                <a:gd name="connsiteY138" fmla="*/ 700291 h 871769"/>
                <a:gd name="connsiteX139" fmla="*/ 457789 w 4009365"/>
                <a:gd name="connsiteY139" fmla="*/ 700263 h 871769"/>
                <a:gd name="connsiteX140" fmla="*/ 457789 w 4009365"/>
                <a:gd name="connsiteY140" fmla="*/ 748020 h 871769"/>
                <a:gd name="connsiteX141" fmla="*/ 458149 w 4009365"/>
                <a:gd name="connsiteY141" fmla="*/ 748020 h 871769"/>
                <a:gd name="connsiteX142" fmla="*/ 481792 w 4009365"/>
                <a:gd name="connsiteY142" fmla="*/ 700401 h 871769"/>
                <a:gd name="connsiteX143" fmla="*/ 457789 w 4009365"/>
                <a:gd name="connsiteY143" fmla="*/ 700263 h 871769"/>
                <a:gd name="connsiteX144" fmla="*/ 453199 w 4009365"/>
                <a:gd name="connsiteY144" fmla="*/ 700263 h 871769"/>
                <a:gd name="connsiteX145" fmla="*/ 429196 w 4009365"/>
                <a:gd name="connsiteY145" fmla="*/ 700401 h 871769"/>
                <a:gd name="connsiteX146" fmla="*/ 452839 w 4009365"/>
                <a:gd name="connsiteY146" fmla="*/ 748020 h 871769"/>
                <a:gd name="connsiteX147" fmla="*/ 453199 w 4009365"/>
                <a:gd name="connsiteY147" fmla="*/ 748020 h 871769"/>
                <a:gd name="connsiteX148" fmla="*/ 1140272 w 4009365"/>
                <a:gd name="connsiteY148" fmla="*/ 699848 h 871769"/>
                <a:gd name="connsiteX149" fmla="*/ 1166183 w 4009365"/>
                <a:gd name="connsiteY149" fmla="*/ 745670 h 871769"/>
                <a:gd name="connsiteX150" fmla="*/ 1165243 w 4009365"/>
                <a:gd name="connsiteY150" fmla="*/ 700263 h 871769"/>
                <a:gd name="connsiteX151" fmla="*/ 1140272 w 4009365"/>
                <a:gd name="connsiteY151" fmla="*/ 699848 h 871769"/>
                <a:gd name="connsiteX152" fmla="*/ 538537 w 4009365"/>
                <a:gd name="connsiteY152" fmla="*/ 699848 h 871769"/>
                <a:gd name="connsiteX153" fmla="*/ 513566 w 4009365"/>
                <a:gd name="connsiteY153" fmla="*/ 700263 h 871769"/>
                <a:gd name="connsiteX154" fmla="*/ 512626 w 4009365"/>
                <a:gd name="connsiteY154" fmla="*/ 745670 h 871769"/>
                <a:gd name="connsiteX155" fmla="*/ 372424 w 4009365"/>
                <a:gd name="connsiteY155" fmla="*/ 699848 h 871769"/>
                <a:gd name="connsiteX156" fmla="*/ 398363 w 4009365"/>
                <a:gd name="connsiteY156" fmla="*/ 745670 h 871769"/>
                <a:gd name="connsiteX157" fmla="*/ 397422 w 4009365"/>
                <a:gd name="connsiteY157" fmla="*/ 700263 h 871769"/>
                <a:gd name="connsiteX158" fmla="*/ 372451 w 4009365"/>
                <a:gd name="connsiteY158" fmla="*/ 699848 h 871769"/>
                <a:gd name="connsiteX159" fmla="*/ 570504 w 4009365"/>
                <a:gd name="connsiteY159" fmla="*/ 698936 h 871769"/>
                <a:gd name="connsiteX160" fmla="*/ 544344 w 4009365"/>
                <a:gd name="connsiteY160" fmla="*/ 699738 h 871769"/>
                <a:gd name="connsiteX161" fmla="*/ 570172 w 4009365"/>
                <a:gd name="connsiteY161" fmla="*/ 746256 h 871769"/>
                <a:gd name="connsiteX162" fmla="*/ 570172 w 4009365"/>
                <a:gd name="connsiteY162" fmla="*/ 746306 h 871769"/>
                <a:gd name="connsiteX163" fmla="*/ 570200 w 4009365"/>
                <a:gd name="connsiteY163" fmla="*/ 746306 h 871769"/>
                <a:gd name="connsiteX164" fmla="*/ 570172 w 4009365"/>
                <a:gd name="connsiteY164" fmla="*/ 746256 h 871769"/>
                <a:gd name="connsiteX165" fmla="*/ 1108305 w 4009365"/>
                <a:gd name="connsiteY165" fmla="*/ 698908 h 871769"/>
                <a:gd name="connsiteX166" fmla="*/ 1108637 w 4009365"/>
                <a:gd name="connsiteY166" fmla="*/ 746278 h 871769"/>
                <a:gd name="connsiteX167" fmla="*/ 1134465 w 4009365"/>
                <a:gd name="connsiteY167" fmla="*/ 699710 h 871769"/>
                <a:gd name="connsiteX168" fmla="*/ 1108305 w 4009365"/>
                <a:gd name="connsiteY168" fmla="*/ 698908 h 871769"/>
                <a:gd name="connsiteX169" fmla="*/ 340484 w 4009365"/>
                <a:gd name="connsiteY169" fmla="*/ 698908 h 871769"/>
                <a:gd name="connsiteX170" fmla="*/ 340816 w 4009365"/>
                <a:gd name="connsiteY170" fmla="*/ 746278 h 871769"/>
                <a:gd name="connsiteX171" fmla="*/ 366644 w 4009365"/>
                <a:gd name="connsiteY171" fmla="*/ 699710 h 871769"/>
                <a:gd name="connsiteX172" fmla="*/ 340484 w 4009365"/>
                <a:gd name="connsiteY172" fmla="*/ 698908 h 871769"/>
                <a:gd name="connsiteX173" fmla="*/ 989783 w 4009365"/>
                <a:gd name="connsiteY173" fmla="*/ 698272 h 871769"/>
                <a:gd name="connsiteX174" fmla="*/ 964508 w 4009365"/>
                <a:gd name="connsiteY174" fmla="*/ 748048 h 871769"/>
                <a:gd name="connsiteX175" fmla="*/ 989202 w 4009365"/>
                <a:gd name="connsiteY175" fmla="*/ 748048 h 871769"/>
                <a:gd name="connsiteX176" fmla="*/ 689054 w 4009365"/>
                <a:gd name="connsiteY176" fmla="*/ 698272 h 871769"/>
                <a:gd name="connsiteX177" fmla="*/ 689634 w 4009365"/>
                <a:gd name="connsiteY177" fmla="*/ 748048 h 871769"/>
                <a:gd name="connsiteX178" fmla="*/ 714329 w 4009365"/>
                <a:gd name="connsiteY178" fmla="*/ 748048 h 871769"/>
                <a:gd name="connsiteX179" fmla="*/ 221962 w 4009365"/>
                <a:gd name="connsiteY179" fmla="*/ 698272 h 871769"/>
                <a:gd name="connsiteX180" fmla="*/ 196687 w 4009365"/>
                <a:gd name="connsiteY180" fmla="*/ 748048 h 871769"/>
                <a:gd name="connsiteX181" fmla="*/ 221354 w 4009365"/>
                <a:gd name="connsiteY181" fmla="*/ 748048 h 871769"/>
                <a:gd name="connsiteX182" fmla="*/ 597079 w 4009365"/>
                <a:gd name="connsiteY182" fmla="*/ 697747 h 871769"/>
                <a:gd name="connsiteX183" fmla="*/ 572799 w 4009365"/>
                <a:gd name="connsiteY183" fmla="*/ 698853 h 871769"/>
                <a:gd name="connsiteX184" fmla="*/ 572495 w 4009365"/>
                <a:gd name="connsiteY184" fmla="*/ 744453 h 871769"/>
                <a:gd name="connsiteX185" fmla="*/ 1081757 w 4009365"/>
                <a:gd name="connsiteY185" fmla="*/ 697719 h 871769"/>
                <a:gd name="connsiteX186" fmla="*/ 1106341 w 4009365"/>
                <a:gd name="connsiteY186" fmla="*/ 744425 h 871769"/>
                <a:gd name="connsiteX187" fmla="*/ 1106037 w 4009365"/>
                <a:gd name="connsiteY187" fmla="*/ 698825 h 871769"/>
                <a:gd name="connsiteX188" fmla="*/ 1081757 w 4009365"/>
                <a:gd name="connsiteY188" fmla="*/ 697719 h 871769"/>
                <a:gd name="connsiteX189" fmla="*/ 313937 w 4009365"/>
                <a:gd name="connsiteY189" fmla="*/ 697719 h 871769"/>
                <a:gd name="connsiteX190" fmla="*/ 338549 w 4009365"/>
                <a:gd name="connsiteY190" fmla="*/ 744425 h 871769"/>
                <a:gd name="connsiteX191" fmla="*/ 338217 w 4009365"/>
                <a:gd name="connsiteY191" fmla="*/ 698825 h 871769"/>
                <a:gd name="connsiteX192" fmla="*/ 313937 w 4009365"/>
                <a:gd name="connsiteY192" fmla="*/ 697719 h 871769"/>
                <a:gd name="connsiteX193" fmla="*/ 992050 w 4009365"/>
                <a:gd name="connsiteY193" fmla="*/ 697276 h 871769"/>
                <a:gd name="connsiteX194" fmla="*/ 991442 w 4009365"/>
                <a:gd name="connsiteY194" fmla="*/ 748048 h 871769"/>
                <a:gd name="connsiteX195" fmla="*/ 1015168 w 4009365"/>
                <a:gd name="connsiteY195" fmla="*/ 748048 h 871769"/>
                <a:gd name="connsiteX196" fmla="*/ 686758 w 4009365"/>
                <a:gd name="connsiteY196" fmla="*/ 697276 h 871769"/>
                <a:gd name="connsiteX197" fmla="*/ 663668 w 4009365"/>
                <a:gd name="connsiteY197" fmla="*/ 748048 h 871769"/>
                <a:gd name="connsiteX198" fmla="*/ 687367 w 4009365"/>
                <a:gd name="connsiteY198" fmla="*/ 748048 h 871769"/>
                <a:gd name="connsiteX199" fmla="*/ 224258 w 4009365"/>
                <a:gd name="connsiteY199" fmla="*/ 697276 h 871769"/>
                <a:gd name="connsiteX200" fmla="*/ 223649 w 4009365"/>
                <a:gd name="connsiteY200" fmla="*/ 748048 h 871769"/>
                <a:gd name="connsiteX201" fmla="*/ 223677 w 4009365"/>
                <a:gd name="connsiteY201" fmla="*/ 748048 h 871769"/>
                <a:gd name="connsiteX202" fmla="*/ 247376 w 4009365"/>
                <a:gd name="connsiteY202" fmla="*/ 748048 h 871769"/>
                <a:gd name="connsiteX203" fmla="*/ 626364 w 4009365"/>
                <a:gd name="connsiteY203" fmla="*/ 695949 h 871769"/>
                <a:gd name="connsiteX204" fmla="*/ 602305 w 4009365"/>
                <a:gd name="connsiteY204" fmla="*/ 697470 h 871769"/>
                <a:gd name="connsiteX205" fmla="*/ 626364 w 4009365"/>
                <a:gd name="connsiteY205" fmla="*/ 743126 h 871769"/>
                <a:gd name="connsiteX206" fmla="*/ 1052473 w 4009365"/>
                <a:gd name="connsiteY206" fmla="*/ 695922 h 871769"/>
                <a:gd name="connsiteX207" fmla="*/ 1052473 w 4009365"/>
                <a:gd name="connsiteY207" fmla="*/ 743098 h 871769"/>
                <a:gd name="connsiteX208" fmla="*/ 1076531 w 4009365"/>
                <a:gd name="connsiteY208" fmla="*/ 697442 h 871769"/>
                <a:gd name="connsiteX209" fmla="*/ 1052473 w 4009365"/>
                <a:gd name="connsiteY209" fmla="*/ 695922 h 871769"/>
                <a:gd name="connsiteX210" fmla="*/ 284652 w 4009365"/>
                <a:gd name="connsiteY210" fmla="*/ 695922 h 871769"/>
                <a:gd name="connsiteX211" fmla="*/ 284652 w 4009365"/>
                <a:gd name="connsiteY211" fmla="*/ 743098 h 871769"/>
                <a:gd name="connsiteX212" fmla="*/ 308711 w 4009365"/>
                <a:gd name="connsiteY212" fmla="*/ 697442 h 871769"/>
                <a:gd name="connsiteX213" fmla="*/ 284652 w 4009365"/>
                <a:gd name="connsiteY213" fmla="*/ 695922 h 871769"/>
                <a:gd name="connsiteX214" fmla="*/ 658801 w 4009365"/>
                <a:gd name="connsiteY214" fmla="*/ 693239 h 871769"/>
                <a:gd name="connsiteX215" fmla="*/ 631120 w 4009365"/>
                <a:gd name="connsiteY215" fmla="*/ 695590 h 871769"/>
                <a:gd name="connsiteX216" fmla="*/ 658441 w 4009365"/>
                <a:gd name="connsiteY216" fmla="*/ 746195 h 871769"/>
                <a:gd name="connsiteX217" fmla="*/ 1020008 w 4009365"/>
                <a:gd name="connsiteY217" fmla="*/ 693211 h 871769"/>
                <a:gd name="connsiteX218" fmla="*/ 1020367 w 4009365"/>
                <a:gd name="connsiteY218" fmla="*/ 746167 h 871769"/>
                <a:gd name="connsiteX219" fmla="*/ 1047689 w 4009365"/>
                <a:gd name="connsiteY219" fmla="*/ 695562 h 871769"/>
                <a:gd name="connsiteX220" fmla="*/ 1020008 w 4009365"/>
                <a:gd name="connsiteY220" fmla="*/ 693211 h 871769"/>
                <a:gd name="connsiteX221" fmla="*/ 252187 w 4009365"/>
                <a:gd name="connsiteY221" fmla="*/ 693211 h 871769"/>
                <a:gd name="connsiteX222" fmla="*/ 252215 w 4009365"/>
                <a:gd name="connsiteY222" fmla="*/ 693214 h 871769"/>
                <a:gd name="connsiteX223" fmla="*/ 252574 w 4009365"/>
                <a:gd name="connsiteY223" fmla="*/ 746167 h 871769"/>
                <a:gd name="connsiteX224" fmla="*/ 279868 w 4009365"/>
                <a:gd name="connsiteY224" fmla="*/ 695562 h 871769"/>
                <a:gd name="connsiteX225" fmla="*/ 252215 w 4009365"/>
                <a:gd name="connsiteY225" fmla="*/ 693214 h 871769"/>
                <a:gd name="connsiteX226" fmla="*/ 252215 w 4009365"/>
                <a:gd name="connsiteY226" fmla="*/ 693211 h 871769"/>
                <a:gd name="connsiteX227" fmla="*/ 684795 w 4009365"/>
                <a:gd name="connsiteY227" fmla="*/ 690446 h 871769"/>
                <a:gd name="connsiteX228" fmla="*/ 659935 w 4009365"/>
                <a:gd name="connsiteY228" fmla="*/ 693128 h 871769"/>
                <a:gd name="connsiteX229" fmla="*/ 659907 w 4009365"/>
                <a:gd name="connsiteY229" fmla="*/ 693156 h 871769"/>
                <a:gd name="connsiteX230" fmla="*/ 661041 w 4009365"/>
                <a:gd name="connsiteY230" fmla="*/ 693156 h 871769"/>
                <a:gd name="connsiteX231" fmla="*/ 660709 w 4009365"/>
                <a:gd name="connsiteY231" fmla="*/ 743402 h 871769"/>
                <a:gd name="connsiteX232" fmla="*/ 993986 w 4009365"/>
                <a:gd name="connsiteY232" fmla="*/ 690418 h 871769"/>
                <a:gd name="connsiteX233" fmla="*/ 1018044 w 4009365"/>
                <a:gd name="connsiteY233" fmla="*/ 743313 h 871769"/>
                <a:gd name="connsiteX234" fmla="*/ 1018044 w 4009365"/>
                <a:gd name="connsiteY234" fmla="*/ 743347 h 871769"/>
                <a:gd name="connsiteX235" fmla="*/ 1018072 w 4009365"/>
                <a:gd name="connsiteY235" fmla="*/ 743375 h 871769"/>
                <a:gd name="connsiteX236" fmla="*/ 1018044 w 4009365"/>
                <a:gd name="connsiteY236" fmla="*/ 743313 h 871769"/>
                <a:gd name="connsiteX237" fmla="*/ 1017992 w 4009365"/>
                <a:gd name="connsiteY237" fmla="*/ 735496 h 871769"/>
                <a:gd name="connsiteX238" fmla="*/ 1017713 w 4009365"/>
                <a:gd name="connsiteY238" fmla="*/ 693101 h 871769"/>
                <a:gd name="connsiteX239" fmla="*/ 1018846 w 4009365"/>
                <a:gd name="connsiteY239" fmla="*/ 693101 h 871769"/>
                <a:gd name="connsiteX240" fmla="*/ 993986 w 4009365"/>
                <a:gd name="connsiteY240" fmla="*/ 690418 h 871769"/>
                <a:gd name="connsiteX241" fmla="*/ 226193 w 4009365"/>
                <a:gd name="connsiteY241" fmla="*/ 690418 h 871769"/>
                <a:gd name="connsiteX242" fmla="*/ 250279 w 4009365"/>
                <a:gd name="connsiteY242" fmla="*/ 743375 h 871769"/>
                <a:gd name="connsiteX243" fmla="*/ 250279 w 4009365"/>
                <a:gd name="connsiteY243" fmla="*/ 743347 h 871769"/>
                <a:gd name="connsiteX244" fmla="*/ 249947 w 4009365"/>
                <a:gd name="connsiteY244" fmla="*/ 693101 h 871769"/>
                <a:gd name="connsiteX245" fmla="*/ 251081 w 4009365"/>
                <a:gd name="connsiteY245" fmla="*/ 693101 h 871769"/>
                <a:gd name="connsiteX246" fmla="*/ 226193 w 4009365"/>
                <a:gd name="connsiteY246" fmla="*/ 690418 h 871769"/>
                <a:gd name="connsiteX247" fmla="*/ 960747 w 4009365"/>
                <a:gd name="connsiteY247" fmla="*/ 685856 h 871769"/>
                <a:gd name="connsiteX248" fmla="*/ 960830 w 4009365"/>
                <a:gd name="connsiteY248" fmla="*/ 745089 h 871769"/>
                <a:gd name="connsiteX249" fmla="*/ 988898 w 4009365"/>
                <a:gd name="connsiteY249" fmla="*/ 689810 h 871769"/>
                <a:gd name="connsiteX250" fmla="*/ 960747 w 4009365"/>
                <a:gd name="connsiteY250" fmla="*/ 685856 h 871769"/>
                <a:gd name="connsiteX251" fmla="*/ 718089 w 4009365"/>
                <a:gd name="connsiteY251" fmla="*/ 685856 h 871769"/>
                <a:gd name="connsiteX252" fmla="*/ 689938 w 4009365"/>
                <a:gd name="connsiteY252" fmla="*/ 689810 h 871769"/>
                <a:gd name="connsiteX253" fmla="*/ 718007 w 4009365"/>
                <a:gd name="connsiteY253" fmla="*/ 745089 h 871769"/>
                <a:gd name="connsiteX254" fmla="*/ 192926 w 4009365"/>
                <a:gd name="connsiteY254" fmla="*/ 685856 h 871769"/>
                <a:gd name="connsiteX255" fmla="*/ 193009 w 4009365"/>
                <a:gd name="connsiteY255" fmla="*/ 745089 h 871769"/>
                <a:gd name="connsiteX256" fmla="*/ 221077 w 4009365"/>
                <a:gd name="connsiteY256" fmla="*/ 689810 h 871769"/>
                <a:gd name="connsiteX257" fmla="*/ 192926 w 4009365"/>
                <a:gd name="connsiteY257" fmla="*/ 685856 h 871769"/>
                <a:gd name="connsiteX258" fmla="*/ 752711 w 4009365"/>
                <a:gd name="connsiteY258" fmla="*/ 679551 h 871769"/>
                <a:gd name="connsiteX259" fmla="*/ 719223 w 4009365"/>
                <a:gd name="connsiteY259" fmla="*/ 685690 h 871769"/>
                <a:gd name="connsiteX260" fmla="*/ 720357 w 4009365"/>
                <a:gd name="connsiteY260" fmla="*/ 685690 h 871769"/>
                <a:gd name="connsiteX261" fmla="*/ 720274 w 4009365"/>
                <a:gd name="connsiteY261" fmla="*/ 746942 h 871769"/>
                <a:gd name="connsiteX262" fmla="*/ 752960 w 4009365"/>
                <a:gd name="connsiteY262" fmla="*/ 702918 h 871769"/>
                <a:gd name="connsiteX263" fmla="*/ 926097 w 4009365"/>
                <a:gd name="connsiteY263" fmla="*/ 679523 h 871769"/>
                <a:gd name="connsiteX264" fmla="*/ 925876 w 4009365"/>
                <a:gd name="connsiteY264" fmla="*/ 702890 h 871769"/>
                <a:gd name="connsiteX265" fmla="*/ 958535 w 4009365"/>
                <a:gd name="connsiteY265" fmla="*/ 746878 h 871769"/>
                <a:gd name="connsiteX266" fmla="*/ 958535 w 4009365"/>
                <a:gd name="connsiteY266" fmla="*/ 746914 h 871769"/>
                <a:gd name="connsiteX267" fmla="*/ 958562 w 4009365"/>
                <a:gd name="connsiteY267" fmla="*/ 746914 h 871769"/>
                <a:gd name="connsiteX268" fmla="*/ 958535 w 4009365"/>
                <a:gd name="connsiteY268" fmla="*/ 746878 h 871769"/>
                <a:gd name="connsiteX269" fmla="*/ 958452 w 4009365"/>
                <a:gd name="connsiteY269" fmla="*/ 685662 h 871769"/>
                <a:gd name="connsiteX270" fmla="*/ 959585 w 4009365"/>
                <a:gd name="connsiteY270" fmla="*/ 685662 h 871769"/>
                <a:gd name="connsiteX271" fmla="*/ 926097 w 4009365"/>
                <a:gd name="connsiteY271" fmla="*/ 679523 h 871769"/>
                <a:gd name="connsiteX272" fmla="*/ 158305 w 4009365"/>
                <a:gd name="connsiteY272" fmla="*/ 679523 h 871769"/>
                <a:gd name="connsiteX273" fmla="*/ 158056 w 4009365"/>
                <a:gd name="connsiteY273" fmla="*/ 702890 h 871769"/>
                <a:gd name="connsiteX274" fmla="*/ 190714 w 4009365"/>
                <a:gd name="connsiteY274" fmla="*/ 746876 h 871769"/>
                <a:gd name="connsiteX275" fmla="*/ 190714 w 4009365"/>
                <a:gd name="connsiteY275" fmla="*/ 746914 h 871769"/>
                <a:gd name="connsiteX276" fmla="*/ 190742 w 4009365"/>
                <a:gd name="connsiteY276" fmla="*/ 746914 h 871769"/>
                <a:gd name="connsiteX277" fmla="*/ 190714 w 4009365"/>
                <a:gd name="connsiteY277" fmla="*/ 746876 h 871769"/>
                <a:gd name="connsiteX278" fmla="*/ 190631 w 4009365"/>
                <a:gd name="connsiteY278" fmla="*/ 685662 h 871769"/>
                <a:gd name="connsiteX279" fmla="*/ 191793 w 4009365"/>
                <a:gd name="connsiteY279" fmla="*/ 685662 h 871769"/>
                <a:gd name="connsiteX280" fmla="*/ 158305 w 4009365"/>
                <a:gd name="connsiteY280" fmla="*/ 679523 h 871769"/>
                <a:gd name="connsiteX281" fmla="*/ 900159 w 4009365"/>
                <a:gd name="connsiteY281" fmla="*/ 679191 h 871769"/>
                <a:gd name="connsiteX282" fmla="*/ 871040 w 4009365"/>
                <a:gd name="connsiteY282" fmla="*/ 718625 h 871769"/>
                <a:gd name="connsiteX283" fmla="*/ 871952 w 4009365"/>
                <a:gd name="connsiteY283" fmla="*/ 717906 h 871769"/>
                <a:gd name="connsiteX284" fmla="*/ 891254 w 4009365"/>
                <a:gd name="connsiteY284" fmla="*/ 748048 h 871769"/>
                <a:gd name="connsiteX285" fmla="*/ 899052 w 4009365"/>
                <a:gd name="connsiteY285" fmla="*/ 748048 h 871769"/>
                <a:gd name="connsiteX286" fmla="*/ 899080 w 4009365"/>
                <a:gd name="connsiteY286" fmla="*/ 748048 h 871769"/>
                <a:gd name="connsiteX287" fmla="*/ 778733 w 4009365"/>
                <a:gd name="connsiteY287" fmla="*/ 679191 h 871769"/>
                <a:gd name="connsiteX288" fmla="*/ 779784 w 4009365"/>
                <a:gd name="connsiteY288" fmla="*/ 748048 h 871769"/>
                <a:gd name="connsiteX289" fmla="*/ 779812 w 4009365"/>
                <a:gd name="connsiteY289" fmla="*/ 748048 h 871769"/>
                <a:gd name="connsiteX290" fmla="*/ 787610 w 4009365"/>
                <a:gd name="connsiteY290" fmla="*/ 748048 h 871769"/>
                <a:gd name="connsiteX291" fmla="*/ 806939 w 4009365"/>
                <a:gd name="connsiteY291" fmla="*/ 717906 h 871769"/>
                <a:gd name="connsiteX292" fmla="*/ 807852 w 4009365"/>
                <a:gd name="connsiteY292" fmla="*/ 718625 h 871769"/>
                <a:gd name="connsiteX293" fmla="*/ 132338 w 4009365"/>
                <a:gd name="connsiteY293" fmla="*/ 679191 h 871769"/>
                <a:gd name="connsiteX294" fmla="*/ 103247 w 4009365"/>
                <a:gd name="connsiteY294" fmla="*/ 718625 h 871769"/>
                <a:gd name="connsiteX295" fmla="*/ 104159 w 4009365"/>
                <a:gd name="connsiteY295" fmla="*/ 717906 h 871769"/>
                <a:gd name="connsiteX296" fmla="*/ 123461 w 4009365"/>
                <a:gd name="connsiteY296" fmla="*/ 748048 h 871769"/>
                <a:gd name="connsiteX297" fmla="*/ 131260 w 4009365"/>
                <a:gd name="connsiteY297" fmla="*/ 748048 h 871769"/>
                <a:gd name="connsiteX298" fmla="*/ 131287 w 4009365"/>
                <a:gd name="connsiteY298" fmla="*/ 748048 h 871769"/>
                <a:gd name="connsiteX299" fmla="*/ 10913 w 4009365"/>
                <a:gd name="connsiteY299" fmla="*/ 679191 h 871769"/>
                <a:gd name="connsiteX300" fmla="*/ 11991 w 4009365"/>
                <a:gd name="connsiteY300" fmla="*/ 748048 h 871769"/>
                <a:gd name="connsiteX301" fmla="*/ 12019 w 4009365"/>
                <a:gd name="connsiteY301" fmla="*/ 748048 h 871769"/>
                <a:gd name="connsiteX302" fmla="*/ 19817 w 4009365"/>
                <a:gd name="connsiteY302" fmla="*/ 748048 h 871769"/>
                <a:gd name="connsiteX303" fmla="*/ 39119 w 4009365"/>
                <a:gd name="connsiteY303" fmla="*/ 717906 h 871769"/>
                <a:gd name="connsiteX304" fmla="*/ 40032 w 4009365"/>
                <a:gd name="connsiteY304" fmla="*/ 718625 h 871769"/>
                <a:gd name="connsiteX305" fmla="*/ 776493 w 4009365"/>
                <a:gd name="connsiteY305" fmla="*/ 679136 h 871769"/>
                <a:gd name="connsiteX306" fmla="*/ 755283 w 4009365"/>
                <a:gd name="connsiteY306" fmla="*/ 707674 h 871769"/>
                <a:gd name="connsiteX307" fmla="*/ 755670 w 4009365"/>
                <a:gd name="connsiteY307" fmla="*/ 748048 h 871769"/>
                <a:gd name="connsiteX308" fmla="*/ 755670 w 4009365"/>
                <a:gd name="connsiteY308" fmla="*/ 748076 h 871769"/>
                <a:gd name="connsiteX309" fmla="*/ 777544 w 4009365"/>
                <a:gd name="connsiteY309" fmla="*/ 748076 h 871769"/>
                <a:gd name="connsiteX310" fmla="*/ 902371 w 4009365"/>
                <a:gd name="connsiteY310" fmla="*/ 679108 h 871769"/>
                <a:gd name="connsiteX311" fmla="*/ 901320 w 4009365"/>
                <a:gd name="connsiteY311" fmla="*/ 748048 h 871769"/>
                <a:gd name="connsiteX312" fmla="*/ 923166 w 4009365"/>
                <a:gd name="connsiteY312" fmla="*/ 748048 h 871769"/>
                <a:gd name="connsiteX313" fmla="*/ 923166 w 4009365"/>
                <a:gd name="connsiteY313" fmla="*/ 748020 h 871769"/>
                <a:gd name="connsiteX314" fmla="*/ 923553 w 4009365"/>
                <a:gd name="connsiteY314" fmla="*/ 707646 h 871769"/>
                <a:gd name="connsiteX315" fmla="*/ 134578 w 4009365"/>
                <a:gd name="connsiteY315" fmla="*/ 679108 h 871769"/>
                <a:gd name="connsiteX316" fmla="*/ 133527 w 4009365"/>
                <a:gd name="connsiteY316" fmla="*/ 748048 h 871769"/>
                <a:gd name="connsiteX317" fmla="*/ 155373 w 4009365"/>
                <a:gd name="connsiteY317" fmla="*/ 748048 h 871769"/>
                <a:gd name="connsiteX318" fmla="*/ 155373 w 4009365"/>
                <a:gd name="connsiteY318" fmla="*/ 748020 h 871769"/>
                <a:gd name="connsiteX319" fmla="*/ 155788 w 4009365"/>
                <a:gd name="connsiteY319" fmla="*/ 707646 h 871769"/>
                <a:gd name="connsiteX320" fmla="*/ 904860 w 4009365"/>
                <a:gd name="connsiteY320" fmla="*/ 674628 h 871769"/>
                <a:gd name="connsiteX321" fmla="*/ 923636 w 4009365"/>
                <a:gd name="connsiteY321" fmla="*/ 699904 h 871769"/>
                <a:gd name="connsiteX322" fmla="*/ 923636 w 4009365"/>
                <a:gd name="connsiteY322" fmla="*/ 699931 h 871769"/>
                <a:gd name="connsiteX323" fmla="*/ 923830 w 4009365"/>
                <a:gd name="connsiteY323" fmla="*/ 679081 h 871769"/>
                <a:gd name="connsiteX324" fmla="*/ 904860 w 4009365"/>
                <a:gd name="connsiteY324" fmla="*/ 674628 h 871769"/>
                <a:gd name="connsiteX325" fmla="*/ 137067 w 4009365"/>
                <a:gd name="connsiteY325" fmla="*/ 674628 h 871769"/>
                <a:gd name="connsiteX326" fmla="*/ 155843 w 4009365"/>
                <a:gd name="connsiteY326" fmla="*/ 699904 h 871769"/>
                <a:gd name="connsiteX327" fmla="*/ 155843 w 4009365"/>
                <a:gd name="connsiteY327" fmla="*/ 699931 h 871769"/>
                <a:gd name="connsiteX328" fmla="*/ 156037 w 4009365"/>
                <a:gd name="connsiteY328" fmla="*/ 679081 h 871769"/>
                <a:gd name="connsiteX329" fmla="*/ 137067 w 4009365"/>
                <a:gd name="connsiteY329" fmla="*/ 674628 h 871769"/>
                <a:gd name="connsiteX330" fmla="*/ 773949 w 4009365"/>
                <a:gd name="connsiteY330" fmla="*/ 674601 h 871769"/>
                <a:gd name="connsiteX331" fmla="*/ 754979 w 4009365"/>
                <a:gd name="connsiteY331" fmla="*/ 679053 h 871769"/>
                <a:gd name="connsiteX332" fmla="*/ 755173 w 4009365"/>
                <a:gd name="connsiteY332" fmla="*/ 699876 h 871769"/>
                <a:gd name="connsiteX333" fmla="*/ 870293 w 4009365"/>
                <a:gd name="connsiteY333" fmla="*/ 663927 h 871769"/>
                <a:gd name="connsiteX334" fmla="*/ 869325 w 4009365"/>
                <a:gd name="connsiteY334" fmla="*/ 713066 h 871769"/>
                <a:gd name="connsiteX335" fmla="*/ 898859 w 4009365"/>
                <a:gd name="connsiteY335" fmla="*/ 673052 h 871769"/>
                <a:gd name="connsiteX336" fmla="*/ 870293 w 4009365"/>
                <a:gd name="connsiteY336" fmla="*/ 663927 h 871769"/>
                <a:gd name="connsiteX337" fmla="*/ 102473 w 4009365"/>
                <a:gd name="connsiteY337" fmla="*/ 663927 h 871769"/>
                <a:gd name="connsiteX338" fmla="*/ 101505 w 4009365"/>
                <a:gd name="connsiteY338" fmla="*/ 713066 h 871769"/>
                <a:gd name="connsiteX339" fmla="*/ 131038 w 4009365"/>
                <a:gd name="connsiteY339" fmla="*/ 673052 h 871769"/>
                <a:gd name="connsiteX340" fmla="*/ 102473 w 4009365"/>
                <a:gd name="connsiteY340" fmla="*/ 663927 h 871769"/>
                <a:gd name="connsiteX341" fmla="*/ 808543 w 4009365"/>
                <a:gd name="connsiteY341" fmla="*/ 663899 h 871769"/>
                <a:gd name="connsiteX342" fmla="*/ 779978 w 4009365"/>
                <a:gd name="connsiteY342" fmla="*/ 673025 h 871769"/>
                <a:gd name="connsiteX343" fmla="*/ 809511 w 4009365"/>
                <a:gd name="connsiteY343" fmla="*/ 713039 h 871769"/>
                <a:gd name="connsiteX344" fmla="*/ 40723 w 4009365"/>
                <a:gd name="connsiteY344" fmla="*/ 663899 h 871769"/>
                <a:gd name="connsiteX345" fmla="*/ 12157 w 4009365"/>
                <a:gd name="connsiteY345" fmla="*/ 673025 h 871769"/>
                <a:gd name="connsiteX346" fmla="*/ 41691 w 4009365"/>
                <a:gd name="connsiteY346" fmla="*/ 713039 h 871769"/>
                <a:gd name="connsiteX347" fmla="*/ 843193 w 4009365"/>
                <a:gd name="connsiteY347" fmla="*/ 650957 h 871769"/>
                <a:gd name="connsiteX348" fmla="*/ 843193 w 4009365"/>
                <a:gd name="connsiteY348" fmla="*/ 704881 h 871769"/>
                <a:gd name="connsiteX349" fmla="*/ 867002 w 4009365"/>
                <a:gd name="connsiteY349" fmla="*/ 715500 h 871769"/>
                <a:gd name="connsiteX350" fmla="*/ 868025 w 4009365"/>
                <a:gd name="connsiteY350" fmla="*/ 663042 h 871769"/>
                <a:gd name="connsiteX351" fmla="*/ 843193 w 4009365"/>
                <a:gd name="connsiteY351" fmla="*/ 650957 h 871769"/>
                <a:gd name="connsiteX352" fmla="*/ 835643 w 4009365"/>
                <a:gd name="connsiteY352" fmla="*/ 650957 h 871769"/>
                <a:gd name="connsiteX353" fmla="*/ 810811 w 4009365"/>
                <a:gd name="connsiteY353" fmla="*/ 663042 h 871769"/>
                <a:gd name="connsiteX354" fmla="*/ 811834 w 4009365"/>
                <a:gd name="connsiteY354" fmla="*/ 715500 h 871769"/>
                <a:gd name="connsiteX355" fmla="*/ 835643 w 4009365"/>
                <a:gd name="connsiteY355" fmla="*/ 704881 h 871769"/>
                <a:gd name="connsiteX356" fmla="*/ 75400 w 4009365"/>
                <a:gd name="connsiteY356" fmla="*/ 650957 h 871769"/>
                <a:gd name="connsiteX357" fmla="*/ 75400 w 4009365"/>
                <a:gd name="connsiteY357" fmla="*/ 704881 h 871769"/>
                <a:gd name="connsiteX358" fmla="*/ 99210 w 4009365"/>
                <a:gd name="connsiteY358" fmla="*/ 715500 h 871769"/>
                <a:gd name="connsiteX359" fmla="*/ 100233 w 4009365"/>
                <a:gd name="connsiteY359" fmla="*/ 663042 h 871769"/>
                <a:gd name="connsiteX360" fmla="*/ 75400 w 4009365"/>
                <a:gd name="connsiteY360" fmla="*/ 650957 h 871769"/>
                <a:gd name="connsiteX361" fmla="*/ 67878 w 4009365"/>
                <a:gd name="connsiteY361" fmla="*/ 650957 h 871769"/>
                <a:gd name="connsiteX362" fmla="*/ 43018 w 4009365"/>
                <a:gd name="connsiteY362" fmla="*/ 663042 h 871769"/>
                <a:gd name="connsiteX363" fmla="*/ 44041 w 4009365"/>
                <a:gd name="connsiteY363" fmla="*/ 715500 h 871769"/>
                <a:gd name="connsiteX364" fmla="*/ 67851 w 4009365"/>
                <a:gd name="connsiteY364" fmla="*/ 704881 h 871769"/>
                <a:gd name="connsiteX365" fmla="*/ 67878 w 4009365"/>
                <a:gd name="connsiteY365" fmla="*/ 704881 h 871769"/>
                <a:gd name="connsiteX366" fmla="*/ 2635484 w 4009365"/>
                <a:gd name="connsiteY366" fmla="*/ 605412 h 871769"/>
                <a:gd name="connsiteX367" fmla="*/ 2633161 w 4009365"/>
                <a:gd name="connsiteY367" fmla="*/ 613625 h 871769"/>
                <a:gd name="connsiteX368" fmla="*/ 2637779 w 4009365"/>
                <a:gd name="connsiteY368" fmla="*/ 613625 h 871769"/>
                <a:gd name="connsiteX369" fmla="*/ 2668087 w 4009365"/>
                <a:gd name="connsiteY369" fmla="*/ 604472 h 871769"/>
                <a:gd name="connsiteX370" fmla="*/ 2665073 w 4009365"/>
                <a:gd name="connsiteY370" fmla="*/ 613625 h 871769"/>
                <a:gd name="connsiteX371" fmla="*/ 2671129 w 4009365"/>
                <a:gd name="connsiteY371" fmla="*/ 613625 h 871769"/>
                <a:gd name="connsiteX372" fmla="*/ 2603544 w 4009365"/>
                <a:gd name="connsiteY372" fmla="*/ 603919 h 871769"/>
                <a:gd name="connsiteX373" fmla="*/ 2599977 w 4009365"/>
                <a:gd name="connsiteY373" fmla="*/ 613625 h 871769"/>
                <a:gd name="connsiteX374" fmla="*/ 2607111 w 4009365"/>
                <a:gd name="connsiteY374" fmla="*/ 613625 h 871769"/>
                <a:gd name="connsiteX375" fmla="*/ 2587450 w 4009365"/>
                <a:gd name="connsiteY375" fmla="*/ 602730 h 871769"/>
                <a:gd name="connsiteX376" fmla="*/ 2582113 w 4009365"/>
                <a:gd name="connsiteY376" fmla="*/ 613625 h 871769"/>
                <a:gd name="connsiteX377" fmla="*/ 2592787 w 4009365"/>
                <a:gd name="connsiteY377" fmla="*/ 613625 h 871769"/>
                <a:gd name="connsiteX378" fmla="*/ 2620413 w 4009365"/>
                <a:gd name="connsiteY378" fmla="*/ 602536 h 871769"/>
                <a:gd name="connsiteX379" fmla="*/ 2614633 w 4009365"/>
                <a:gd name="connsiteY379" fmla="*/ 613625 h 871769"/>
                <a:gd name="connsiteX380" fmla="*/ 2614661 w 4009365"/>
                <a:gd name="connsiteY380" fmla="*/ 613625 h 871769"/>
                <a:gd name="connsiteX381" fmla="*/ 2626192 w 4009365"/>
                <a:gd name="connsiteY381" fmla="*/ 613625 h 871769"/>
                <a:gd name="connsiteX382" fmla="*/ 2651412 w 4009365"/>
                <a:gd name="connsiteY382" fmla="*/ 602315 h 871769"/>
                <a:gd name="connsiteX383" fmla="*/ 2645107 w 4009365"/>
                <a:gd name="connsiteY383" fmla="*/ 613625 h 871769"/>
                <a:gd name="connsiteX384" fmla="*/ 2645135 w 4009365"/>
                <a:gd name="connsiteY384" fmla="*/ 613625 h 871769"/>
                <a:gd name="connsiteX385" fmla="*/ 2657717 w 4009365"/>
                <a:gd name="connsiteY385" fmla="*/ 613625 h 871769"/>
                <a:gd name="connsiteX386" fmla="*/ 2580039 w 4009365"/>
                <a:gd name="connsiteY386" fmla="*/ 587631 h 871769"/>
                <a:gd name="connsiteX387" fmla="*/ 2580039 w 4009365"/>
                <a:gd name="connsiteY387" fmla="*/ 609201 h 871769"/>
                <a:gd name="connsiteX388" fmla="*/ 2585320 w 4009365"/>
                <a:gd name="connsiteY388" fmla="*/ 598416 h 871769"/>
                <a:gd name="connsiteX389" fmla="*/ 2673756 w 4009365"/>
                <a:gd name="connsiteY389" fmla="*/ 587410 h 871769"/>
                <a:gd name="connsiteX390" fmla="*/ 2670105 w 4009365"/>
                <a:gd name="connsiteY390" fmla="*/ 598416 h 871769"/>
                <a:gd name="connsiteX391" fmla="*/ 2673756 w 4009365"/>
                <a:gd name="connsiteY391" fmla="*/ 609422 h 871769"/>
                <a:gd name="connsiteX392" fmla="*/ 2629649 w 4009365"/>
                <a:gd name="connsiteY392" fmla="*/ 584755 h 871769"/>
                <a:gd name="connsiteX393" fmla="*/ 2622542 w 4009365"/>
                <a:gd name="connsiteY393" fmla="*/ 598416 h 871769"/>
                <a:gd name="connsiteX394" fmla="*/ 2629649 w 4009365"/>
                <a:gd name="connsiteY394" fmla="*/ 612077 h 871769"/>
                <a:gd name="connsiteX395" fmla="*/ 2633493 w 4009365"/>
                <a:gd name="connsiteY395" fmla="*/ 598416 h 871769"/>
                <a:gd name="connsiteX396" fmla="*/ 2596409 w 4009365"/>
                <a:gd name="connsiteY396" fmla="*/ 584451 h 871769"/>
                <a:gd name="connsiteX397" fmla="*/ 2589552 w 4009365"/>
                <a:gd name="connsiteY397" fmla="*/ 598416 h 871769"/>
                <a:gd name="connsiteX398" fmla="*/ 2596409 w 4009365"/>
                <a:gd name="connsiteY398" fmla="*/ 612381 h 871769"/>
                <a:gd name="connsiteX399" fmla="*/ 2601553 w 4009365"/>
                <a:gd name="connsiteY399" fmla="*/ 598416 h 871769"/>
                <a:gd name="connsiteX400" fmla="*/ 2641401 w 4009365"/>
                <a:gd name="connsiteY400" fmla="*/ 584396 h 871769"/>
                <a:gd name="connsiteX401" fmla="*/ 2637447 w 4009365"/>
                <a:gd name="connsiteY401" fmla="*/ 598416 h 871769"/>
                <a:gd name="connsiteX402" fmla="*/ 2641401 w 4009365"/>
                <a:gd name="connsiteY402" fmla="*/ 612436 h 871769"/>
                <a:gd name="connsiteX403" fmla="*/ 2649227 w 4009365"/>
                <a:gd name="connsiteY403" fmla="*/ 598416 h 871769"/>
                <a:gd name="connsiteX404" fmla="*/ 2661422 w 4009365"/>
                <a:gd name="connsiteY404" fmla="*/ 584313 h 871769"/>
                <a:gd name="connsiteX405" fmla="*/ 2653569 w 4009365"/>
                <a:gd name="connsiteY405" fmla="*/ 598416 h 871769"/>
                <a:gd name="connsiteX406" fmla="*/ 2661422 w 4009365"/>
                <a:gd name="connsiteY406" fmla="*/ 612492 h 871769"/>
                <a:gd name="connsiteX407" fmla="*/ 2666096 w 4009365"/>
                <a:gd name="connsiteY407" fmla="*/ 598416 h 871769"/>
                <a:gd name="connsiteX408" fmla="*/ 2610817 w 4009365"/>
                <a:gd name="connsiteY408" fmla="*/ 584119 h 871769"/>
                <a:gd name="connsiteX409" fmla="*/ 2605563 w 4009365"/>
                <a:gd name="connsiteY409" fmla="*/ 598416 h 871769"/>
                <a:gd name="connsiteX410" fmla="*/ 2610817 w 4009365"/>
                <a:gd name="connsiteY410" fmla="*/ 612685 h 871769"/>
                <a:gd name="connsiteX411" fmla="*/ 2618256 w 4009365"/>
                <a:gd name="connsiteY411" fmla="*/ 598416 h 871769"/>
                <a:gd name="connsiteX412" fmla="*/ 2665073 w 4009365"/>
                <a:gd name="connsiteY412" fmla="*/ 583234 h 871769"/>
                <a:gd name="connsiteX413" fmla="*/ 2668087 w 4009365"/>
                <a:gd name="connsiteY413" fmla="*/ 592360 h 871769"/>
                <a:gd name="connsiteX414" fmla="*/ 2671101 w 4009365"/>
                <a:gd name="connsiteY414" fmla="*/ 583234 h 871769"/>
                <a:gd name="connsiteX415" fmla="*/ 2645135 w 4009365"/>
                <a:gd name="connsiteY415" fmla="*/ 583234 h 871769"/>
                <a:gd name="connsiteX416" fmla="*/ 2651412 w 4009365"/>
                <a:gd name="connsiteY416" fmla="*/ 594517 h 871769"/>
                <a:gd name="connsiteX417" fmla="*/ 2657689 w 4009365"/>
                <a:gd name="connsiteY417" fmla="*/ 583234 h 871769"/>
                <a:gd name="connsiteX418" fmla="*/ 2633188 w 4009365"/>
                <a:gd name="connsiteY418" fmla="*/ 583234 h 871769"/>
                <a:gd name="connsiteX419" fmla="*/ 2635484 w 4009365"/>
                <a:gd name="connsiteY419" fmla="*/ 591420 h 871769"/>
                <a:gd name="connsiteX420" fmla="*/ 2637779 w 4009365"/>
                <a:gd name="connsiteY420" fmla="*/ 583234 h 871769"/>
                <a:gd name="connsiteX421" fmla="*/ 2614661 w 4009365"/>
                <a:gd name="connsiteY421" fmla="*/ 583234 h 871769"/>
                <a:gd name="connsiteX422" fmla="*/ 2620413 w 4009365"/>
                <a:gd name="connsiteY422" fmla="*/ 594296 h 871769"/>
                <a:gd name="connsiteX423" fmla="*/ 2626164 w 4009365"/>
                <a:gd name="connsiteY423" fmla="*/ 583234 h 871769"/>
                <a:gd name="connsiteX424" fmla="*/ 2600005 w 4009365"/>
                <a:gd name="connsiteY424" fmla="*/ 583234 h 871769"/>
                <a:gd name="connsiteX425" fmla="*/ 2603572 w 4009365"/>
                <a:gd name="connsiteY425" fmla="*/ 592913 h 871769"/>
                <a:gd name="connsiteX426" fmla="*/ 2607111 w 4009365"/>
                <a:gd name="connsiteY426" fmla="*/ 583234 h 871769"/>
                <a:gd name="connsiteX427" fmla="*/ 2582141 w 4009365"/>
                <a:gd name="connsiteY427" fmla="*/ 583234 h 871769"/>
                <a:gd name="connsiteX428" fmla="*/ 2587450 w 4009365"/>
                <a:gd name="connsiteY428" fmla="*/ 594102 h 871769"/>
                <a:gd name="connsiteX429" fmla="*/ 2592759 w 4009365"/>
                <a:gd name="connsiteY429" fmla="*/ 583234 h 871769"/>
                <a:gd name="connsiteX430" fmla="*/ 2660121 w 4009365"/>
                <a:gd name="connsiteY430" fmla="*/ 553147 h 871769"/>
                <a:gd name="connsiteX431" fmla="*/ 2660150 w 4009365"/>
                <a:gd name="connsiteY431" fmla="*/ 553147 h 871769"/>
                <a:gd name="connsiteX432" fmla="*/ 2660122 w 4009365"/>
                <a:gd name="connsiteY432" fmla="*/ 553175 h 871769"/>
                <a:gd name="connsiteX433" fmla="*/ 3285638 w 4009365"/>
                <a:gd name="connsiteY433" fmla="*/ 534288 h 871769"/>
                <a:gd name="connsiteX434" fmla="*/ 3285638 w 4009365"/>
                <a:gd name="connsiteY434" fmla="*/ 547506 h 871769"/>
                <a:gd name="connsiteX435" fmla="*/ 3249993 w 4009365"/>
                <a:gd name="connsiteY435" fmla="*/ 586138 h 871769"/>
                <a:gd name="connsiteX436" fmla="*/ 3249993 w 4009365"/>
                <a:gd name="connsiteY436" fmla="*/ 581962 h 871769"/>
                <a:gd name="connsiteX437" fmla="*/ 3248224 w 4009365"/>
                <a:gd name="connsiteY437" fmla="*/ 581077 h 871769"/>
                <a:gd name="connsiteX438" fmla="*/ 3248224 w 4009365"/>
                <a:gd name="connsiteY438" fmla="*/ 573639 h 871769"/>
                <a:gd name="connsiteX439" fmla="*/ 3246260 w 4009365"/>
                <a:gd name="connsiteY439" fmla="*/ 572975 h 871769"/>
                <a:gd name="connsiteX440" fmla="*/ 3244325 w 4009365"/>
                <a:gd name="connsiteY440" fmla="*/ 567997 h 871769"/>
                <a:gd name="connsiteX441" fmla="*/ 3240619 w 4009365"/>
                <a:gd name="connsiteY441" fmla="*/ 558429 h 871769"/>
                <a:gd name="connsiteX442" fmla="*/ 3240647 w 4009365"/>
                <a:gd name="connsiteY442" fmla="*/ 558429 h 871769"/>
                <a:gd name="connsiteX443" fmla="*/ 3245375 w 4009365"/>
                <a:gd name="connsiteY443" fmla="*/ 550852 h 871769"/>
                <a:gd name="connsiteX444" fmla="*/ 3238158 w 4009365"/>
                <a:gd name="connsiteY444" fmla="*/ 547866 h 871769"/>
                <a:gd name="connsiteX445" fmla="*/ 3285638 w 4009365"/>
                <a:gd name="connsiteY445" fmla="*/ 534288 h 871769"/>
                <a:gd name="connsiteX446" fmla="*/ 3444949 w 4009365"/>
                <a:gd name="connsiteY446" fmla="*/ 507382 h 871769"/>
                <a:gd name="connsiteX447" fmla="*/ 3444949 w 4009365"/>
                <a:gd name="connsiteY447" fmla="*/ 563242 h 871769"/>
                <a:gd name="connsiteX448" fmla="*/ 3441465 w 4009365"/>
                <a:gd name="connsiteY448" fmla="*/ 563242 h 871769"/>
                <a:gd name="connsiteX449" fmla="*/ 3441465 w 4009365"/>
                <a:gd name="connsiteY449" fmla="*/ 572423 h 871769"/>
                <a:gd name="connsiteX450" fmla="*/ 3383255 w 4009365"/>
                <a:gd name="connsiteY450" fmla="*/ 514240 h 871769"/>
                <a:gd name="connsiteX451" fmla="*/ 3444949 w 4009365"/>
                <a:gd name="connsiteY451" fmla="*/ 507382 h 871769"/>
                <a:gd name="connsiteX452" fmla="*/ 3503686 w 4009365"/>
                <a:gd name="connsiteY452" fmla="*/ 502736 h 871769"/>
                <a:gd name="connsiteX453" fmla="*/ 3497464 w 4009365"/>
                <a:gd name="connsiteY453" fmla="*/ 515429 h 871769"/>
                <a:gd name="connsiteX454" fmla="*/ 3497464 w 4009365"/>
                <a:gd name="connsiteY454" fmla="*/ 570431 h 871769"/>
                <a:gd name="connsiteX455" fmla="*/ 3509907 w 4009365"/>
                <a:gd name="connsiteY455" fmla="*/ 570431 h 871769"/>
                <a:gd name="connsiteX456" fmla="*/ 3509907 w 4009365"/>
                <a:gd name="connsiteY456" fmla="*/ 515429 h 871769"/>
                <a:gd name="connsiteX457" fmla="*/ 3503686 w 4009365"/>
                <a:gd name="connsiteY457" fmla="*/ 502736 h 871769"/>
                <a:gd name="connsiteX458" fmla="*/ 3481176 w 4009365"/>
                <a:gd name="connsiteY458" fmla="*/ 502736 h 871769"/>
                <a:gd name="connsiteX459" fmla="*/ 3475313 w 4009365"/>
                <a:gd name="connsiteY459" fmla="*/ 515429 h 871769"/>
                <a:gd name="connsiteX460" fmla="*/ 3475313 w 4009365"/>
                <a:gd name="connsiteY460" fmla="*/ 570431 h 871769"/>
                <a:gd name="connsiteX461" fmla="*/ 3487011 w 4009365"/>
                <a:gd name="connsiteY461" fmla="*/ 570431 h 871769"/>
                <a:gd name="connsiteX462" fmla="*/ 3487038 w 4009365"/>
                <a:gd name="connsiteY462" fmla="*/ 570431 h 871769"/>
                <a:gd name="connsiteX463" fmla="*/ 3487038 w 4009365"/>
                <a:gd name="connsiteY463" fmla="*/ 515429 h 871769"/>
                <a:gd name="connsiteX464" fmla="*/ 3481176 w 4009365"/>
                <a:gd name="connsiteY464" fmla="*/ 502736 h 871769"/>
                <a:gd name="connsiteX465" fmla="*/ 1183797 w 4009365"/>
                <a:gd name="connsiteY465" fmla="*/ 377909 h 871769"/>
                <a:gd name="connsiteX466" fmla="*/ 1185843 w 4009365"/>
                <a:gd name="connsiteY466" fmla="*/ 377909 h 871769"/>
                <a:gd name="connsiteX467" fmla="*/ 1185843 w 4009365"/>
                <a:gd name="connsiteY467" fmla="*/ 382499 h 871769"/>
                <a:gd name="connsiteX468" fmla="*/ 1188747 w 4009365"/>
                <a:gd name="connsiteY468" fmla="*/ 382499 h 871769"/>
                <a:gd name="connsiteX469" fmla="*/ 1188747 w 4009365"/>
                <a:gd name="connsiteY469" fmla="*/ 384435 h 871769"/>
                <a:gd name="connsiteX470" fmla="*/ 1185843 w 4009365"/>
                <a:gd name="connsiteY470" fmla="*/ 384435 h 871769"/>
                <a:gd name="connsiteX471" fmla="*/ 1185843 w 4009365"/>
                <a:gd name="connsiteY471" fmla="*/ 393367 h 871769"/>
                <a:gd name="connsiteX472" fmla="*/ 1186092 w 4009365"/>
                <a:gd name="connsiteY472" fmla="*/ 393367 h 871769"/>
                <a:gd name="connsiteX473" fmla="*/ 1208934 w 4009365"/>
                <a:gd name="connsiteY473" fmla="*/ 448259 h 871769"/>
                <a:gd name="connsiteX474" fmla="*/ 1211340 w 4009365"/>
                <a:gd name="connsiteY474" fmla="*/ 448259 h 871769"/>
                <a:gd name="connsiteX475" fmla="*/ 1210261 w 4009365"/>
                <a:gd name="connsiteY475" fmla="*/ 450554 h 871769"/>
                <a:gd name="connsiteX476" fmla="*/ 1210151 w 4009365"/>
                <a:gd name="connsiteY476" fmla="*/ 460482 h 871769"/>
                <a:gd name="connsiteX477" fmla="*/ 1208823 w 4009365"/>
                <a:gd name="connsiteY477" fmla="*/ 462307 h 871769"/>
                <a:gd name="connsiteX478" fmla="*/ 1209045 w 4009365"/>
                <a:gd name="connsiteY478" fmla="*/ 462307 h 871769"/>
                <a:gd name="connsiteX479" fmla="*/ 1209045 w 4009365"/>
                <a:gd name="connsiteY479" fmla="*/ 464851 h 871769"/>
                <a:gd name="connsiteX480" fmla="*/ 1212308 w 4009365"/>
                <a:gd name="connsiteY480" fmla="*/ 464851 h 871769"/>
                <a:gd name="connsiteX481" fmla="*/ 1209045 w 4009365"/>
                <a:gd name="connsiteY481" fmla="*/ 469386 h 871769"/>
                <a:gd name="connsiteX482" fmla="*/ 1209045 w 4009365"/>
                <a:gd name="connsiteY482" fmla="*/ 548281 h 871769"/>
                <a:gd name="connsiteX483" fmla="*/ 1217340 w 4009365"/>
                <a:gd name="connsiteY483" fmla="*/ 548281 h 871769"/>
                <a:gd name="connsiteX484" fmla="*/ 1217340 w 4009365"/>
                <a:gd name="connsiteY484" fmla="*/ 546649 h 871769"/>
                <a:gd name="connsiteX485" fmla="*/ 1216787 w 4009365"/>
                <a:gd name="connsiteY485" fmla="*/ 545571 h 871769"/>
                <a:gd name="connsiteX486" fmla="*/ 1218004 w 4009365"/>
                <a:gd name="connsiteY486" fmla="*/ 544603 h 871769"/>
                <a:gd name="connsiteX487" fmla="*/ 1218004 w 4009365"/>
                <a:gd name="connsiteY487" fmla="*/ 540234 h 871769"/>
                <a:gd name="connsiteX488" fmla="*/ 1219276 w 4009365"/>
                <a:gd name="connsiteY488" fmla="*/ 539266 h 871769"/>
                <a:gd name="connsiteX489" fmla="*/ 1219276 w 4009365"/>
                <a:gd name="connsiteY489" fmla="*/ 529283 h 871769"/>
                <a:gd name="connsiteX490" fmla="*/ 1223452 w 4009365"/>
                <a:gd name="connsiteY490" fmla="*/ 529283 h 871769"/>
                <a:gd name="connsiteX491" fmla="*/ 1223452 w 4009365"/>
                <a:gd name="connsiteY491" fmla="*/ 539266 h 871769"/>
                <a:gd name="connsiteX492" fmla="*/ 1224669 w 4009365"/>
                <a:gd name="connsiteY492" fmla="*/ 540234 h 871769"/>
                <a:gd name="connsiteX493" fmla="*/ 1224669 w 4009365"/>
                <a:gd name="connsiteY493" fmla="*/ 544465 h 871769"/>
                <a:gd name="connsiteX494" fmla="*/ 1225581 w 4009365"/>
                <a:gd name="connsiteY494" fmla="*/ 545903 h 871769"/>
                <a:gd name="connsiteX495" fmla="*/ 1224669 w 4009365"/>
                <a:gd name="connsiteY495" fmla="*/ 546926 h 871769"/>
                <a:gd name="connsiteX496" fmla="*/ 1224669 w 4009365"/>
                <a:gd name="connsiteY496" fmla="*/ 548613 h 871769"/>
                <a:gd name="connsiteX497" fmla="*/ 1233158 w 4009365"/>
                <a:gd name="connsiteY497" fmla="*/ 750288 h 871769"/>
                <a:gd name="connsiteX498" fmla="*/ 1207081 w 4009365"/>
                <a:gd name="connsiteY498" fmla="*/ 689644 h 871769"/>
                <a:gd name="connsiteX499" fmla="*/ 1203237 w 4009365"/>
                <a:gd name="connsiteY499" fmla="*/ 681929 h 871769"/>
                <a:gd name="connsiteX500" fmla="*/ 1194609 w 4009365"/>
                <a:gd name="connsiteY500" fmla="*/ 681929 h 871769"/>
                <a:gd name="connsiteX501" fmla="*/ 1005157 w 4009365"/>
                <a:gd name="connsiteY501" fmla="*/ 672665 h 871769"/>
                <a:gd name="connsiteX502" fmla="*/ 1005157 w 4009365"/>
                <a:gd name="connsiteY502" fmla="*/ 543884 h 871769"/>
                <a:gd name="connsiteX503" fmla="*/ 1006623 w 4009365"/>
                <a:gd name="connsiteY503" fmla="*/ 542695 h 871769"/>
                <a:gd name="connsiteX504" fmla="*/ 1006623 w 4009365"/>
                <a:gd name="connsiteY504" fmla="*/ 538879 h 871769"/>
                <a:gd name="connsiteX505" fmla="*/ 1007535 w 4009365"/>
                <a:gd name="connsiteY505" fmla="*/ 537883 h 871769"/>
                <a:gd name="connsiteX506" fmla="*/ 1007535 w 4009365"/>
                <a:gd name="connsiteY506" fmla="*/ 527817 h 871769"/>
                <a:gd name="connsiteX507" fmla="*/ 1011711 w 4009365"/>
                <a:gd name="connsiteY507" fmla="*/ 527817 h 871769"/>
                <a:gd name="connsiteX508" fmla="*/ 1011711 w 4009365"/>
                <a:gd name="connsiteY508" fmla="*/ 537524 h 871769"/>
                <a:gd name="connsiteX509" fmla="*/ 1012706 w 4009365"/>
                <a:gd name="connsiteY509" fmla="*/ 538796 h 871769"/>
                <a:gd name="connsiteX510" fmla="*/ 1012706 w 4009365"/>
                <a:gd name="connsiteY510" fmla="*/ 542335 h 871769"/>
                <a:gd name="connsiteX511" fmla="*/ 1013895 w 4009365"/>
                <a:gd name="connsiteY511" fmla="*/ 543884 h 871769"/>
                <a:gd name="connsiteX512" fmla="*/ 1013895 w 4009365"/>
                <a:gd name="connsiteY512" fmla="*/ 547147 h 871769"/>
                <a:gd name="connsiteX513" fmla="*/ 1104598 w 4009365"/>
                <a:gd name="connsiteY513" fmla="*/ 547507 h 871769"/>
                <a:gd name="connsiteX514" fmla="*/ 1041106 w 4009365"/>
                <a:gd name="connsiteY514" fmla="*/ 669015 h 871769"/>
                <a:gd name="connsiteX515" fmla="*/ 1113558 w 4009365"/>
                <a:gd name="connsiteY515" fmla="*/ 545377 h 871769"/>
                <a:gd name="connsiteX516" fmla="*/ 1112756 w 4009365"/>
                <a:gd name="connsiteY516" fmla="*/ 543801 h 871769"/>
                <a:gd name="connsiteX517" fmla="*/ 1114304 w 4009365"/>
                <a:gd name="connsiteY517" fmla="*/ 541533 h 871769"/>
                <a:gd name="connsiteX518" fmla="*/ 1114304 w 4009365"/>
                <a:gd name="connsiteY518" fmla="*/ 539266 h 871769"/>
                <a:gd name="connsiteX519" fmla="*/ 1115023 w 4009365"/>
                <a:gd name="connsiteY519" fmla="*/ 538436 h 871769"/>
                <a:gd name="connsiteX520" fmla="*/ 1115023 w 4009365"/>
                <a:gd name="connsiteY520" fmla="*/ 532352 h 871769"/>
                <a:gd name="connsiteX521" fmla="*/ 1112756 w 4009365"/>
                <a:gd name="connsiteY521" fmla="*/ 532352 h 871769"/>
                <a:gd name="connsiteX522" fmla="*/ 1112756 w 4009365"/>
                <a:gd name="connsiteY522" fmla="*/ 530998 h 871769"/>
                <a:gd name="connsiteX523" fmla="*/ 1115023 w 4009365"/>
                <a:gd name="connsiteY523" fmla="*/ 530998 h 871769"/>
                <a:gd name="connsiteX524" fmla="*/ 1115023 w 4009365"/>
                <a:gd name="connsiteY524" fmla="*/ 528564 h 871769"/>
                <a:gd name="connsiteX525" fmla="*/ 1116378 w 4009365"/>
                <a:gd name="connsiteY525" fmla="*/ 528564 h 871769"/>
                <a:gd name="connsiteX526" fmla="*/ 1116378 w 4009365"/>
                <a:gd name="connsiteY526" fmla="*/ 530998 h 871769"/>
                <a:gd name="connsiteX527" fmla="*/ 1118563 w 4009365"/>
                <a:gd name="connsiteY527" fmla="*/ 530998 h 871769"/>
                <a:gd name="connsiteX528" fmla="*/ 1118563 w 4009365"/>
                <a:gd name="connsiteY528" fmla="*/ 532352 h 871769"/>
                <a:gd name="connsiteX529" fmla="*/ 1116378 w 4009365"/>
                <a:gd name="connsiteY529" fmla="*/ 532352 h 871769"/>
                <a:gd name="connsiteX530" fmla="*/ 1116378 w 4009365"/>
                <a:gd name="connsiteY530" fmla="*/ 538353 h 871769"/>
                <a:gd name="connsiteX531" fmla="*/ 1117291 w 4009365"/>
                <a:gd name="connsiteY531" fmla="*/ 539432 h 871769"/>
                <a:gd name="connsiteX532" fmla="*/ 1117291 w 4009365"/>
                <a:gd name="connsiteY532" fmla="*/ 541976 h 871769"/>
                <a:gd name="connsiteX533" fmla="*/ 1118563 w 4009365"/>
                <a:gd name="connsiteY533" fmla="*/ 543607 h 871769"/>
                <a:gd name="connsiteX534" fmla="*/ 1117706 w 4009365"/>
                <a:gd name="connsiteY534" fmla="*/ 545211 h 871769"/>
                <a:gd name="connsiteX535" fmla="*/ 1158660 w 4009365"/>
                <a:gd name="connsiteY535" fmla="*/ 613515 h 871769"/>
                <a:gd name="connsiteX536" fmla="*/ 1128905 w 4009365"/>
                <a:gd name="connsiteY536" fmla="*/ 547866 h 871769"/>
                <a:gd name="connsiteX537" fmla="*/ 1160458 w 4009365"/>
                <a:gd name="connsiteY537" fmla="*/ 547866 h 871769"/>
                <a:gd name="connsiteX538" fmla="*/ 1160458 w 4009365"/>
                <a:gd name="connsiteY538" fmla="*/ 469303 h 871769"/>
                <a:gd name="connsiteX539" fmla="*/ 1157554 w 4009365"/>
                <a:gd name="connsiteY539" fmla="*/ 464823 h 871769"/>
                <a:gd name="connsiteX540" fmla="*/ 1160458 w 4009365"/>
                <a:gd name="connsiteY540" fmla="*/ 464823 h 871769"/>
                <a:gd name="connsiteX541" fmla="*/ 1160458 w 4009365"/>
                <a:gd name="connsiteY541" fmla="*/ 462307 h 871769"/>
                <a:gd name="connsiteX542" fmla="*/ 1159241 w 4009365"/>
                <a:gd name="connsiteY542" fmla="*/ 460592 h 871769"/>
                <a:gd name="connsiteX543" fmla="*/ 1159241 w 4009365"/>
                <a:gd name="connsiteY543" fmla="*/ 450195 h 871769"/>
                <a:gd name="connsiteX544" fmla="*/ 1157554 w 4009365"/>
                <a:gd name="connsiteY544" fmla="*/ 448259 h 871769"/>
                <a:gd name="connsiteX545" fmla="*/ 1161066 w 4009365"/>
                <a:gd name="connsiteY545" fmla="*/ 448259 h 871769"/>
                <a:gd name="connsiteX546" fmla="*/ 1183548 w 4009365"/>
                <a:gd name="connsiteY546" fmla="*/ 393367 h 871769"/>
                <a:gd name="connsiteX547" fmla="*/ 1183797 w 4009365"/>
                <a:gd name="connsiteY547" fmla="*/ 393367 h 871769"/>
                <a:gd name="connsiteX548" fmla="*/ 1183797 w 4009365"/>
                <a:gd name="connsiteY548" fmla="*/ 384435 h 871769"/>
                <a:gd name="connsiteX549" fmla="*/ 1180645 w 4009365"/>
                <a:gd name="connsiteY549" fmla="*/ 384435 h 871769"/>
                <a:gd name="connsiteX550" fmla="*/ 1180645 w 4009365"/>
                <a:gd name="connsiteY550" fmla="*/ 382499 h 871769"/>
                <a:gd name="connsiteX551" fmla="*/ 1183797 w 4009365"/>
                <a:gd name="connsiteY551" fmla="*/ 382499 h 871769"/>
                <a:gd name="connsiteX552" fmla="*/ 2634543 w 4009365"/>
                <a:gd name="connsiteY552" fmla="*/ 348043 h 871769"/>
                <a:gd name="connsiteX553" fmla="*/ 2629952 w 4009365"/>
                <a:gd name="connsiteY553" fmla="*/ 352606 h 871769"/>
                <a:gd name="connsiteX554" fmla="*/ 2629952 w 4009365"/>
                <a:gd name="connsiteY554" fmla="*/ 379236 h 871769"/>
                <a:gd name="connsiteX555" fmla="*/ 2639106 w 4009365"/>
                <a:gd name="connsiteY555" fmla="*/ 379236 h 871769"/>
                <a:gd name="connsiteX556" fmla="*/ 2639106 w 4009365"/>
                <a:gd name="connsiteY556" fmla="*/ 352606 h 871769"/>
                <a:gd name="connsiteX557" fmla="*/ 2634543 w 4009365"/>
                <a:gd name="connsiteY557" fmla="*/ 348043 h 871769"/>
                <a:gd name="connsiteX558" fmla="*/ 2622597 w 4009365"/>
                <a:gd name="connsiteY558" fmla="*/ 348015 h 871769"/>
                <a:gd name="connsiteX559" fmla="*/ 2618034 w 4009365"/>
                <a:gd name="connsiteY559" fmla="*/ 352578 h 871769"/>
                <a:gd name="connsiteX560" fmla="*/ 2618034 w 4009365"/>
                <a:gd name="connsiteY560" fmla="*/ 379208 h 871769"/>
                <a:gd name="connsiteX561" fmla="*/ 2627187 w 4009365"/>
                <a:gd name="connsiteY561" fmla="*/ 379208 h 871769"/>
                <a:gd name="connsiteX562" fmla="*/ 2627187 w 4009365"/>
                <a:gd name="connsiteY562" fmla="*/ 352578 h 871769"/>
                <a:gd name="connsiteX563" fmla="*/ 2627159 w 4009365"/>
                <a:gd name="connsiteY563" fmla="*/ 352578 h 871769"/>
                <a:gd name="connsiteX564" fmla="*/ 2622597 w 4009365"/>
                <a:gd name="connsiteY564" fmla="*/ 348015 h 871769"/>
                <a:gd name="connsiteX565" fmla="*/ 2623592 w 4009365"/>
                <a:gd name="connsiteY565" fmla="*/ 303908 h 871769"/>
                <a:gd name="connsiteX566" fmla="*/ 2623592 w 4009365"/>
                <a:gd name="connsiteY566" fmla="*/ 309467 h 871769"/>
                <a:gd name="connsiteX567" fmla="*/ 2633741 w 4009365"/>
                <a:gd name="connsiteY567" fmla="*/ 309467 h 871769"/>
                <a:gd name="connsiteX568" fmla="*/ 2633741 w 4009365"/>
                <a:gd name="connsiteY568" fmla="*/ 303908 h 871769"/>
                <a:gd name="connsiteX569" fmla="*/ 2628653 w 4009365"/>
                <a:gd name="connsiteY569" fmla="*/ 292571 h 871769"/>
                <a:gd name="connsiteX570" fmla="*/ 2623592 w 4009365"/>
                <a:gd name="connsiteY570" fmla="*/ 297631 h 871769"/>
                <a:gd name="connsiteX571" fmla="*/ 2623592 w 4009365"/>
                <a:gd name="connsiteY571" fmla="*/ 299318 h 871769"/>
                <a:gd name="connsiteX572" fmla="*/ 2633741 w 4009365"/>
                <a:gd name="connsiteY572" fmla="*/ 299318 h 871769"/>
                <a:gd name="connsiteX573" fmla="*/ 2633741 w 4009365"/>
                <a:gd name="connsiteY573" fmla="*/ 297631 h 871769"/>
                <a:gd name="connsiteX574" fmla="*/ 2633713 w 4009365"/>
                <a:gd name="connsiteY574" fmla="*/ 297631 h 871769"/>
                <a:gd name="connsiteX575" fmla="*/ 2628653 w 4009365"/>
                <a:gd name="connsiteY575" fmla="*/ 292571 h 871769"/>
                <a:gd name="connsiteX576" fmla="*/ 2636340 w 4009365"/>
                <a:gd name="connsiteY576" fmla="*/ 270780 h 871769"/>
                <a:gd name="connsiteX577" fmla="*/ 2636340 w 4009365"/>
                <a:gd name="connsiteY577" fmla="*/ 280458 h 871769"/>
                <a:gd name="connsiteX578" fmla="*/ 2640737 w 4009365"/>
                <a:gd name="connsiteY578" fmla="*/ 280458 h 871769"/>
                <a:gd name="connsiteX579" fmla="*/ 2640737 w 4009365"/>
                <a:gd name="connsiteY579" fmla="*/ 270780 h 871769"/>
                <a:gd name="connsiteX580" fmla="*/ 2630174 w 4009365"/>
                <a:gd name="connsiteY580" fmla="*/ 270752 h 871769"/>
                <a:gd name="connsiteX581" fmla="*/ 2630174 w 4009365"/>
                <a:gd name="connsiteY581" fmla="*/ 280431 h 871769"/>
                <a:gd name="connsiteX582" fmla="*/ 2634183 w 4009365"/>
                <a:gd name="connsiteY582" fmla="*/ 280431 h 871769"/>
                <a:gd name="connsiteX583" fmla="*/ 2634183 w 4009365"/>
                <a:gd name="connsiteY583" fmla="*/ 270752 h 871769"/>
                <a:gd name="connsiteX584" fmla="*/ 2623177 w 4009365"/>
                <a:gd name="connsiteY584" fmla="*/ 270752 h 871769"/>
                <a:gd name="connsiteX585" fmla="*/ 2623177 w 4009365"/>
                <a:gd name="connsiteY585" fmla="*/ 280431 h 871769"/>
                <a:gd name="connsiteX586" fmla="*/ 2628542 w 4009365"/>
                <a:gd name="connsiteY586" fmla="*/ 280431 h 871769"/>
                <a:gd name="connsiteX587" fmla="*/ 2628542 w 4009365"/>
                <a:gd name="connsiteY587" fmla="*/ 270752 h 871769"/>
                <a:gd name="connsiteX588" fmla="*/ 2616596 w 4009365"/>
                <a:gd name="connsiteY588" fmla="*/ 270752 h 871769"/>
                <a:gd name="connsiteX589" fmla="*/ 2616596 w 4009365"/>
                <a:gd name="connsiteY589" fmla="*/ 280431 h 871769"/>
                <a:gd name="connsiteX590" fmla="*/ 2620993 w 4009365"/>
                <a:gd name="connsiteY590" fmla="*/ 280431 h 871769"/>
                <a:gd name="connsiteX591" fmla="*/ 2620993 w 4009365"/>
                <a:gd name="connsiteY591" fmla="*/ 270752 h 871769"/>
                <a:gd name="connsiteX592" fmla="*/ 1661231 w 4009365"/>
                <a:gd name="connsiteY592" fmla="*/ 265028 h 871769"/>
                <a:gd name="connsiteX593" fmla="*/ 1691622 w 4009365"/>
                <a:gd name="connsiteY593" fmla="*/ 265028 h 871769"/>
                <a:gd name="connsiteX594" fmla="*/ 1746099 w 4009365"/>
                <a:gd name="connsiteY594" fmla="*/ 265028 h 871769"/>
                <a:gd name="connsiteX595" fmla="*/ 1776490 w 4009365"/>
                <a:gd name="connsiteY595" fmla="*/ 265028 h 871769"/>
                <a:gd name="connsiteX596" fmla="*/ 1776490 w 4009365"/>
                <a:gd name="connsiteY596" fmla="*/ 273960 h 871769"/>
                <a:gd name="connsiteX597" fmla="*/ 1786307 w 4009365"/>
                <a:gd name="connsiteY597" fmla="*/ 273960 h 871769"/>
                <a:gd name="connsiteX598" fmla="*/ 1786307 w 4009365"/>
                <a:gd name="connsiteY598" fmla="*/ 298074 h 871769"/>
                <a:gd name="connsiteX599" fmla="*/ 1795239 w 4009365"/>
                <a:gd name="connsiteY599" fmla="*/ 298074 h 871769"/>
                <a:gd name="connsiteX600" fmla="*/ 1795239 w 4009365"/>
                <a:gd name="connsiteY600" fmla="*/ 307006 h 871769"/>
                <a:gd name="connsiteX601" fmla="*/ 1866695 w 4009365"/>
                <a:gd name="connsiteY601" fmla="*/ 307006 h 871769"/>
                <a:gd name="connsiteX602" fmla="*/ 1866695 w 4009365"/>
                <a:gd name="connsiteY602" fmla="*/ 298074 h 871769"/>
                <a:gd name="connsiteX603" fmla="*/ 1899768 w 4009365"/>
                <a:gd name="connsiteY603" fmla="*/ 298074 h 871769"/>
                <a:gd name="connsiteX604" fmla="*/ 1902174 w 4009365"/>
                <a:gd name="connsiteY604" fmla="*/ 619930 h 871769"/>
                <a:gd name="connsiteX605" fmla="*/ 1857044 w 4009365"/>
                <a:gd name="connsiteY605" fmla="*/ 619930 h 871769"/>
                <a:gd name="connsiteX606" fmla="*/ 1843107 w 4009365"/>
                <a:gd name="connsiteY606" fmla="*/ 619930 h 871769"/>
                <a:gd name="connsiteX607" fmla="*/ 1843107 w 4009365"/>
                <a:gd name="connsiteY607" fmla="*/ 633840 h 871769"/>
                <a:gd name="connsiteX608" fmla="*/ 1843107 w 4009365"/>
                <a:gd name="connsiteY608" fmla="*/ 649132 h 871769"/>
                <a:gd name="connsiteX609" fmla="*/ 1731830 w 4009365"/>
                <a:gd name="connsiteY609" fmla="*/ 649132 h 871769"/>
                <a:gd name="connsiteX610" fmla="*/ 1723451 w 4009365"/>
                <a:gd name="connsiteY610" fmla="*/ 649132 h 871769"/>
                <a:gd name="connsiteX611" fmla="*/ 1723451 w 4009365"/>
                <a:gd name="connsiteY611" fmla="*/ 456416 h 871769"/>
                <a:gd name="connsiteX612" fmla="*/ 1724613 w 4009365"/>
                <a:gd name="connsiteY612" fmla="*/ 455061 h 871769"/>
                <a:gd name="connsiteX613" fmla="*/ 1737112 w 4009365"/>
                <a:gd name="connsiteY613" fmla="*/ 440682 h 871769"/>
                <a:gd name="connsiteX614" fmla="*/ 1727958 w 4009365"/>
                <a:gd name="connsiteY614" fmla="*/ 435787 h 871769"/>
                <a:gd name="connsiteX615" fmla="*/ 1732134 w 4009365"/>
                <a:gd name="connsiteY615" fmla="*/ 430865 h 871769"/>
                <a:gd name="connsiteX616" fmla="*/ 1723700 w 4009365"/>
                <a:gd name="connsiteY616" fmla="*/ 421048 h 871769"/>
                <a:gd name="connsiteX617" fmla="*/ 1719801 w 4009365"/>
                <a:gd name="connsiteY617" fmla="*/ 416485 h 871769"/>
                <a:gd name="connsiteX618" fmla="*/ 1715238 w 4009365"/>
                <a:gd name="connsiteY618" fmla="*/ 411176 h 871769"/>
                <a:gd name="connsiteX619" fmla="*/ 1711394 w 4009365"/>
                <a:gd name="connsiteY619" fmla="*/ 411176 h 871769"/>
                <a:gd name="connsiteX620" fmla="*/ 1696185 w 4009365"/>
                <a:gd name="connsiteY620" fmla="*/ 411176 h 871769"/>
                <a:gd name="connsiteX621" fmla="*/ 1695577 w 4009365"/>
                <a:gd name="connsiteY621" fmla="*/ 411176 h 871769"/>
                <a:gd name="connsiteX622" fmla="*/ 1680727 w 4009365"/>
                <a:gd name="connsiteY622" fmla="*/ 411176 h 871769"/>
                <a:gd name="connsiteX623" fmla="*/ 1665573 w 4009365"/>
                <a:gd name="connsiteY623" fmla="*/ 411176 h 871769"/>
                <a:gd name="connsiteX624" fmla="*/ 1651525 w 4009365"/>
                <a:gd name="connsiteY624" fmla="*/ 411176 h 871769"/>
                <a:gd name="connsiteX625" fmla="*/ 1636343 w 4009365"/>
                <a:gd name="connsiteY625" fmla="*/ 411176 h 871769"/>
                <a:gd name="connsiteX626" fmla="*/ 1629762 w 4009365"/>
                <a:gd name="connsiteY626" fmla="*/ 411176 h 871769"/>
                <a:gd name="connsiteX627" fmla="*/ 1629762 w 4009365"/>
                <a:gd name="connsiteY627" fmla="*/ 407470 h 871769"/>
                <a:gd name="connsiteX628" fmla="*/ 1635403 w 4009365"/>
                <a:gd name="connsiteY628" fmla="*/ 400225 h 871769"/>
                <a:gd name="connsiteX629" fmla="*/ 1628434 w 4009365"/>
                <a:gd name="connsiteY629" fmla="*/ 390933 h 871769"/>
                <a:gd name="connsiteX630" fmla="*/ 1625144 w 4009365"/>
                <a:gd name="connsiteY630" fmla="*/ 386536 h 871769"/>
                <a:gd name="connsiteX631" fmla="*/ 1622655 w 4009365"/>
                <a:gd name="connsiteY631" fmla="*/ 383218 h 871769"/>
                <a:gd name="connsiteX632" fmla="*/ 1618866 w 4009365"/>
                <a:gd name="connsiteY632" fmla="*/ 381642 h 871769"/>
                <a:gd name="connsiteX633" fmla="*/ 1615078 w 4009365"/>
                <a:gd name="connsiteY633" fmla="*/ 380038 h 871769"/>
                <a:gd name="connsiteX634" fmla="*/ 1606975 w 4009365"/>
                <a:gd name="connsiteY634" fmla="*/ 376664 h 871769"/>
                <a:gd name="connsiteX635" fmla="*/ 1605897 w 4009365"/>
                <a:gd name="connsiteY635" fmla="*/ 377466 h 871769"/>
                <a:gd name="connsiteX636" fmla="*/ 1601694 w 4009365"/>
                <a:gd name="connsiteY636" fmla="*/ 376415 h 871769"/>
                <a:gd name="connsiteX637" fmla="*/ 1593730 w 4009365"/>
                <a:gd name="connsiteY637" fmla="*/ 374369 h 871769"/>
                <a:gd name="connsiteX638" fmla="*/ 1593619 w 4009365"/>
                <a:gd name="connsiteY638" fmla="*/ 374452 h 871769"/>
                <a:gd name="connsiteX639" fmla="*/ 1591849 w 4009365"/>
                <a:gd name="connsiteY639" fmla="*/ 373844 h 871769"/>
                <a:gd name="connsiteX640" fmla="*/ 1590632 w 4009365"/>
                <a:gd name="connsiteY640" fmla="*/ 373844 h 871769"/>
                <a:gd name="connsiteX641" fmla="*/ 1589416 w 4009365"/>
                <a:gd name="connsiteY641" fmla="*/ 373844 h 871769"/>
                <a:gd name="connsiteX642" fmla="*/ 1577967 w 4009365"/>
                <a:gd name="connsiteY642" fmla="*/ 360045 h 871769"/>
                <a:gd name="connsiteX643" fmla="*/ 1575036 w 4009365"/>
                <a:gd name="connsiteY643" fmla="*/ 356477 h 871769"/>
                <a:gd name="connsiteX644" fmla="*/ 1570473 w 4009365"/>
                <a:gd name="connsiteY644" fmla="*/ 351002 h 871769"/>
                <a:gd name="connsiteX645" fmla="*/ 1563339 w 4009365"/>
                <a:gd name="connsiteY645" fmla="*/ 351002 h 871769"/>
                <a:gd name="connsiteX646" fmla="*/ 1558084 w 4009365"/>
                <a:gd name="connsiteY646" fmla="*/ 351002 h 871769"/>
                <a:gd name="connsiteX647" fmla="*/ 1542875 w 4009365"/>
                <a:gd name="connsiteY647" fmla="*/ 351002 h 871769"/>
                <a:gd name="connsiteX648" fmla="*/ 1542875 w 4009365"/>
                <a:gd name="connsiteY648" fmla="*/ 351362 h 871769"/>
                <a:gd name="connsiteX649" fmla="*/ 1537953 w 4009365"/>
                <a:gd name="connsiteY649" fmla="*/ 351362 h 871769"/>
                <a:gd name="connsiteX650" fmla="*/ 1537953 w 4009365"/>
                <a:gd name="connsiteY650" fmla="*/ 298074 h 871769"/>
                <a:gd name="connsiteX651" fmla="*/ 1570999 w 4009365"/>
                <a:gd name="connsiteY651" fmla="*/ 298074 h 871769"/>
                <a:gd name="connsiteX652" fmla="*/ 1570999 w 4009365"/>
                <a:gd name="connsiteY652" fmla="*/ 307006 h 871769"/>
                <a:gd name="connsiteX653" fmla="*/ 1642482 w 4009365"/>
                <a:gd name="connsiteY653" fmla="*/ 307006 h 871769"/>
                <a:gd name="connsiteX654" fmla="*/ 1642482 w 4009365"/>
                <a:gd name="connsiteY654" fmla="*/ 298074 h 871769"/>
                <a:gd name="connsiteX655" fmla="*/ 1651414 w 4009365"/>
                <a:gd name="connsiteY655" fmla="*/ 298074 h 871769"/>
                <a:gd name="connsiteX656" fmla="*/ 1651414 w 4009365"/>
                <a:gd name="connsiteY656" fmla="*/ 273960 h 871769"/>
                <a:gd name="connsiteX657" fmla="*/ 1661231 w 4009365"/>
                <a:gd name="connsiteY657" fmla="*/ 273960 h 871769"/>
                <a:gd name="connsiteX658" fmla="*/ 2628653 w 4009365"/>
                <a:gd name="connsiteY658" fmla="*/ 238149 h 871769"/>
                <a:gd name="connsiteX659" fmla="*/ 2630754 w 4009365"/>
                <a:gd name="connsiteY659" fmla="*/ 240334 h 871769"/>
                <a:gd name="connsiteX660" fmla="*/ 2629399 w 4009365"/>
                <a:gd name="connsiteY660" fmla="*/ 242380 h 871769"/>
                <a:gd name="connsiteX661" fmla="*/ 2629399 w 4009365"/>
                <a:gd name="connsiteY661" fmla="*/ 244675 h 871769"/>
                <a:gd name="connsiteX662" fmla="*/ 2630893 w 4009365"/>
                <a:gd name="connsiteY662" fmla="*/ 244675 h 871769"/>
                <a:gd name="connsiteX663" fmla="*/ 2630893 w 4009365"/>
                <a:gd name="connsiteY663" fmla="*/ 254354 h 871769"/>
                <a:gd name="connsiteX664" fmla="*/ 2643419 w 4009365"/>
                <a:gd name="connsiteY664" fmla="*/ 267932 h 871769"/>
                <a:gd name="connsiteX665" fmla="*/ 2644774 w 4009365"/>
                <a:gd name="connsiteY665" fmla="*/ 267932 h 871769"/>
                <a:gd name="connsiteX666" fmla="*/ 2644774 w 4009365"/>
                <a:gd name="connsiteY666" fmla="*/ 270752 h 871769"/>
                <a:gd name="connsiteX667" fmla="*/ 2642231 w 4009365"/>
                <a:gd name="connsiteY667" fmla="*/ 270752 h 871769"/>
                <a:gd name="connsiteX668" fmla="*/ 2642231 w 4009365"/>
                <a:gd name="connsiteY668" fmla="*/ 280431 h 871769"/>
                <a:gd name="connsiteX669" fmla="*/ 2643558 w 4009365"/>
                <a:gd name="connsiteY669" fmla="*/ 280431 h 871769"/>
                <a:gd name="connsiteX670" fmla="*/ 2643558 w 4009365"/>
                <a:gd name="connsiteY670" fmla="*/ 283860 h 871769"/>
                <a:gd name="connsiteX671" fmla="*/ 2649061 w 4009365"/>
                <a:gd name="connsiteY671" fmla="*/ 283860 h 871769"/>
                <a:gd name="connsiteX672" fmla="*/ 2651605 w 4009365"/>
                <a:gd name="connsiteY672" fmla="*/ 286985 h 871769"/>
                <a:gd name="connsiteX673" fmla="*/ 2651605 w 4009365"/>
                <a:gd name="connsiteY673" fmla="*/ 290718 h 871769"/>
                <a:gd name="connsiteX674" fmla="*/ 2649061 w 4009365"/>
                <a:gd name="connsiteY674" fmla="*/ 292654 h 871769"/>
                <a:gd name="connsiteX675" fmla="*/ 2649061 w 4009365"/>
                <a:gd name="connsiteY675" fmla="*/ 302802 h 871769"/>
                <a:gd name="connsiteX676" fmla="*/ 2652434 w 4009365"/>
                <a:gd name="connsiteY676" fmla="*/ 307863 h 871769"/>
                <a:gd name="connsiteX677" fmla="*/ 2652434 w 4009365"/>
                <a:gd name="connsiteY677" fmla="*/ 312923 h 871769"/>
                <a:gd name="connsiteX678" fmla="*/ 2650720 w 4009365"/>
                <a:gd name="connsiteY678" fmla="*/ 316214 h 871769"/>
                <a:gd name="connsiteX679" fmla="*/ 2654149 w 4009365"/>
                <a:gd name="connsiteY679" fmla="*/ 320086 h 871769"/>
                <a:gd name="connsiteX680" fmla="*/ 2654149 w 4009365"/>
                <a:gd name="connsiteY680" fmla="*/ 330373 h 871769"/>
                <a:gd name="connsiteX681" fmla="*/ 2657661 w 4009365"/>
                <a:gd name="connsiteY681" fmla="*/ 330373 h 871769"/>
                <a:gd name="connsiteX682" fmla="*/ 2657301 w 4009365"/>
                <a:gd name="connsiteY682" fmla="*/ 336484 h 871769"/>
                <a:gd name="connsiteX683" fmla="*/ 2655200 w 4009365"/>
                <a:gd name="connsiteY683" fmla="*/ 337535 h 871769"/>
                <a:gd name="connsiteX684" fmla="*/ 2655200 w 4009365"/>
                <a:gd name="connsiteY684" fmla="*/ 387034 h 871769"/>
                <a:gd name="connsiteX685" fmla="*/ 2660122 w 4009365"/>
                <a:gd name="connsiteY685" fmla="*/ 389108 h 871769"/>
                <a:gd name="connsiteX686" fmla="*/ 2660122 w 4009365"/>
                <a:gd name="connsiteY686" fmla="*/ 395220 h 871769"/>
                <a:gd name="connsiteX687" fmla="*/ 2657301 w 4009365"/>
                <a:gd name="connsiteY687" fmla="*/ 397294 h 871769"/>
                <a:gd name="connsiteX688" fmla="*/ 2660121 w 4009365"/>
                <a:gd name="connsiteY688" fmla="*/ 553147 h 871769"/>
                <a:gd name="connsiteX689" fmla="*/ 2597211 w 4009365"/>
                <a:gd name="connsiteY689" fmla="*/ 553147 h 871769"/>
                <a:gd name="connsiteX690" fmla="*/ 2600059 w 4009365"/>
                <a:gd name="connsiteY690" fmla="*/ 397266 h 871769"/>
                <a:gd name="connsiteX691" fmla="*/ 2597211 w 4009365"/>
                <a:gd name="connsiteY691" fmla="*/ 395192 h 871769"/>
                <a:gd name="connsiteX692" fmla="*/ 2597211 w 4009365"/>
                <a:gd name="connsiteY692" fmla="*/ 389081 h 871769"/>
                <a:gd name="connsiteX693" fmla="*/ 2602133 w 4009365"/>
                <a:gd name="connsiteY693" fmla="*/ 387007 h 871769"/>
                <a:gd name="connsiteX694" fmla="*/ 2602133 w 4009365"/>
                <a:gd name="connsiteY694" fmla="*/ 337507 h 871769"/>
                <a:gd name="connsiteX695" fmla="*/ 2600059 w 4009365"/>
                <a:gd name="connsiteY695" fmla="*/ 336456 h 871769"/>
                <a:gd name="connsiteX696" fmla="*/ 2599700 w 4009365"/>
                <a:gd name="connsiteY696" fmla="*/ 330345 h 871769"/>
                <a:gd name="connsiteX697" fmla="*/ 2603212 w 4009365"/>
                <a:gd name="connsiteY697" fmla="*/ 330345 h 871769"/>
                <a:gd name="connsiteX698" fmla="*/ 2603212 w 4009365"/>
                <a:gd name="connsiteY698" fmla="*/ 320058 h 871769"/>
                <a:gd name="connsiteX699" fmla="*/ 2606641 w 4009365"/>
                <a:gd name="connsiteY699" fmla="*/ 316187 h 871769"/>
                <a:gd name="connsiteX700" fmla="*/ 2604926 w 4009365"/>
                <a:gd name="connsiteY700" fmla="*/ 312896 h 871769"/>
                <a:gd name="connsiteX701" fmla="*/ 2604926 w 4009365"/>
                <a:gd name="connsiteY701" fmla="*/ 307835 h 871769"/>
                <a:gd name="connsiteX702" fmla="*/ 2608272 w 4009365"/>
                <a:gd name="connsiteY702" fmla="*/ 302775 h 871769"/>
                <a:gd name="connsiteX703" fmla="*/ 2608272 w 4009365"/>
                <a:gd name="connsiteY703" fmla="*/ 292626 h 871769"/>
                <a:gd name="connsiteX704" fmla="*/ 2605728 w 4009365"/>
                <a:gd name="connsiteY704" fmla="*/ 290690 h 871769"/>
                <a:gd name="connsiteX705" fmla="*/ 2605728 w 4009365"/>
                <a:gd name="connsiteY705" fmla="*/ 286957 h 871769"/>
                <a:gd name="connsiteX706" fmla="*/ 2608272 w 4009365"/>
                <a:gd name="connsiteY706" fmla="*/ 283832 h 871769"/>
                <a:gd name="connsiteX707" fmla="*/ 2613775 w 4009365"/>
                <a:gd name="connsiteY707" fmla="*/ 283832 h 871769"/>
                <a:gd name="connsiteX708" fmla="*/ 2613775 w 4009365"/>
                <a:gd name="connsiteY708" fmla="*/ 280403 h 871769"/>
                <a:gd name="connsiteX709" fmla="*/ 2615130 w 4009365"/>
                <a:gd name="connsiteY709" fmla="*/ 280403 h 871769"/>
                <a:gd name="connsiteX710" fmla="*/ 2615130 w 4009365"/>
                <a:gd name="connsiteY710" fmla="*/ 270725 h 871769"/>
                <a:gd name="connsiteX711" fmla="*/ 2612586 w 4009365"/>
                <a:gd name="connsiteY711" fmla="*/ 270725 h 871769"/>
                <a:gd name="connsiteX712" fmla="*/ 2612586 w 4009365"/>
                <a:gd name="connsiteY712" fmla="*/ 267904 h 871769"/>
                <a:gd name="connsiteX713" fmla="*/ 2613914 w 4009365"/>
                <a:gd name="connsiteY713" fmla="*/ 267904 h 871769"/>
                <a:gd name="connsiteX714" fmla="*/ 2626440 w 4009365"/>
                <a:gd name="connsiteY714" fmla="*/ 254326 h 871769"/>
                <a:gd name="connsiteX715" fmla="*/ 2626440 w 4009365"/>
                <a:gd name="connsiteY715" fmla="*/ 244648 h 871769"/>
                <a:gd name="connsiteX716" fmla="*/ 2627768 w 4009365"/>
                <a:gd name="connsiteY716" fmla="*/ 244648 h 871769"/>
                <a:gd name="connsiteX717" fmla="*/ 2627768 w 4009365"/>
                <a:gd name="connsiteY717" fmla="*/ 242297 h 871769"/>
                <a:gd name="connsiteX718" fmla="*/ 2626579 w 4009365"/>
                <a:gd name="connsiteY718" fmla="*/ 240334 h 871769"/>
                <a:gd name="connsiteX719" fmla="*/ 2628653 w 4009365"/>
                <a:gd name="connsiteY719" fmla="*/ 238149 h 871769"/>
                <a:gd name="connsiteX720" fmla="*/ 1976562 w 4009365"/>
                <a:gd name="connsiteY720" fmla="*/ 214589 h 871769"/>
                <a:gd name="connsiteX721" fmla="*/ 1976562 w 4009365"/>
                <a:gd name="connsiteY721" fmla="*/ 220866 h 871769"/>
                <a:gd name="connsiteX722" fmla="*/ 1977834 w 4009365"/>
                <a:gd name="connsiteY722" fmla="*/ 220866 h 871769"/>
                <a:gd name="connsiteX723" fmla="*/ 1977834 w 4009365"/>
                <a:gd name="connsiteY723" fmla="*/ 222968 h 871769"/>
                <a:gd name="connsiteX724" fmla="*/ 1978829 w 4009365"/>
                <a:gd name="connsiteY724" fmla="*/ 223963 h 871769"/>
                <a:gd name="connsiteX725" fmla="*/ 1978829 w 4009365"/>
                <a:gd name="connsiteY725" fmla="*/ 214589 h 871769"/>
                <a:gd name="connsiteX726" fmla="*/ 1965003 w 4009365"/>
                <a:gd name="connsiteY726" fmla="*/ 214533 h 871769"/>
                <a:gd name="connsiteX727" fmla="*/ 1965003 w 4009365"/>
                <a:gd name="connsiteY727" fmla="*/ 223935 h 871769"/>
                <a:gd name="connsiteX728" fmla="*/ 1965998 w 4009365"/>
                <a:gd name="connsiteY728" fmla="*/ 222940 h 871769"/>
                <a:gd name="connsiteX729" fmla="*/ 1965998 w 4009365"/>
                <a:gd name="connsiteY729" fmla="*/ 220838 h 871769"/>
                <a:gd name="connsiteX730" fmla="*/ 1967270 w 4009365"/>
                <a:gd name="connsiteY730" fmla="*/ 220838 h 871769"/>
                <a:gd name="connsiteX731" fmla="*/ 1967270 w 4009365"/>
                <a:gd name="connsiteY731" fmla="*/ 214533 h 871769"/>
                <a:gd name="connsiteX732" fmla="*/ 2526143 w 4009365"/>
                <a:gd name="connsiteY732" fmla="*/ 138874 h 871769"/>
                <a:gd name="connsiteX733" fmla="*/ 2533526 w 4009365"/>
                <a:gd name="connsiteY733" fmla="*/ 138874 h 871769"/>
                <a:gd name="connsiteX734" fmla="*/ 2533526 w 4009365"/>
                <a:gd name="connsiteY734" fmla="*/ 160112 h 871769"/>
                <a:gd name="connsiteX735" fmla="*/ 2576001 w 4009365"/>
                <a:gd name="connsiteY735" fmla="*/ 160112 h 871769"/>
                <a:gd name="connsiteX736" fmla="*/ 2579596 w 4009365"/>
                <a:gd name="connsiteY736" fmla="*/ 570873 h 871769"/>
                <a:gd name="connsiteX737" fmla="*/ 2675719 w 4009365"/>
                <a:gd name="connsiteY737" fmla="*/ 570873 h 871769"/>
                <a:gd name="connsiteX738" fmla="*/ 2680337 w 4009365"/>
                <a:gd name="connsiteY738" fmla="*/ 275481 h 871769"/>
                <a:gd name="connsiteX739" fmla="*/ 2686808 w 4009365"/>
                <a:gd name="connsiteY739" fmla="*/ 275481 h 871769"/>
                <a:gd name="connsiteX740" fmla="*/ 2686808 w 4009365"/>
                <a:gd name="connsiteY740" fmla="*/ 257949 h 871769"/>
                <a:gd name="connsiteX741" fmla="*/ 2680337 w 4009365"/>
                <a:gd name="connsiteY741" fmla="*/ 257949 h 871769"/>
                <a:gd name="connsiteX742" fmla="*/ 2680337 w 4009365"/>
                <a:gd name="connsiteY742" fmla="*/ 241329 h 871769"/>
                <a:gd name="connsiteX743" fmla="*/ 2764375 w 4009365"/>
                <a:gd name="connsiteY743" fmla="*/ 241329 h 871769"/>
                <a:gd name="connsiteX744" fmla="*/ 2764375 w 4009365"/>
                <a:gd name="connsiteY744" fmla="*/ 213648 h 871769"/>
                <a:gd name="connsiteX745" fmla="*/ 2865006 w 4009365"/>
                <a:gd name="connsiteY745" fmla="*/ 213648 h 871769"/>
                <a:gd name="connsiteX746" fmla="*/ 2865006 w 4009365"/>
                <a:gd name="connsiteY746" fmla="*/ 241329 h 871769"/>
                <a:gd name="connsiteX747" fmla="*/ 2949044 w 4009365"/>
                <a:gd name="connsiteY747" fmla="*/ 241329 h 871769"/>
                <a:gd name="connsiteX748" fmla="*/ 2949044 w 4009365"/>
                <a:gd name="connsiteY748" fmla="*/ 257949 h 871769"/>
                <a:gd name="connsiteX749" fmla="*/ 2943513 w 4009365"/>
                <a:gd name="connsiteY749" fmla="*/ 257949 h 871769"/>
                <a:gd name="connsiteX750" fmla="*/ 2943513 w 4009365"/>
                <a:gd name="connsiteY750" fmla="*/ 275481 h 871769"/>
                <a:gd name="connsiteX751" fmla="*/ 2949044 w 4009365"/>
                <a:gd name="connsiteY751" fmla="*/ 275481 h 871769"/>
                <a:gd name="connsiteX752" fmla="*/ 2954243 w 4009365"/>
                <a:gd name="connsiteY752" fmla="*/ 840272 h 871769"/>
                <a:gd name="connsiteX753" fmla="*/ 2962981 w 4009365"/>
                <a:gd name="connsiteY753" fmla="*/ 666028 h 871769"/>
                <a:gd name="connsiteX754" fmla="*/ 2967406 w 4009365"/>
                <a:gd name="connsiteY754" fmla="*/ 660276 h 871769"/>
                <a:gd name="connsiteX755" fmla="*/ 2967406 w 4009365"/>
                <a:gd name="connsiteY755" fmla="*/ 590756 h 871769"/>
                <a:gd name="connsiteX756" fmla="*/ 2970614 w 4009365"/>
                <a:gd name="connsiteY756" fmla="*/ 589180 h 871769"/>
                <a:gd name="connsiteX757" fmla="*/ 2969176 w 4009365"/>
                <a:gd name="connsiteY757" fmla="*/ 587355 h 871769"/>
                <a:gd name="connsiteX758" fmla="*/ 2969176 w 4009365"/>
                <a:gd name="connsiteY758" fmla="*/ 583815 h 871769"/>
                <a:gd name="connsiteX759" fmla="*/ 2973600 w 4009365"/>
                <a:gd name="connsiteY759" fmla="*/ 582349 h 871769"/>
                <a:gd name="connsiteX760" fmla="*/ 2973600 w 4009365"/>
                <a:gd name="connsiteY760" fmla="*/ 574828 h 871769"/>
                <a:gd name="connsiteX761" fmla="*/ 2972107 w 4009365"/>
                <a:gd name="connsiteY761" fmla="*/ 573224 h 871769"/>
                <a:gd name="connsiteX762" fmla="*/ 2975950 w 4009365"/>
                <a:gd name="connsiteY762" fmla="*/ 563324 h 871769"/>
                <a:gd name="connsiteX763" fmla="*/ 2977278 w 4009365"/>
                <a:gd name="connsiteY763" fmla="*/ 563324 h 871769"/>
                <a:gd name="connsiteX764" fmla="*/ 2979352 w 4009365"/>
                <a:gd name="connsiteY764" fmla="*/ 558734 h 871769"/>
                <a:gd name="connsiteX765" fmla="*/ 2978633 w 4009365"/>
                <a:gd name="connsiteY765" fmla="*/ 557545 h 871769"/>
                <a:gd name="connsiteX766" fmla="*/ 2980403 w 4009365"/>
                <a:gd name="connsiteY766" fmla="*/ 556798 h 871769"/>
                <a:gd name="connsiteX767" fmla="*/ 2979214 w 4009365"/>
                <a:gd name="connsiteY767" fmla="*/ 554724 h 871769"/>
                <a:gd name="connsiteX768" fmla="*/ 2981426 w 4009365"/>
                <a:gd name="connsiteY768" fmla="*/ 550880 h 871769"/>
                <a:gd name="connsiteX769" fmla="*/ 2983334 w 4009365"/>
                <a:gd name="connsiteY769" fmla="*/ 554724 h 871769"/>
                <a:gd name="connsiteX770" fmla="*/ 2982145 w 4009365"/>
                <a:gd name="connsiteY770" fmla="*/ 556494 h 871769"/>
                <a:gd name="connsiteX771" fmla="*/ 2984496 w 4009365"/>
                <a:gd name="connsiteY771" fmla="*/ 557379 h 871769"/>
                <a:gd name="connsiteX772" fmla="*/ 2983168 w 4009365"/>
                <a:gd name="connsiteY772" fmla="*/ 559010 h 871769"/>
                <a:gd name="connsiteX773" fmla="*/ 2989528 w 4009365"/>
                <a:gd name="connsiteY773" fmla="*/ 573196 h 871769"/>
                <a:gd name="connsiteX774" fmla="*/ 2987758 w 4009365"/>
                <a:gd name="connsiteY774" fmla="*/ 575409 h 871769"/>
                <a:gd name="connsiteX775" fmla="*/ 2988007 w 4009365"/>
                <a:gd name="connsiteY775" fmla="*/ 580552 h 871769"/>
                <a:gd name="connsiteX776" fmla="*/ 3031312 w 4009365"/>
                <a:gd name="connsiteY776" fmla="*/ 559121 h 871769"/>
                <a:gd name="connsiteX777" fmla="*/ 3031312 w 4009365"/>
                <a:gd name="connsiteY777" fmla="*/ 542778 h 871769"/>
                <a:gd name="connsiteX778" fmla="*/ 3033386 w 4009365"/>
                <a:gd name="connsiteY778" fmla="*/ 542778 h 871769"/>
                <a:gd name="connsiteX779" fmla="*/ 3034852 w 4009365"/>
                <a:gd name="connsiteY779" fmla="*/ 537164 h 871769"/>
                <a:gd name="connsiteX780" fmla="*/ 3034271 w 4009365"/>
                <a:gd name="connsiteY780" fmla="*/ 536583 h 871769"/>
                <a:gd name="connsiteX781" fmla="*/ 3035156 w 4009365"/>
                <a:gd name="connsiteY781" fmla="*/ 535118 h 871769"/>
                <a:gd name="connsiteX782" fmla="*/ 3034409 w 4009365"/>
                <a:gd name="connsiteY782" fmla="*/ 533210 h 871769"/>
                <a:gd name="connsiteX783" fmla="*/ 3036318 w 4009365"/>
                <a:gd name="connsiteY783" fmla="*/ 530859 h 871769"/>
                <a:gd name="connsiteX784" fmla="*/ 3038088 w 4009365"/>
                <a:gd name="connsiteY784" fmla="*/ 533071 h 871769"/>
                <a:gd name="connsiteX785" fmla="*/ 3037202 w 4009365"/>
                <a:gd name="connsiteY785" fmla="*/ 534979 h 871769"/>
                <a:gd name="connsiteX786" fmla="*/ 3038088 w 4009365"/>
                <a:gd name="connsiteY786" fmla="*/ 536307 h 871769"/>
                <a:gd name="connsiteX787" fmla="*/ 3037341 w 4009365"/>
                <a:gd name="connsiteY787" fmla="*/ 537772 h 871769"/>
                <a:gd name="connsiteX788" fmla="*/ 3039249 w 4009365"/>
                <a:gd name="connsiteY788" fmla="*/ 543386 h 871769"/>
                <a:gd name="connsiteX789" fmla="*/ 3041323 w 4009365"/>
                <a:gd name="connsiteY789" fmla="*/ 543524 h 871769"/>
                <a:gd name="connsiteX790" fmla="*/ 3041323 w 4009365"/>
                <a:gd name="connsiteY790" fmla="*/ 554143 h 871769"/>
                <a:gd name="connsiteX791" fmla="*/ 3054762 w 4009365"/>
                <a:gd name="connsiteY791" fmla="*/ 547506 h 871769"/>
                <a:gd name="connsiteX792" fmla="*/ 3054762 w 4009365"/>
                <a:gd name="connsiteY792" fmla="*/ 533486 h 871769"/>
                <a:gd name="connsiteX793" fmla="*/ 3057417 w 4009365"/>
                <a:gd name="connsiteY793" fmla="*/ 533486 h 871769"/>
                <a:gd name="connsiteX794" fmla="*/ 3060376 w 4009365"/>
                <a:gd name="connsiteY794" fmla="*/ 525356 h 871769"/>
                <a:gd name="connsiteX795" fmla="*/ 3058744 w 4009365"/>
                <a:gd name="connsiteY795" fmla="*/ 525356 h 871769"/>
                <a:gd name="connsiteX796" fmla="*/ 3057583 w 4009365"/>
                <a:gd name="connsiteY796" fmla="*/ 520932 h 871769"/>
                <a:gd name="connsiteX797" fmla="*/ 3066432 w 4009365"/>
                <a:gd name="connsiteY797" fmla="*/ 515760 h 871769"/>
                <a:gd name="connsiteX798" fmla="*/ 3067483 w 4009365"/>
                <a:gd name="connsiteY798" fmla="*/ 450360 h 871769"/>
                <a:gd name="connsiteX799" fmla="*/ 3065851 w 4009365"/>
                <a:gd name="connsiteY799" fmla="*/ 448286 h 871769"/>
                <a:gd name="connsiteX800" fmla="*/ 3065851 w 4009365"/>
                <a:gd name="connsiteY800" fmla="*/ 445466 h 871769"/>
                <a:gd name="connsiteX801" fmla="*/ 3067483 w 4009365"/>
                <a:gd name="connsiteY801" fmla="*/ 444138 h 871769"/>
                <a:gd name="connsiteX802" fmla="*/ 3068064 w 4009365"/>
                <a:gd name="connsiteY802" fmla="*/ 425251 h 871769"/>
                <a:gd name="connsiteX803" fmla="*/ 3065713 w 4009365"/>
                <a:gd name="connsiteY803" fmla="*/ 423177 h 871769"/>
                <a:gd name="connsiteX804" fmla="*/ 3065713 w 4009365"/>
                <a:gd name="connsiteY804" fmla="*/ 420523 h 871769"/>
                <a:gd name="connsiteX805" fmla="*/ 3068064 w 4009365"/>
                <a:gd name="connsiteY805" fmla="*/ 419333 h 871769"/>
                <a:gd name="connsiteX806" fmla="*/ 3068064 w 4009365"/>
                <a:gd name="connsiteY806" fmla="*/ 411950 h 871769"/>
                <a:gd name="connsiteX807" fmla="*/ 3067179 w 4009365"/>
                <a:gd name="connsiteY807" fmla="*/ 410623 h 871769"/>
                <a:gd name="connsiteX808" fmla="*/ 3067013 w 4009365"/>
                <a:gd name="connsiteY808" fmla="*/ 408410 h 871769"/>
                <a:gd name="connsiteX809" fmla="*/ 3071161 w 4009365"/>
                <a:gd name="connsiteY809" fmla="*/ 402852 h 871769"/>
                <a:gd name="connsiteX810" fmla="*/ 3071161 w 4009365"/>
                <a:gd name="connsiteY810" fmla="*/ 397653 h 871769"/>
                <a:gd name="connsiteX811" fmla="*/ 3069972 w 4009365"/>
                <a:gd name="connsiteY811" fmla="*/ 395137 h 871769"/>
                <a:gd name="connsiteX812" fmla="*/ 3076166 w 4009365"/>
                <a:gd name="connsiteY812" fmla="*/ 383025 h 871769"/>
                <a:gd name="connsiteX813" fmla="*/ 3075585 w 4009365"/>
                <a:gd name="connsiteY813" fmla="*/ 379928 h 871769"/>
                <a:gd name="connsiteX814" fmla="*/ 3077659 w 4009365"/>
                <a:gd name="connsiteY814" fmla="*/ 376969 h 871769"/>
                <a:gd name="connsiteX815" fmla="*/ 3079125 w 4009365"/>
                <a:gd name="connsiteY815" fmla="*/ 379623 h 871769"/>
                <a:gd name="connsiteX816" fmla="*/ 3078240 w 4009365"/>
                <a:gd name="connsiteY816" fmla="*/ 382859 h 871769"/>
                <a:gd name="connsiteX817" fmla="*/ 3080010 w 4009365"/>
                <a:gd name="connsiteY817" fmla="*/ 385209 h 871769"/>
                <a:gd name="connsiteX818" fmla="*/ 3099007 w 4009365"/>
                <a:gd name="connsiteY818" fmla="*/ 257285 h 871769"/>
                <a:gd name="connsiteX819" fmla="*/ 3097127 w 4009365"/>
                <a:gd name="connsiteY819" fmla="*/ 254078 h 871769"/>
                <a:gd name="connsiteX820" fmla="*/ 3100280 w 4009365"/>
                <a:gd name="connsiteY820" fmla="*/ 250289 h 871769"/>
                <a:gd name="connsiteX821" fmla="*/ 3100280 w 4009365"/>
                <a:gd name="connsiteY821" fmla="*/ 237430 h 871769"/>
                <a:gd name="connsiteX822" fmla="*/ 3094445 w 4009365"/>
                <a:gd name="connsiteY822" fmla="*/ 237458 h 871769"/>
                <a:gd name="connsiteX823" fmla="*/ 3093145 w 4009365"/>
                <a:gd name="connsiteY823" fmla="*/ 238758 h 871769"/>
                <a:gd name="connsiteX824" fmla="*/ 3091845 w 4009365"/>
                <a:gd name="connsiteY824" fmla="*/ 237458 h 871769"/>
                <a:gd name="connsiteX825" fmla="*/ 3091845 w 4009365"/>
                <a:gd name="connsiteY825" fmla="*/ 237403 h 871769"/>
                <a:gd name="connsiteX826" fmla="*/ 3090573 w 4009365"/>
                <a:gd name="connsiteY826" fmla="*/ 235854 h 871769"/>
                <a:gd name="connsiteX827" fmla="*/ 3091873 w 4009365"/>
                <a:gd name="connsiteY827" fmla="*/ 234305 h 871769"/>
                <a:gd name="connsiteX828" fmla="*/ 3093145 w 4009365"/>
                <a:gd name="connsiteY828" fmla="*/ 233227 h 871769"/>
                <a:gd name="connsiteX829" fmla="*/ 3094417 w 4009365"/>
                <a:gd name="connsiteY829" fmla="*/ 234278 h 871769"/>
                <a:gd name="connsiteX830" fmla="*/ 3100280 w 4009365"/>
                <a:gd name="connsiteY830" fmla="*/ 234278 h 871769"/>
                <a:gd name="connsiteX831" fmla="*/ 3100280 w 4009365"/>
                <a:gd name="connsiteY831" fmla="*/ 228526 h 871769"/>
                <a:gd name="connsiteX832" fmla="*/ 3100141 w 4009365"/>
                <a:gd name="connsiteY832" fmla="*/ 228526 h 871769"/>
                <a:gd name="connsiteX833" fmla="*/ 3099007 w 4009365"/>
                <a:gd name="connsiteY833" fmla="*/ 227392 h 871769"/>
                <a:gd name="connsiteX834" fmla="*/ 3100141 w 4009365"/>
                <a:gd name="connsiteY834" fmla="*/ 226258 h 871769"/>
                <a:gd name="connsiteX835" fmla="*/ 3100280 w 4009365"/>
                <a:gd name="connsiteY835" fmla="*/ 226258 h 871769"/>
                <a:gd name="connsiteX836" fmla="*/ 3100280 w 4009365"/>
                <a:gd name="connsiteY836" fmla="*/ 225954 h 871769"/>
                <a:gd name="connsiteX837" fmla="*/ 3101911 w 4009365"/>
                <a:gd name="connsiteY837" fmla="*/ 224323 h 871769"/>
                <a:gd name="connsiteX838" fmla="*/ 3103543 w 4009365"/>
                <a:gd name="connsiteY838" fmla="*/ 225954 h 871769"/>
                <a:gd name="connsiteX839" fmla="*/ 3103543 w 4009365"/>
                <a:gd name="connsiteY839" fmla="*/ 226258 h 871769"/>
                <a:gd name="connsiteX840" fmla="*/ 3104677 w 4009365"/>
                <a:gd name="connsiteY840" fmla="*/ 227392 h 871769"/>
                <a:gd name="connsiteX841" fmla="*/ 3103543 w 4009365"/>
                <a:gd name="connsiteY841" fmla="*/ 228526 h 871769"/>
                <a:gd name="connsiteX842" fmla="*/ 3103543 w 4009365"/>
                <a:gd name="connsiteY842" fmla="*/ 234278 h 871769"/>
                <a:gd name="connsiteX843" fmla="*/ 3109516 w 4009365"/>
                <a:gd name="connsiteY843" fmla="*/ 234278 h 871769"/>
                <a:gd name="connsiteX844" fmla="*/ 3110622 w 4009365"/>
                <a:gd name="connsiteY844" fmla="*/ 233227 h 871769"/>
                <a:gd name="connsiteX845" fmla="*/ 3111728 w 4009365"/>
                <a:gd name="connsiteY845" fmla="*/ 234278 h 871769"/>
                <a:gd name="connsiteX846" fmla="*/ 3113221 w 4009365"/>
                <a:gd name="connsiteY846" fmla="*/ 235826 h 871769"/>
                <a:gd name="connsiteX847" fmla="*/ 3111728 w 4009365"/>
                <a:gd name="connsiteY847" fmla="*/ 237403 h 871769"/>
                <a:gd name="connsiteX848" fmla="*/ 3111728 w 4009365"/>
                <a:gd name="connsiteY848" fmla="*/ 237956 h 871769"/>
                <a:gd name="connsiteX849" fmla="*/ 3110622 w 4009365"/>
                <a:gd name="connsiteY849" fmla="*/ 239062 h 871769"/>
                <a:gd name="connsiteX850" fmla="*/ 3109516 w 4009365"/>
                <a:gd name="connsiteY850" fmla="*/ 237956 h 871769"/>
                <a:gd name="connsiteX851" fmla="*/ 3109516 w 4009365"/>
                <a:gd name="connsiteY851" fmla="*/ 237403 h 871769"/>
                <a:gd name="connsiteX852" fmla="*/ 3103543 w 4009365"/>
                <a:gd name="connsiteY852" fmla="*/ 237403 h 871769"/>
                <a:gd name="connsiteX853" fmla="*/ 3103543 w 4009365"/>
                <a:gd name="connsiteY853" fmla="*/ 250289 h 871769"/>
                <a:gd name="connsiteX854" fmla="*/ 3106584 w 4009365"/>
                <a:gd name="connsiteY854" fmla="*/ 254022 h 871769"/>
                <a:gd name="connsiteX855" fmla="*/ 3104455 w 4009365"/>
                <a:gd name="connsiteY855" fmla="*/ 257368 h 871769"/>
                <a:gd name="connsiteX856" fmla="*/ 3123426 w 4009365"/>
                <a:gd name="connsiteY856" fmla="*/ 385126 h 871769"/>
                <a:gd name="connsiteX857" fmla="*/ 3125195 w 4009365"/>
                <a:gd name="connsiteY857" fmla="*/ 382776 h 871769"/>
                <a:gd name="connsiteX858" fmla="*/ 3124310 w 4009365"/>
                <a:gd name="connsiteY858" fmla="*/ 379540 h 871769"/>
                <a:gd name="connsiteX859" fmla="*/ 3125776 w 4009365"/>
                <a:gd name="connsiteY859" fmla="*/ 376886 h 871769"/>
                <a:gd name="connsiteX860" fmla="*/ 3127850 w 4009365"/>
                <a:gd name="connsiteY860" fmla="*/ 379845 h 871769"/>
                <a:gd name="connsiteX861" fmla="*/ 3127269 w 4009365"/>
                <a:gd name="connsiteY861" fmla="*/ 382942 h 871769"/>
                <a:gd name="connsiteX862" fmla="*/ 3133464 w 4009365"/>
                <a:gd name="connsiteY862" fmla="*/ 395054 h 871769"/>
                <a:gd name="connsiteX863" fmla="*/ 3132302 w 4009365"/>
                <a:gd name="connsiteY863" fmla="*/ 397570 h 871769"/>
                <a:gd name="connsiteX864" fmla="*/ 3132302 w 4009365"/>
                <a:gd name="connsiteY864" fmla="*/ 402769 h 871769"/>
                <a:gd name="connsiteX865" fmla="*/ 3136422 w 4009365"/>
                <a:gd name="connsiteY865" fmla="*/ 408327 h 871769"/>
                <a:gd name="connsiteX866" fmla="*/ 3136284 w 4009365"/>
                <a:gd name="connsiteY866" fmla="*/ 410540 h 871769"/>
                <a:gd name="connsiteX867" fmla="*/ 3135399 w 4009365"/>
                <a:gd name="connsiteY867" fmla="*/ 411867 h 871769"/>
                <a:gd name="connsiteX868" fmla="*/ 3135399 w 4009365"/>
                <a:gd name="connsiteY868" fmla="*/ 419251 h 871769"/>
                <a:gd name="connsiteX869" fmla="*/ 3137750 w 4009365"/>
                <a:gd name="connsiteY869" fmla="*/ 420440 h 871769"/>
                <a:gd name="connsiteX870" fmla="*/ 3137750 w 4009365"/>
                <a:gd name="connsiteY870" fmla="*/ 423094 h 871769"/>
                <a:gd name="connsiteX871" fmla="*/ 3135399 w 4009365"/>
                <a:gd name="connsiteY871" fmla="*/ 425168 h 871769"/>
                <a:gd name="connsiteX872" fmla="*/ 3135980 w 4009365"/>
                <a:gd name="connsiteY872" fmla="*/ 444056 h 871769"/>
                <a:gd name="connsiteX873" fmla="*/ 3137612 w 4009365"/>
                <a:gd name="connsiteY873" fmla="*/ 445383 h 871769"/>
                <a:gd name="connsiteX874" fmla="*/ 3137612 w 4009365"/>
                <a:gd name="connsiteY874" fmla="*/ 448203 h 871769"/>
                <a:gd name="connsiteX875" fmla="*/ 3135980 w 4009365"/>
                <a:gd name="connsiteY875" fmla="*/ 450277 h 871769"/>
                <a:gd name="connsiteX876" fmla="*/ 3137003 w 4009365"/>
                <a:gd name="connsiteY876" fmla="*/ 515677 h 871769"/>
                <a:gd name="connsiteX877" fmla="*/ 3145852 w 4009365"/>
                <a:gd name="connsiteY877" fmla="*/ 520849 h 871769"/>
                <a:gd name="connsiteX878" fmla="*/ 3144691 w 4009365"/>
                <a:gd name="connsiteY878" fmla="*/ 525273 h 871769"/>
                <a:gd name="connsiteX879" fmla="*/ 3143059 w 4009365"/>
                <a:gd name="connsiteY879" fmla="*/ 525273 h 871769"/>
                <a:gd name="connsiteX880" fmla="*/ 3146018 w 4009365"/>
                <a:gd name="connsiteY880" fmla="*/ 533403 h 871769"/>
                <a:gd name="connsiteX881" fmla="*/ 3148673 w 4009365"/>
                <a:gd name="connsiteY881" fmla="*/ 533403 h 871769"/>
                <a:gd name="connsiteX882" fmla="*/ 3148673 w 4009365"/>
                <a:gd name="connsiteY882" fmla="*/ 547423 h 871769"/>
                <a:gd name="connsiteX883" fmla="*/ 3162112 w 4009365"/>
                <a:gd name="connsiteY883" fmla="*/ 554060 h 871769"/>
                <a:gd name="connsiteX884" fmla="*/ 3162112 w 4009365"/>
                <a:gd name="connsiteY884" fmla="*/ 543441 h 871769"/>
                <a:gd name="connsiteX885" fmla="*/ 3164186 w 4009365"/>
                <a:gd name="connsiteY885" fmla="*/ 543303 h 871769"/>
                <a:gd name="connsiteX886" fmla="*/ 3166122 w 4009365"/>
                <a:gd name="connsiteY886" fmla="*/ 537689 h 871769"/>
                <a:gd name="connsiteX887" fmla="*/ 3165375 w 4009365"/>
                <a:gd name="connsiteY887" fmla="*/ 536224 h 871769"/>
                <a:gd name="connsiteX888" fmla="*/ 3166260 w 4009365"/>
                <a:gd name="connsiteY888" fmla="*/ 534896 h 871769"/>
                <a:gd name="connsiteX889" fmla="*/ 3165375 w 4009365"/>
                <a:gd name="connsiteY889" fmla="*/ 532988 h 871769"/>
                <a:gd name="connsiteX890" fmla="*/ 3167145 w 4009365"/>
                <a:gd name="connsiteY890" fmla="*/ 530776 h 871769"/>
                <a:gd name="connsiteX891" fmla="*/ 3169053 w 4009365"/>
                <a:gd name="connsiteY891" fmla="*/ 533127 h 871769"/>
                <a:gd name="connsiteX892" fmla="*/ 3168307 w 4009365"/>
                <a:gd name="connsiteY892" fmla="*/ 535035 h 871769"/>
                <a:gd name="connsiteX893" fmla="*/ 3169191 w 4009365"/>
                <a:gd name="connsiteY893" fmla="*/ 536500 h 871769"/>
                <a:gd name="connsiteX894" fmla="*/ 3168611 w 4009365"/>
                <a:gd name="connsiteY894" fmla="*/ 537081 h 871769"/>
                <a:gd name="connsiteX895" fmla="*/ 3170077 w 4009365"/>
                <a:gd name="connsiteY895" fmla="*/ 542695 h 871769"/>
                <a:gd name="connsiteX896" fmla="*/ 3172151 w 4009365"/>
                <a:gd name="connsiteY896" fmla="*/ 542695 h 871769"/>
                <a:gd name="connsiteX897" fmla="*/ 3172151 w 4009365"/>
                <a:gd name="connsiteY897" fmla="*/ 559038 h 871769"/>
                <a:gd name="connsiteX898" fmla="*/ 3215455 w 4009365"/>
                <a:gd name="connsiteY898" fmla="*/ 580469 h 871769"/>
                <a:gd name="connsiteX899" fmla="*/ 3215704 w 4009365"/>
                <a:gd name="connsiteY899" fmla="*/ 575326 h 871769"/>
                <a:gd name="connsiteX900" fmla="*/ 3213935 w 4009365"/>
                <a:gd name="connsiteY900" fmla="*/ 573113 h 871769"/>
                <a:gd name="connsiteX901" fmla="*/ 3220267 w 4009365"/>
                <a:gd name="connsiteY901" fmla="*/ 558927 h 871769"/>
                <a:gd name="connsiteX902" fmla="*/ 3218940 w 4009365"/>
                <a:gd name="connsiteY902" fmla="*/ 557296 h 871769"/>
                <a:gd name="connsiteX903" fmla="*/ 3221290 w 4009365"/>
                <a:gd name="connsiteY903" fmla="*/ 556411 h 871769"/>
                <a:gd name="connsiteX904" fmla="*/ 3220129 w 4009365"/>
                <a:gd name="connsiteY904" fmla="*/ 554641 h 871769"/>
                <a:gd name="connsiteX905" fmla="*/ 3222037 w 4009365"/>
                <a:gd name="connsiteY905" fmla="*/ 550797 h 871769"/>
                <a:gd name="connsiteX906" fmla="*/ 3224249 w 4009365"/>
                <a:gd name="connsiteY906" fmla="*/ 554641 h 871769"/>
                <a:gd name="connsiteX907" fmla="*/ 3223060 w 4009365"/>
                <a:gd name="connsiteY907" fmla="*/ 556715 h 871769"/>
                <a:gd name="connsiteX908" fmla="*/ 3224830 w 4009365"/>
                <a:gd name="connsiteY908" fmla="*/ 557462 h 871769"/>
                <a:gd name="connsiteX909" fmla="*/ 3224083 w 4009365"/>
                <a:gd name="connsiteY909" fmla="*/ 558651 h 871769"/>
                <a:gd name="connsiteX910" fmla="*/ 3226157 w 4009365"/>
                <a:gd name="connsiteY910" fmla="*/ 563241 h 871769"/>
                <a:gd name="connsiteX911" fmla="*/ 3227485 w 4009365"/>
                <a:gd name="connsiteY911" fmla="*/ 563241 h 871769"/>
                <a:gd name="connsiteX912" fmla="*/ 3231328 w 4009365"/>
                <a:gd name="connsiteY912" fmla="*/ 573141 h 871769"/>
                <a:gd name="connsiteX913" fmla="*/ 3229863 w 4009365"/>
                <a:gd name="connsiteY913" fmla="*/ 574745 h 871769"/>
                <a:gd name="connsiteX914" fmla="*/ 3229863 w 4009365"/>
                <a:gd name="connsiteY914" fmla="*/ 582267 h 871769"/>
                <a:gd name="connsiteX915" fmla="*/ 3234287 w 4009365"/>
                <a:gd name="connsiteY915" fmla="*/ 583732 h 871769"/>
                <a:gd name="connsiteX916" fmla="*/ 3234287 w 4009365"/>
                <a:gd name="connsiteY916" fmla="*/ 587272 h 871769"/>
                <a:gd name="connsiteX917" fmla="*/ 3232849 w 4009365"/>
                <a:gd name="connsiteY917" fmla="*/ 589097 h 871769"/>
                <a:gd name="connsiteX918" fmla="*/ 3236057 w 4009365"/>
                <a:gd name="connsiteY918" fmla="*/ 590673 h 871769"/>
                <a:gd name="connsiteX919" fmla="*/ 3236057 w 4009365"/>
                <a:gd name="connsiteY919" fmla="*/ 660193 h 871769"/>
                <a:gd name="connsiteX920" fmla="*/ 3240482 w 4009365"/>
                <a:gd name="connsiteY920" fmla="*/ 665945 h 871769"/>
                <a:gd name="connsiteX921" fmla="*/ 3249082 w 4009365"/>
                <a:gd name="connsiteY921" fmla="*/ 840189 h 871769"/>
                <a:gd name="connsiteX922" fmla="*/ 3253755 w 4009365"/>
                <a:gd name="connsiteY922" fmla="*/ 602619 h 871769"/>
                <a:gd name="connsiteX923" fmla="*/ 3299549 w 4009365"/>
                <a:gd name="connsiteY923" fmla="*/ 553009 h 871769"/>
                <a:gd name="connsiteX924" fmla="*/ 3299549 w 4009365"/>
                <a:gd name="connsiteY924" fmla="*/ 518028 h 871769"/>
                <a:gd name="connsiteX925" fmla="*/ 3314979 w 4009365"/>
                <a:gd name="connsiteY925" fmla="*/ 518028 h 871769"/>
                <a:gd name="connsiteX926" fmla="*/ 3314979 w 4009365"/>
                <a:gd name="connsiteY926" fmla="*/ 536279 h 871769"/>
                <a:gd name="connsiteX927" fmla="*/ 3348827 w 4009365"/>
                <a:gd name="connsiteY927" fmla="*/ 499611 h 871769"/>
                <a:gd name="connsiteX928" fmla="*/ 3451863 w 4009365"/>
                <a:gd name="connsiteY928" fmla="*/ 602619 h 871769"/>
                <a:gd name="connsiteX929" fmla="*/ 3458832 w 4009365"/>
                <a:gd name="connsiteY929" fmla="*/ 602619 h 871769"/>
                <a:gd name="connsiteX930" fmla="*/ 3458832 w 4009365"/>
                <a:gd name="connsiteY930" fmla="*/ 580469 h 871769"/>
                <a:gd name="connsiteX931" fmla="*/ 3455347 w 4009365"/>
                <a:gd name="connsiteY931" fmla="*/ 580469 h 871769"/>
                <a:gd name="connsiteX932" fmla="*/ 3455347 w 4009365"/>
                <a:gd name="connsiteY932" fmla="*/ 577234 h 871769"/>
                <a:gd name="connsiteX933" fmla="*/ 3458832 w 4009365"/>
                <a:gd name="connsiteY933" fmla="*/ 577234 h 871769"/>
                <a:gd name="connsiteX934" fmla="*/ 3458832 w 4009365"/>
                <a:gd name="connsiteY934" fmla="*/ 485812 h 871769"/>
                <a:gd name="connsiteX935" fmla="*/ 3454103 w 4009365"/>
                <a:gd name="connsiteY935" fmla="*/ 477184 h 871769"/>
                <a:gd name="connsiteX936" fmla="*/ 3458832 w 4009365"/>
                <a:gd name="connsiteY936" fmla="*/ 477184 h 871769"/>
                <a:gd name="connsiteX937" fmla="*/ 3458832 w 4009365"/>
                <a:gd name="connsiteY937" fmla="*/ 455283 h 871769"/>
                <a:gd name="connsiteX938" fmla="*/ 3460187 w 4009365"/>
                <a:gd name="connsiteY938" fmla="*/ 455283 h 871769"/>
                <a:gd name="connsiteX939" fmla="*/ 3460187 w 4009365"/>
                <a:gd name="connsiteY939" fmla="*/ 450056 h 871769"/>
                <a:gd name="connsiteX940" fmla="*/ 3461321 w 4009365"/>
                <a:gd name="connsiteY940" fmla="*/ 450056 h 871769"/>
                <a:gd name="connsiteX941" fmla="*/ 3461321 w 4009365"/>
                <a:gd name="connsiteY941" fmla="*/ 445189 h 871769"/>
                <a:gd name="connsiteX942" fmla="*/ 3462067 w 4009365"/>
                <a:gd name="connsiteY942" fmla="*/ 445189 h 871769"/>
                <a:gd name="connsiteX943" fmla="*/ 3462067 w 4009365"/>
                <a:gd name="connsiteY943" fmla="*/ 439714 h 871769"/>
                <a:gd name="connsiteX944" fmla="*/ 3463173 w 4009365"/>
                <a:gd name="connsiteY944" fmla="*/ 439714 h 871769"/>
                <a:gd name="connsiteX945" fmla="*/ 3463173 w 4009365"/>
                <a:gd name="connsiteY945" fmla="*/ 434736 h 871769"/>
                <a:gd name="connsiteX946" fmla="*/ 3464418 w 4009365"/>
                <a:gd name="connsiteY946" fmla="*/ 434736 h 871769"/>
                <a:gd name="connsiteX947" fmla="*/ 3466492 w 4009365"/>
                <a:gd name="connsiteY947" fmla="*/ 422928 h 871769"/>
                <a:gd name="connsiteX948" fmla="*/ 3468676 w 4009365"/>
                <a:gd name="connsiteY948" fmla="*/ 434736 h 871769"/>
                <a:gd name="connsiteX949" fmla="*/ 3469783 w 4009365"/>
                <a:gd name="connsiteY949" fmla="*/ 434736 h 871769"/>
                <a:gd name="connsiteX950" fmla="*/ 3469783 w 4009365"/>
                <a:gd name="connsiteY950" fmla="*/ 439714 h 871769"/>
                <a:gd name="connsiteX951" fmla="*/ 3470888 w 4009365"/>
                <a:gd name="connsiteY951" fmla="*/ 439714 h 871769"/>
                <a:gd name="connsiteX952" fmla="*/ 3470888 w 4009365"/>
                <a:gd name="connsiteY952" fmla="*/ 445189 h 871769"/>
                <a:gd name="connsiteX953" fmla="*/ 3471884 w 4009365"/>
                <a:gd name="connsiteY953" fmla="*/ 445189 h 871769"/>
                <a:gd name="connsiteX954" fmla="*/ 3471884 w 4009365"/>
                <a:gd name="connsiteY954" fmla="*/ 450056 h 871769"/>
                <a:gd name="connsiteX955" fmla="*/ 3473018 w 4009365"/>
                <a:gd name="connsiteY955" fmla="*/ 450056 h 871769"/>
                <a:gd name="connsiteX956" fmla="*/ 3473018 w 4009365"/>
                <a:gd name="connsiteY956" fmla="*/ 455283 h 871769"/>
                <a:gd name="connsiteX957" fmla="*/ 3475258 w 4009365"/>
                <a:gd name="connsiteY957" fmla="*/ 455283 h 871769"/>
                <a:gd name="connsiteX958" fmla="*/ 3475258 w 4009365"/>
                <a:gd name="connsiteY958" fmla="*/ 458905 h 871769"/>
                <a:gd name="connsiteX959" fmla="*/ 3477996 w 4009365"/>
                <a:gd name="connsiteY959" fmla="*/ 458905 h 871769"/>
                <a:gd name="connsiteX960" fmla="*/ 3477996 w 4009365"/>
                <a:gd name="connsiteY960" fmla="*/ 465127 h 871769"/>
                <a:gd name="connsiteX961" fmla="*/ 3482835 w 4009365"/>
                <a:gd name="connsiteY961" fmla="*/ 465127 h 871769"/>
                <a:gd name="connsiteX962" fmla="*/ 3482835 w 4009365"/>
                <a:gd name="connsiteY962" fmla="*/ 455310 h 871769"/>
                <a:gd name="connsiteX963" fmla="*/ 3490550 w 4009365"/>
                <a:gd name="connsiteY963" fmla="*/ 455310 h 871769"/>
                <a:gd name="connsiteX964" fmla="*/ 3490550 w 4009365"/>
                <a:gd name="connsiteY964" fmla="*/ 448840 h 871769"/>
                <a:gd name="connsiteX965" fmla="*/ 3494726 w 4009365"/>
                <a:gd name="connsiteY965" fmla="*/ 448840 h 871769"/>
                <a:gd name="connsiteX966" fmla="*/ 3494726 w 4009365"/>
                <a:gd name="connsiteY966" fmla="*/ 455310 h 871769"/>
                <a:gd name="connsiteX967" fmla="*/ 3502137 w 4009365"/>
                <a:gd name="connsiteY967" fmla="*/ 455310 h 871769"/>
                <a:gd name="connsiteX968" fmla="*/ 3502137 w 4009365"/>
                <a:gd name="connsiteY968" fmla="*/ 465127 h 871769"/>
                <a:gd name="connsiteX969" fmla="*/ 3506976 w 4009365"/>
                <a:gd name="connsiteY969" fmla="*/ 465127 h 871769"/>
                <a:gd name="connsiteX970" fmla="*/ 3506976 w 4009365"/>
                <a:gd name="connsiteY970" fmla="*/ 458905 h 871769"/>
                <a:gd name="connsiteX971" fmla="*/ 3509852 w 4009365"/>
                <a:gd name="connsiteY971" fmla="*/ 458905 h 871769"/>
                <a:gd name="connsiteX972" fmla="*/ 3509852 w 4009365"/>
                <a:gd name="connsiteY972" fmla="*/ 455283 h 871769"/>
                <a:gd name="connsiteX973" fmla="*/ 3510958 w 4009365"/>
                <a:gd name="connsiteY973" fmla="*/ 455283 h 871769"/>
                <a:gd name="connsiteX974" fmla="*/ 3510958 w 4009365"/>
                <a:gd name="connsiteY974" fmla="*/ 450056 h 871769"/>
                <a:gd name="connsiteX975" fmla="*/ 3512064 w 4009365"/>
                <a:gd name="connsiteY975" fmla="*/ 450056 h 871769"/>
                <a:gd name="connsiteX976" fmla="*/ 3512064 w 4009365"/>
                <a:gd name="connsiteY976" fmla="*/ 445189 h 871769"/>
                <a:gd name="connsiteX977" fmla="*/ 3512811 w 4009365"/>
                <a:gd name="connsiteY977" fmla="*/ 445189 h 871769"/>
                <a:gd name="connsiteX978" fmla="*/ 3512811 w 4009365"/>
                <a:gd name="connsiteY978" fmla="*/ 439714 h 871769"/>
                <a:gd name="connsiteX979" fmla="*/ 3513917 w 4009365"/>
                <a:gd name="connsiteY979" fmla="*/ 439714 h 871769"/>
                <a:gd name="connsiteX980" fmla="*/ 3513917 w 4009365"/>
                <a:gd name="connsiteY980" fmla="*/ 434736 h 871769"/>
                <a:gd name="connsiteX981" fmla="*/ 3515134 w 4009365"/>
                <a:gd name="connsiteY981" fmla="*/ 434736 h 871769"/>
                <a:gd name="connsiteX982" fmla="*/ 3517208 w 4009365"/>
                <a:gd name="connsiteY982" fmla="*/ 422928 h 871769"/>
                <a:gd name="connsiteX983" fmla="*/ 3519392 w 4009365"/>
                <a:gd name="connsiteY983" fmla="*/ 434736 h 871769"/>
                <a:gd name="connsiteX984" fmla="*/ 3520499 w 4009365"/>
                <a:gd name="connsiteY984" fmla="*/ 434736 h 871769"/>
                <a:gd name="connsiteX985" fmla="*/ 3520499 w 4009365"/>
                <a:gd name="connsiteY985" fmla="*/ 439714 h 871769"/>
                <a:gd name="connsiteX986" fmla="*/ 3521632 w 4009365"/>
                <a:gd name="connsiteY986" fmla="*/ 439714 h 871769"/>
                <a:gd name="connsiteX987" fmla="*/ 3521632 w 4009365"/>
                <a:gd name="connsiteY987" fmla="*/ 445189 h 871769"/>
                <a:gd name="connsiteX988" fmla="*/ 3522628 w 4009365"/>
                <a:gd name="connsiteY988" fmla="*/ 445189 h 871769"/>
                <a:gd name="connsiteX989" fmla="*/ 3522628 w 4009365"/>
                <a:gd name="connsiteY989" fmla="*/ 450056 h 871769"/>
                <a:gd name="connsiteX990" fmla="*/ 3523761 w 4009365"/>
                <a:gd name="connsiteY990" fmla="*/ 450056 h 871769"/>
                <a:gd name="connsiteX991" fmla="*/ 3523761 w 4009365"/>
                <a:gd name="connsiteY991" fmla="*/ 455283 h 871769"/>
                <a:gd name="connsiteX992" fmla="*/ 3525504 w 4009365"/>
                <a:gd name="connsiteY992" fmla="*/ 455283 h 871769"/>
                <a:gd name="connsiteX993" fmla="*/ 3525504 w 4009365"/>
                <a:gd name="connsiteY993" fmla="*/ 477184 h 871769"/>
                <a:gd name="connsiteX994" fmla="*/ 3529486 w 4009365"/>
                <a:gd name="connsiteY994" fmla="*/ 477184 h 871769"/>
                <a:gd name="connsiteX995" fmla="*/ 3525504 w 4009365"/>
                <a:gd name="connsiteY995" fmla="*/ 485757 h 871769"/>
                <a:gd name="connsiteX996" fmla="*/ 3525504 w 4009365"/>
                <a:gd name="connsiteY996" fmla="*/ 577206 h 871769"/>
                <a:gd name="connsiteX997" fmla="*/ 3527744 w 4009365"/>
                <a:gd name="connsiteY997" fmla="*/ 577206 h 871769"/>
                <a:gd name="connsiteX998" fmla="*/ 3527744 w 4009365"/>
                <a:gd name="connsiteY998" fmla="*/ 580441 h 871769"/>
                <a:gd name="connsiteX999" fmla="*/ 3525504 w 4009365"/>
                <a:gd name="connsiteY999" fmla="*/ 580441 h 871769"/>
                <a:gd name="connsiteX1000" fmla="*/ 3525504 w 4009365"/>
                <a:gd name="connsiteY1000" fmla="*/ 602592 h 871769"/>
                <a:gd name="connsiteX1001" fmla="*/ 3535072 w 4009365"/>
                <a:gd name="connsiteY1001" fmla="*/ 602592 h 871769"/>
                <a:gd name="connsiteX1002" fmla="*/ 3585263 w 4009365"/>
                <a:gd name="connsiteY1002" fmla="*/ 566753 h 871769"/>
                <a:gd name="connsiteX1003" fmla="*/ 3614630 w 4009365"/>
                <a:gd name="connsiteY1003" fmla="*/ 586110 h 871769"/>
                <a:gd name="connsiteX1004" fmla="*/ 3614630 w 4009365"/>
                <a:gd name="connsiteY1004" fmla="*/ 570707 h 871769"/>
                <a:gd name="connsiteX1005" fmla="*/ 3624585 w 4009365"/>
                <a:gd name="connsiteY1005" fmla="*/ 570707 h 871769"/>
                <a:gd name="connsiteX1006" fmla="*/ 3624585 w 4009365"/>
                <a:gd name="connsiteY1006" fmla="*/ 592664 h 871769"/>
                <a:gd name="connsiteX1007" fmla="*/ 3632052 w 4009365"/>
                <a:gd name="connsiteY1007" fmla="*/ 597586 h 871769"/>
                <a:gd name="connsiteX1008" fmla="*/ 3639573 w 4009365"/>
                <a:gd name="connsiteY1008" fmla="*/ 839497 h 871769"/>
                <a:gd name="connsiteX1009" fmla="*/ 3645989 w 4009365"/>
                <a:gd name="connsiteY1009" fmla="*/ 597586 h 871769"/>
                <a:gd name="connsiteX1010" fmla="*/ 3645989 w 4009365"/>
                <a:gd name="connsiteY1010" fmla="*/ 590092 h 871769"/>
                <a:gd name="connsiteX1011" fmla="*/ 3639739 w 4009365"/>
                <a:gd name="connsiteY1011" fmla="*/ 585972 h 871769"/>
                <a:gd name="connsiteX1012" fmla="*/ 3638522 w 4009365"/>
                <a:gd name="connsiteY1012" fmla="*/ 585170 h 871769"/>
                <a:gd name="connsiteX1013" fmla="*/ 3638522 w 4009365"/>
                <a:gd name="connsiteY1013" fmla="*/ 556798 h 871769"/>
                <a:gd name="connsiteX1014" fmla="*/ 3600721 w 4009365"/>
                <a:gd name="connsiteY1014" fmla="*/ 556798 h 871769"/>
                <a:gd name="connsiteX1015" fmla="*/ 3600721 w 4009365"/>
                <a:gd name="connsiteY1015" fmla="*/ 560255 h 871769"/>
                <a:gd name="connsiteX1016" fmla="*/ 3592950 w 4009365"/>
                <a:gd name="connsiteY1016" fmla="*/ 555111 h 871769"/>
                <a:gd name="connsiteX1017" fmla="*/ 3584986 w 4009365"/>
                <a:gd name="connsiteY1017" fmla="*/ 549857 h 871769"/>
                <a:gd name="connsiteX1018" fmla="*/ 3577215 w 4009365"/>
                <a:gd name="connsiteY1018" fmla="*/ 555415 h 871769"/>
                <a:gd name="connsiteX1019" fmla="*/ 3541736 w 4009365"/>
                <a:gd name="connsiteY1019" fmla="*/ 580746 h 871769"/>
                <a:gd name="connsiteX1020" fmla="*/ 3541736 w 4009365"/>
                <a:gd name="connsiteY1020" fmla="*/ 563269 h 871769"/>
                <a:gd name="connsiteX1021" fmla="*/ 3539496 w 4009365"/>
                <a:gd name="connsiteY1021" fmla="*/ 563269 h 871769"/>
                <a:gd name="connsiteX1022" fmla="*/ 3539496 w 4009365"/>
                <a:gd name="connsiteY1022" fmla="*/ 505501 h 871769"/>
                <a:gd name="connsiteX1023" fmla="*/ 3543396 w 4009365"/>
                <a:gd name="connsiteY1023" fmla="*/ 505501 h 871769"/>
                <a:gd name="connsiteX1024" fmla="*/ 3952968 w 4009365"/>
                <a:gd name="connsiteY1024" fmla="*/ 605772 h 871769"/>
                <a:gd name="connsiteX1025" fmla="*/ 3955263 w 4009365"/>
                <a:gd name="connsiteY1025" fmla="*/ 600518 h 871769"/>
                <a:gd name="connsiteX1026" fmla="*/ 3990310 w 4009365"/>
                <a:gd name="connsiteY1026" fmla="*/ 614497 h 871769"/>
                <a:gd name="connsiteX1027" fmla="*/ 3997717 w 4009365"/>
                <a:gd name="connsiteY1027" fmla="*/ 663027 h 871769"/>
                <a:gd name="connsiteX1028" fmla="*/ 3997241 w 4009365"/>
                <a:gd name="connsiteY1028" fmla="*/ 664480 h 871769"/>
                <a:gd name="connsiteX1029" fmla="*/ 3993342 w 4009365"/>
                <a:gd name="connsiteY1029" fmla="*/ 671061 h 871769"/>
                <a:gd name="connsiteX1030" fmla="*/ 3965218 w 4009365"/>
                <a:gd name="connsiteY1030" fmla="*/ 684501 h 871769"/>
                <a:gd name="connsiteX1031" fmla="*/ 3983912 w 4009365"/>
                <a:gd name="connsiteY1031" fmla="*/ 750288 h 871769"/>
                <a:gd name="connsiteX1032" fmla="*/ 3983912 w 4009365"/>
                <a:gd name="connsiteY1032" fmla="*/ 750260 h 871769"/>
                <a:gd name="connsiteX1033" fmla="*/ 4003292 w 4009365"/>
                <a:gd name="connsiteY1033" fmla="*/ 750260 h 871769"/>
                <a:gd name="connsiteX1034" fmla="*/ 4009365 w 4009365"/>
                <a:gd name="connsiteY1034" fmla="*/ 870516 h 871769"/>
                <a:gd name="connsiteX1035" fmla="*/ 902730 w 4009365"/>
                <a:gd name="connsiteY1035" fmla="*/ 871769 h 871769"/>
                <a:gd name="connsiteX1036" fmla="*/ 1005130 w 4009365"/>
                <a:gd name="connsiteY1036" fmla="*/ 757312 h 871769"/>
                <a:gd name="connsiteX1037" fmla="*/ 868385 w 4009365"/>
                <a:gd name="connsiteY1037" fmla="*/ 757312 h 871769"/>
                <a:gd name="connsiteX1038" fmla="*/ 845018 w 4009365"/>
                <a:gd name="connsiteY1038" fmla="*/ 757312 h 871769"/>
                <a:gd name="connsiteX1039" fmla="*/ 845018 w 4009365"/>
                <a:gd name="connsiteY1039" fmla="*/ 764336 h 871769"/>
                <a:gd name="connsiteX1040" fmla="*/ 847479 w 4009365"/>
                <a:gd name="connsiteY1040" fmla="*/ 764336 h 871769"/>
                <a:gd name="connsiteX1041" fmla="*/ 847479 w 4009365"/>
                <a:gd name="connsiteY1041" fmla="*/ 768484 h 871769"/>
                <a:gd name="connsiteX1042" fmla="*/ 846843 w 4009365"/>
                <a:gd name="connsiteY1042" fmla="*/ 768484 h 871769"/>
                <a:gd name="connsiteX1043" fmla="*/ 851323 w 4009365"/>
                <a:gd name="connsiteY1043" fmla="*/ 853130 h 871769"/>
                <a:gd name="connsiteX1044" fmla="*/ 863518 w 4009365"/>
                <a:gd name="connsiteY1044" fmla="*/ 853130 h 871769"/>
                <a:gd name="connsiteX1045" fmla="*/ 863518 w 4009365"/>
                <a:gd name="connsiteY1045" fmla="*/ 871769 h 871769"/>
                <a:gd name="connsiteX1046" fmla="*/ 816950 w 4009365"/>
                <a:gd name="connsiteY1046" fmla="*/ 871769 h 871769"/>
                <a:gd name="connsiteX1047" fmla="*/ 816950 w 4009365"/>
                <a:gd name="connsiteY1047" fmla="*/ 853130 h 871769"/>
                <a:gd name="connsiteX1048" fmla="*/ 829421 w 4009365"/>
                <a:gd name="connsiteY1048" fmla="*/ 853130 h 871769"/>
                <a:gd name="connsiteX1049" fmla="*/ 832685 w 4009365"/>
                <a:gd name="connsiteY1049" fmla="*/ 768484 h 871769"/>
                <a:gd name="connsiteX1050" fmla="*/ 831634 w 4009365"/>
                <a:gd name="connsiteY1050" fmla="*/ 768484 h 871769"/>
                <a:gd name="connsiteX1051" fmla="*/ 831634 w 4009365"/>
                <a:gd name="connsiteY1051" fmla="*/ 764336 h 871769"/>
                <a:gd name="connsiteX1052" fmla="*/ 833901 w 4009365"/>
                <a:gd name="connsiteY1052" fmla="*/ 764336 h 871769"/>
                <a:gd name="connsiteX1053" fmla="*/ 833901 w 4009365"/>
                <a:gd name="connsiteY1053" fmla="*/ 757312 h 871769"/>
                <a:gd name="connsiteX1054" fmla="*/ 811475 w 4009365"/>
                <a:gd name="connsiteY1054" fmla="*/ 757312 h 871769"/>
                <a:gd name="connsiteX1055" fmla="*/ 810341 w 4009365"/>
                <a:gd name="connsiteY1055" fmla="*/ 757312 h 871769"/>
                <a:gd name="connsiteX1056" fmla="*/ 100537 w 4009365"/>
                <a:gd name="connsiteY1056" fmla="*/ 757312 h 871769"/>
                <a:gd name="connsiteX1057" fmla="*/ 76976 w 4009365"/>
                <a:gd name="connsiteY1057" fmla="*/ 757312 h 871769"/>
                <a:gd name="connsiteX1058" fmla="*/ 76976 w 4009365"/>
                <a:gd name="connsiteY1058" fmla="*/ 764336 h 871769"/>
                <a:gd name="connsiteX1059" fmla="*/ 79244 w 4009365"/>
                <a:gd name="connsiteY1059" fmla="*/ 764336 h 871769"/>
                <a:gd name="connsiteX1060" fmla="*/ 79244 w 4009365"/>
                <a:gd name="connsiteY1060" fmla="*/ 768484 h 871769"/>
                <a:gd name="connsiteX1061" fmla="*/ 78193 w 4009365"/>
                <a:gd name="connsiteY1061" fmla="*/ 768484 h 871769"/>
                <a:gd name="connsiteX1062" fmla="*/ 81484 w 4009365"/>
                <a:gd name="connsiteY1062" fmla="*/ 853130 h 871769"/>
                <a:gd name="connsiteX1063" fmla="*/ 93955 w 4009365"/>
                <a:gd name="connsiteY1063" fmla="*/ 853130 h 871769"/>
                <a:gd name="connsiteX1064" fmla="*/ 93955 w 4009365"/>
                <a:gd name="connsiteY1064" fmla="*/ 871769 h 871769"/>
                <a:gd name="connsiteX1065" fmla="*/ 47387 w 4009365"/>
                <a:gd name="connsiteY1065" fmla="*/ 871769 h 871769"/>
                <a:gd name="connsiteX1066" fmla="*/ 47387 w 4009365"/>
                <a:gd name="connsiteY1066" fmla="*/ 853130 h 871769"/>
                <a:gd name="connsiteX1067" fmla="*/ 59582 w 4009365"/>
                <a:gd name="connsiteY1067" fmla="*/ 853130 h 871769"/>
                <a:gd name="connsiteX1068" fmla="*/ 64062 w 4009365"/>
                <a:gd name="connsiteY1068" fmla="*/ 768484 h 871769"/>
                <a:gd name="connsiteX1069" fmla="*/ 63426 w 4009365"/>
                <a:gd name="connsiteY1069" fmla="*/ 768484 h 871769"/>
                <a:gd name="connsiteX1070" fmla="*/ 63426 w 4009365"/>
                <a:gd name="connsiteY1070" fmla="*/ 764336 h 871769"/>
                <a:gd name="connsiteX1071" fmla="*/ 65860 w 4009365"/>
                <a:gd name="connsiteY1071" fmla="*/ 764336 h 871769"/>
                <a:gd name="connsiteX1072" fmla="*/ 65860 w 4009365"/>
                <a:gd name="connsiteY1072" fmla="*/ 757312 h 871769"/>
                <a:gd name="connsiteX1073" fmla="*/ 43654 w 4009365"/>
                <a:gd name="connsiteY1073" fmla="*/ 757312 h 871769"/>
                <a:gd name="connsiteX1074" fmla="*/ 42520 w 4009365"/>
                <a:gd name="connsiteY1074" fmla="*/ 757312 h 871769"/>
                <a:gd name="connsiteX1075" fmla="*/ 0 w 4009365"/>
                <a:gd name="connsiteY1075" fmla="*/ 757312 h 871769"/>
                <a:gd name="connsiteX1076" fmla="*/ 466 w 4009365"/>
                <a:gd name="connsiteY1076" fmla="*/ 748076 h 871769"/>
                <a:gd name="connsiteX1077" fmla="*/ 9696 w 4009365"/>
                <a:gd name="connsiteY1077" fmla="*/ 748076 h 871769"/>
                <a:gd name="connsiteX1078" fmla="*/ 8645 w 4009365"/>
                <a:gd name="connsiteY1078" fmla="*/ 679136 h 871769"/>
                <a:gd name="connsiteX1079" fmla="*/ 3605 w 4009365"/>
                <a:gd name="connsiteY1079" fmla="*/ 685927 h 871769"/>
                <a:gd name="connsiteX1080" fmla="*/ 4032 w 4009365"/>
                <a:gd name="connsiteY1080" fmla="*/ 677460 h 871769"/>
                <a:gd name="connsiteX1081" fmla="*/ 6156 w 4009365"/>
                <a:gd name="connsiteY1081" fmla="*/ 674601 h 871769"/>
                <a:gd name="connsiteX1082" fmla="*/ 4153 w 4009365"/>
                <a:gd name="connsiteY1082" fmla="*/ 675071 h 871769"/>
                <a:gd name="connsiteX1083" fmla="*/ 4182 w 4009365"/>
                <a:gd name="connsiteY1083" fmla="*/ 674487 h 871769"/>
                <a:gd name="connsiteX1084" fmla="*/ 4963 w 4009365"/>
                <a:gd name="connsiteY1084" fmla="*/ 669372 h 871769"/>
                <a:gd name="connsiteX1085" fmla="*/ 8102 w 4009365"/>
                <a:gd name="connsiteY1085" fmla="*/ 668683 h 871769"/>
                <a:gd name="connsiteX1086" fmla="*/ 71390 w 4009365"/>
                <a:gd name="connsiteY1086" fmla="*/ 641472 h 871769"/>
                <a:gd name="connsiteX1087" fmla="*/ 423997 w 4009365"/>
                <a:gd name="connsiteY1087" fmla="*/ 695507 h 871769"/>
                <a:gd name="connsiteX1088" fmla="*/ 453171 w 4009365"/>
                <a:gd name="connsiteY1088" fmla="*/ 695341 h 871769"/>
                <a:gd name="connsiteX1089" fmla="*/ 453171 w 4009365"/>
                <a:gd name="connsiteY1089" fmla="*/ 695285 h 871769"/>
                <a:gd name="connsiteX1090" fmla="*/ 455411 w 4009365"/>
                <a:gd name="connsiteY1090" fmla="*/ 695285 h 871769"/>
                <a:gd name="connsiteX1091" fmla="*/ 457651 w 4009365"/>
                <a:gd name="connsiteY1091" fmla="*/ 695285 h 871769"/>
                <a:gd name="connsiteX1092" fmla="*/ 457651 w 4009365"/>
                <a:gd name="connsiteY1092" fmla="*/ 695341 h 871769"/>
                <a:gd name="connsiteX1093" fmla="*/ 486825 w 4009365"/>
                <a:gd name="connsiteY1093" fmla="*/ 695507 h 871769"/>
                <a:gd name="connsiteX1094" fmla="*/ 839432 w 4009365"/>
                <a:gd name="connsiteY1094" fmla="*/ 641472 h 871769"/>
                <a:gd name="connsiteX1095" fmla="*/ 1194583 w 4009365"/>
                <a:gd name="connsiteY1095" fmla="*/ 695894 h 871769"/>
                <a:gd name="connsiteX1096" fmla="*/ 1221738 w 4009365"/>
                <a:gd name="connsiteY1096" fmla="*/ 750315 h 871769"/>
                <a:gd name="connsiteX1097" fmla="*/ 1241345 w 4009365"/>
                <a:gd name="connsiteY1097" fmla="*/ 788919 h 871769"/>
                <a:gd name="connsiteX1098" fmla="*/ 1241538 w 4009365"/>
                <a:gd name="connsiteY1098" fmla="*/ 450803 h 871769"/>
                <a:gd name="connsiteX1099" fmla="*/ 1236643 w 4009365"/>
                <a:gd name="connsiteY1099" fmla="*/ 445162 h 871769"/>
                <a:gd name="connsiteX1100" fmla="*/ 1239077 w 4009365"/>
                <a:gd name="connsiteY1100" fmla="*/ 443862 h 871769"/>
                <a:gd name="connsiteX1101" fmla="*/ 1239409 w 4009365"/>
                <a:gd name="connsiteY1101" fmla="*/ 433105 h 871769"/>
                <a:gd name="connsiteX1102" fmla="*/ 1237611 w 4009365"/>
                <a:gd name="connsiteY1102" fmla="*/ 430976 h 871769"/>
                <a:gd name="connsiteX1103" fmla="*/ 1241510 w 4009365"/>
                <a:gd name="connsiteY1103" fmla="*/ 426413 h 871769"/>
                <a:gd name="connsiteX1104" fmla="*/ 1246405 w 4009365"/>
                <a:gd name="connsiteY1104" fmla="*/ 426413 h 871769"/>
                <a:gd name="connsiteX1105" fmla="*/ 1246405 w 4009365"/>
                <a:gd name="connsiteY1105" fmla="*/ 434239 h 871769"/>
                <a:gd name="connsiteX1106" fmla="*/ 1253595 w 4009365"/>
                <a:gd name="connsiteY1106" fmla="*/ 434239 h 871769"/>
                <a:gd name="connsiteX1107" fmla="*/ 1253595 w 4009365"/>
                <a:gd name="connsiteY1107" fmla="*/ 426413 h 871769"/>
                <a:gd name="connsiteX1108" fmla="*/ 1261753 w 4009365"/>
                <a:gd name="connsiteY1108" fmla="*/ 426413 h 871769"/>
                <a:gd name="connsiteX1109" fmla="*/ 1261753 w 4009365"/>
                <a:gd name="connsiteY1109" fmla="*/ 434239 h 871769"/>
                <a:gd name="connsiteX1110" fmla="*/ 1269412 w 4009365"/>
                <a:gd name="connsiteY1110" fmla="*/ 434239 h 871769"/>
                <a:gd name="connsiteX1111" fmla="*/ 1269412 w 4009365"/>
                <a:gd name="connsiteY1111" fmla="*/ 426413 h 871769"/>
                <a:gd name="connsiteX1112" fmla="*/ 1277570 w 4009365"/>
                <a:gd name="connsiteY1112" fmla="*/ 426413 h 871769"/>
                <a:gd name="connsiteX1113" fmla="*/ 1277570 w 4009365"/>
                <a:gd name="connsiteY1113" fmla="*/ 434239 h 871769"/>
                <a:gd name="connsiteX1114" fmla="*/ 1284262 w 4009365"/>
                <a:gd name="connsiteY1114" fmla="*/ 434239 h 871769"/>
                <a:gd name="connsiteX1115" fmla="*/ 1284262 w 4009365"/>
                <a:gd name="connsiteY1115" fmla="*/ 426413 h 871769"/>
                <a:gd name="connsiteX1116" fmla="*/ 1293084 w 4009365"/>
                <a:gd name="connsiteY1116" fmla="*/ 426413 h 871769"/>
                <a:gd name="connsiteX1117" fmla="*/ 1293084 w 4009365"/>
                <a:gd name="connsiteY1117" fmla="*/ 434239 h 871769"/>
                <a:gd name="connsiteX1118" fmla="*/ 1299444 w 4009365"/>
                <a:gd name="connsiteY1118" fmla="*/ 434239 h 871769"/>
                <a:gd name="connsiteX1119" fmla="*/ 1299444 w 4009365"/>
                <a:gd name="connsiteY1119" fmla="*/ 426413 h 871769"/>
                <a:gd name="connsiteX1120" fmla="*/ 1307768 w 4009365"/>
                <a:gd name="connsiteY1120" fmla="*/ 426413 h 871769"/>
                <a:gd name="connsiteX1121" fmla="*/ 1307768 w 4009365"/>
                <a:gd name="connsiteY1121" fmla="*/ 434239 h 871769"/>
                <a:gd name="connsiteX1122" fmla="*/ 1313464 w 4009365"/>
                <a:gd name="connsiteY1122" fmla="*/ 434239 h 871769"/>
                <a:gd name="connsiteX1123" fmla="*/ 1313464 w 4009365"/>
                <a:gd name="connsiteY1123" fmla="*/ 426413 h 871769"/>
                <a:gd name="connsiteX1124" fmla="*/ 1321954 w 4009365"/>
                <a:gd name="connsiteY1124" fmla="*/ 426413 h 871769"/>
                <a:gd name="connsiteX1125" fmla="*/ 1321954 w 4009365"/>
                <a:gd name="connsiteY1125" fmla="*/ 434239 h 871769"/>
                <a:gd name="connsiteX1126" fmla="*/ 1328314 w 4009365"/>
                <a:gd name="connsiteY1126" fmla="*/ 434239 h 871769"/>
                <a:gd name="connsiteX1127" fmla="*/ 1334315 w 4009365"/>
                <a:gd name="connsiteY1127" fmla="*/ 666250 h 871769"/>
                <a:gd name="connsiteX1128" fmla="*/ 1336416 w 4009365"/>
                <a:gd name="connsiteY1128" fmla="*/ 428736 h 871769"/>
                <a:gd name="connsiteX1129" fmla="*/ 1332047 w 4009365"/>
                <a:gd name="connsiteY1129" fmla="*/ 421242 h 871769"/>
                <a:gd name="connsiteX1130" fmla="*/ 1335227 w 4009365"/>
                <a:gd name="connsiteY1130" fmla="*/ 417702 h 871769"/>
                <a:gd name="connsiteX1131" fmla="*/ 1335227 w 4009365"/>
                <a:gd name="connsiteY1131" fmla="*/ 402299 h 871769"/>
                <a:gd name="connsiteX1132" fmla="*/ 1333513 w 4009365"/>
                <a:gd name="connsiteY1132" fmla="*/ 400087 h 871769"/>
                <a:gd name="connsiteX1133" fmla="*/ 1336804 w 4009365"/>
                <a:gd name="connsiteY1133" fmla="*/ 395690 h 871769"/>
                <a:gd name="connsiteX1134" fmla="*/ 1340592 w 4009365"/>
                <a:gd name="connsiteY1134" fmla="*/ 394114 h 871769"/>
                <a:gd name="connsiteX1135" fmla="*/ 1343662 w 4009365"/>
                <a:gd name="connsiteY1135" fmla="*/ 396437 h 871769"/>
                <a:gd name="connsiteX1136" fmla="*/ 1346095 w 4009365"/>
                <a:gd name="connsiteY1136" fmla="*/ 392648 h 871769"/>
                <a:gd name="connsiteX1137" fmla="*/ 1351847 w 4009365"/>
                <a:gd name="connsiteY1137" fmla="*/ 391182 h 871769"/>
                <a:gd name="connsiteX1138" fmla="*/ 1354889 w 4009365"/>
                <a:gd name="connsiteY1138" fmla="*/ 394003 h 871769"/>
                <a:gd name="connsiteX1139" fmla="*/ 1357461 w 4009365"/>
                <a:gd name="connsiteY1139" fmla="*/ 390104 h 871769"/>
                <a:gd name="connsiteX1140" fmla="*/ 1360392 w 4009365"/>
                <a:gd name="connsiteY1140" fmla="*/ 389136 h 871769"/>
                <a:gd name="connsiteX1141" fmla="*/ 1366144 w 4009365"/>
                <a:gd name="connsiteY1141" fmla="*/ 389136 h 871769"/>
                <a:gd name="connsiteX1142" fmla="*/ 1366144 w 4009365"/>
                <a:gd name="connsiteY1142" fmla="*/ 399755 h 871769"/>
                <a:gd name="connsiteX1143" fmla="*/ 1374329 w 4009365"/>
                <a:gd name="connsiteY1143" fmla="*/ 399506 h 871769"/>
                <a:gd name="connsiteX1144" fmla="*/ 1374329 w 4009365"/>
                <a:gd name="connsiteY1144" fmla="*/ 389108 h 871769"/>
                <a:gd name="connsiteX1145" fmla="*/ 1384478 w 4009365"/>
                <a:gd name="connsiteY1145" fmla="*/ 389108 h 871769"/>
                <a:gd name="connsiteX1146" fmla="*/ 1384616 w 4009365"/>
                <a:gd name="connsiteY1146" fmla="*/ 398870 h 871769"/>
                <a:gd name="connsiteX1147" fmla="*/ 1392442 w 4009365"/>
                <a:gd name="connsiteY1147" fmla="*/ 398621 h 871769"/>
                <a:gd name="connsiteX1148" fmla="*/ 1392442 w 4009365"/>
                <a:gd name="connsiteY1148" fmla="*/ 389081 h 871769"/>
                <a:gd name="connsiteX1149" fmla="*/ 1401014 w 4009365"/>
                <a:gd name="connsiteY1149" fmla="*/ 389938 h 871769"/>
                <a:gd name="connsiteX1150" fmla="*/ 1404056 w 4009365"/>
                <a:gd name="connsiteY1150" fmla="*/ 394943 h 871769"/>
                <a:gd name="connsiteX1151" fmla="*/ 1407236 w 4009365"/>
                <a:gd name="connsiteY1151" fmla="*/ 391763 h 871769"/>
                <a:gd name="connsiteX1152" fmla="*/ 1414343 w 4009365"/>
                <a:gd name="connsiteY1152" fmla="*/ 392980 h 871769"/>
                <a:gd name="connsiteX1153" fmla="*/ 1417026 w 4009365"/>
                <a:gd name="connsiteY1153" fmla="*/ 397736 h 871769"/>
                <a:gd name="connsiteX1154" fmla="*/ 1420316 w 4009365"/>
                <a:gd name="connsiteY1154" fmla="*/ 394556 h 871769"/>
                <a:gd name="connsiteX1155" fmla="*/ 1424464 w 4009365"/>
                <a:gd name="connsiteY1155" fmla="*/ 395303 h 871769"/>
                <a:gd name="connsiteX1156" fmla="*/ 1427893 w 4009365"/>
                <a:gd name="connsiteY1156" fmla="*/ 400197 h 871769"/>
                <a:gd name="connsiteX1157" fmla="*/ 1426677 w 4009365"/>
                <a:gd name="connsiteY1157" fmla="*/ 401801 h 871769"/>
                <a:gd name="connsiteX1158" fmla="*/ 1426511 w 4009365"/>
                <a:gd name="connsiteY1158" fmla="*/ 405700 h 871769"/>
                <a:gd name="connsiteX1159" fmla="*/ 1426511 w 4009365"/>
                <a:gd name="connsiteY1159" fmla="*/ 417923 h 871769"/>
                <a:gd name="connsiteX1160" fmla="*/ 1427921 w 4009365"/>
                <a:gd name="connsiteY1160" fmla="*/ 419416 h 871769"/>
                <a:gd name="connsiteX1161" fmla="*/ 1429746 w 4009365"/>
                <a:gd name="connsiteY1161" fmla="*/ 428210 h 871769"/>
                <a:gd name="connsiteX1162" fmla="*/ 1424492 w 4009365"/>
                <a:gd name="connsiteY1162" fmla="*/ 432248 h 871769"/>
                <a:gd name="connsiteX1163" fmla="*/ 1429193 w 4009365"/>
                <a:gd name="connsiteY1163" fmla="*/ 721777 h 871769"/>
                <a:gd name="connsiteX1164" fmla="*/ 1429746 w 4009365"/>
                <a:gd name="connsiteY1164" fmla="*/ 437502 h 871769"/>
                <a:gd name="connsiteX1165" fmla="*/ 1436936 w 4009365"/>
                <a:gd name="connsiteY1165" fmla="*/ 430008 h 871769"/>
                <a:gd name="connsiteX1166" fmla="*/ 1433783 w 4009365"/>
                <a:gd name="connsiteY1166" fmla="*/ 417951 h 871769"/>
                <a:gd name="connsiteX1167" fmla="*/ 1431101 w 4009365"/>
                <a:gd name="connsiteY1167" fmla="*/ 413913 h 871769"/>
                <a:gd name="connsiteX1168" fmla="*/ 1431184 w 4009365"/>
                <a:gd name="connsiteY1168" fmla="*/ 413471 h 871769"/>
                <a:gd name="connsiteX1169" fmla="*/ 1431184 w 4009365"/>
                <a:gd name="connsiteY1169" fmla="*/ 403267 h 871769"/>
                <a:gd name="connsiteX1170" fmla="*/ 1433258 w 4009365"/>
                <a:gd name="connsiteY1170" fmla="*/ 401193 h 871769"/>
                <a:gd name="connsiteX1171" fmla="*/ 1428280 w 4009365"/>
                <a:gd name="connsiteY1171" fmla="*/ 391293 h 871769"/>
                <a:gd name="connsiteX1172" fmla="*/ 1421063 w 4009365"/>
                <a:gd name="connsiteY1172" fmla="*/ 389413 h 871769"/>
                <a:gd name="connsiteX1173" fmla="*/ 1418381 w 4009365"/>
                <a:gd name="connsiteY1173" fmla="*/ 391210 h 871769"/>
                <a:gd name="connsiteX1174" fmla="*/ 1416168 w 4009365"/>
                <a:gd name="connsiteY1174" fmla="*/ 388030 h 871769"/>
                <a:gd name="connsiteX1175" fmla="*/ 1408343 w 4009365"/>
                <a:gd name="connsiteY1175" fmla="*/ 386647 h 871769"/>
                <a:gd name="connsiteX1176" fmla="*/ 1404665 w 4009365"/>
                <a:gd name="connsiteY1176" fmla="*/ 388279 h 871769"/>
                <a:gd name="connsiteX1177" fmla="*/ 1403199 w 4009365"/>
                <a:gd name="connsiteY1177" fmla="*/ 384573 h 871769"/>
                <a:gd name="connsiteX1178" fmla="*/ 1392304 w 4009365"/>
                <a:gd name="connsiteY1178" fmla="*/ 383218 h 871769"/>
                <a:gd name="connsiteX1179" fmla="*/ 1388405 w 4009365"/>
                <a:gd name="connsiteY1179" fmla="*/ 386288 h 871769"/>
                <a:gd name="connsiteX1180" fmla="*/ 1382791 w 4009365"/>
                <a:gd name="connsiteY1180" fmla="*/ 386150 h 871769"/>
                <a:gd name="connsiteX1181" fmla="*/ 1385473 w 4009365"/>
                <a:gd name="connsiteY1181" fmla="*/ 383965 h 871769"/>
                <a:gd name="connsiteX1182" fmla="*/ 1385473 w 4009365"/>
                <a:gd name="connsiteY1182" fmla="*/ 381393 h 871769"/>
                <a:gd name="connsiteX1183" fmla="*/ 1384257 w 4009365"/>
                <a:gd name="connsiteY1183" fmla="*/ 379319 h 871769"/>
                <a:gd name="connsiteX1184" fmla="*/ 1384865 w 4009365"/>
                <a:gd name="connsiteY1184" fmla="*/ 377743 h 871769"/>
                <a:gd name="connsiteX1185" fmla="*/ 1384976 w 4009365"/>
                <a:gd name="connsiteY1185" fmla="*/ 370525 h 871769"/>
                <a:gd name="connsiteX1186" fmla="*/ 1383510 w 4009365"/>
                <a:gd name="connsiteY1186" fmla="*/ 369779 h 871769"/>
                <a:gd name="connsiteX1187" fmla="*/ 1386441 w 4009365"/>
                <a:gd name="connsiteY1187" fmla="*/ 366239 h 871769"/>
                <a:gd name="connsiteX1188" fmla="*/ 1391695 w 4009365"/>
                <a:gd name="connsiteY1188" fmla="*/ 366239 h 871769"/>
                <a:gd name="connsiteX1189" fmla="*/ 1391695 w 4009365"/>
                <a:gd name="connsiteY1189" fmla="*/ 374093 h 871769"/>
                <a:gd name="connsiteX1190" fmla="*/ 1398553 w 4009365"/>
                <a:gd name="connsiteY1190" fmla="*/ 374093 h 871769"/>
                <a:gd name="connsiteX1191" fmla="*/ 1398553 w 4009365"/>
                <a:gd name="connsiteY1191" fmla="*/ 366599 h 871769"/>
                <a:gd name="connsiteX1192" fmla="*/ 1407624 w 4009365"/>
                <a:gd name="connsiteY1192" fmla="*/ 366599 h 871769"/>
                <a:gd name="connsiteX1193" fmla="*/ 1407624 w 4009365"/>
                <a:gd name="connsiteY1193" fmla="*/ 374093 h 871769"/>
                <a:gd name="connsiteX1194" fmla="*/ 1415117 w 4009365"/>
                <a:gd name="connsiteY1194" fmla="*/ 374093 h 871769"/>
                <a:gd name="connsiteX1195" fmla="*/ 1415117 w 4009365"/>
                <a:gd name="connsiteY1195" fmla="*/ 366599 h 871769"/>
                <a:gd name="connsiteX1196" fmla="*/ 1423994 w 4009365"/>
                <a:gd name="connsiteY1196" fmla="*/ 366599 h 871769"/>
                <a:gd name="connsiteX1197" fmla="*/ 1423994 w 4009365"/>
                <a:gd name="connsiteY1197" fmla="*/ 374093 h 871769"/>
                <a:gd name="connsiteX1198" fmla="*/ 1430686 w 4009365"/>
                <a:gd name="connsiteY1198" fmla="*/ 374093 h 871769"/>
                <a:gd name="connsiteX1199" fmla="*/ 1430686 w 4009365"/>
                <a:gd name="connsiteY1199" fmla="*/ 366599 h 871769"/>
                <a:gd name="connsiteX1200" fmla="*/ 1439231 w 4009365"/>
                <a:gd name="connsiteY1200" fmla="*/ 366599 h 871769"/>
                <a:gd name="connsiteX1201" fmla="*/ 1439231 w 4009365"/>
                <a:gd name="connsiteY1201" fmla="*/ 374093 h 871769"/>
                <a:gd name="connsiteX1202" fmla="*/ 1446255 w 4009365"/>
                <a:gd name="connsiteY1202" fmla="*/ 374093 h 871769"/>
                <a:gd name="connsiteX1203" fmla="*/ 1446255 w 4009365"/>
                <a:gd name="connsiteY1203" fmla="*/ 366239 h 871769"/>
                <a:gd name="connsiteX1204" fmla="*/ 1455464 w 4009365"/>
                <a:gd name="connsiteY1204" fmla="*/ 366239 h 871769"/>
                <a:gd name="connsiteX1205" fmla="*/ 1455464 w 4009365"/>
                <a:gd name="connsiteY1205" fmla="*/ 374093 h 871769"/>
                <a:gd name="connsiteX1206" fmla="*/ 1462571 w 4009365"/>
                <a:gd name="connsiteY1206" fmla="*/ 374093 h 871769"/>
                <a:gd name="connsiteX1207" fmla="*/ 1462571 w 4009365"/>
                <a:gd name="connsiteY1207" fmla="*/ 366239 h 871769"/>
                <a:gd name="connsiteX1208" fmla="*/ 1471226 w 4009365"/>
                <a:gd name="connsiteY1208" fmla="*/ 366239 h 871769"/>
                <a:gd name="connsiteX1209" fmla="*/ 1471226 w 4009365"/>
                <a:gd name="connsiteY1209" fmla="*/ 374093 h 871769"/>
                <a:gd name="connsiteX1210" fmla="*/ 1478554 w 4009365"/>
                <a:gd name="connsiteY1210" fmla="*/ 374093 h 871769"/>
                <a:gd name="connsiteX1211" fmla="*/ 1478554 w 4009365"/>
                <a:gd name="connsiteY1211" fmla="*/ 366239 h 871769"/>
                <a:gd name="connsiteX1212" fmla="*/ 1487182 w 4009365"/>
                <a:gd name="connsiteY1212" fmla="*/ 366239 h 871769"/>
                <a:gd name="connsiteX1213" fmla="*/ 1487182 w 4009365"/>
                <a:gd name="connsiteY1213" fmla="*/ 374093 h 871769"/>
                <a:gd name="connsiteX1214" fmla="*/ 1494261 w 4009365"/>
                <a:gd name="connsiteY1214" fmla="*/ 374093 h 871769"/>
                <a:gd name="connsiteX1215" fmla="*/ 1494261 w 4009365"/>
                <a:gd name="connsiteY1215" fmla="*/ 366239 h 871769"/>
                <a:gd name="connsiteX1216" fmla="*/ 1503470 w 4009365"/>
                <a:gd name="connsiteY1216" fmla="*/ 366239 h 871769"/>
                <a:gd name="connsiteX1217" fmla="*/ 1503470 w 4009365"/>
                <a:gd name="connsiteY1217" fmla="*/ 374093 h 871769"/>
                <a:gd name="connsiteX1218" fmla="*/ 1510466 w 4009365"/>
                <a:gd name="connsiteY1218" fmla="*/ 374093 h 871769"/>
                <a:gd name="connsiteX1219" fmla="*/ 1510466 w 4009365"/>
                <a:gd name="connsiteY1219" fmla="*/ 366599 h 871769"/>
                <a:gd name="connsiteX1220" fmla="*/ 1519038 w 4009365"/>
                <a:gd name="connsiteY1220" fmla="*/ 366599 h 871769"/>
                <a:gd name="connsiteX1221" fmla="*/ 1519038 w 4009365"/>
                <a:gd name="connsiteY1221" fmla="*/ 374093 h 871769"/>
                <a:gd name="connsiteX1222" fmla="*/ 1525703 w 4009365"/>
                <a:gd name="connsiteY1222" fmla="*/ 374093 h 871769"/>
                <a:gd name="connsiteX1223" fmla="*/ 1525703 w 4009365"/>
                <a:gd name="connsiteY1223" fmla="*/ 366599 h 871769"/>
                <a:gd name="connsiteX1224" fmla="*/ 1534607 w 4009365"/>
                <a:gd name="connsiteY1224" fmla="*/ 366599 h 871769"/>
                <a:gd name="connsiteX1225" fmla="*/ 1534607 w 4009365"/>
                <a:gd name="connsiteY1225" fmla="*/ 374093 h 871769"/>
                <a:gd name="connsiteX1226" fmla="*/ 1542101 w 4009365"/>
                <a:gd name="connsiteY1226" fmla="*/ 374093 h 871769"/>
                <a:gd name="connsiteX1227" fmla="*/ 1542101 w 4009365"/>
                <a:gd name="connsiteY1227" fmla="*/ 366599 h 871769"/>
                <a:gd name="connsiteX1228" fmla="*/ 1551144 w 4009365"/>
                <a:gd name="connsiteY1228" fmla="*/ 366599 h 871769"/>
                <a:gd name="connsiteX1229" fmla="*/ 1551144 w 4009365"/>
                <a:gd name="connsiteY1229" fmla="*/ 374093 h 871769"/>
                <a:gd name="connsiteX1230" fmla="*/ 1558002 w 4009365"/>
                <a:gd name="connsiteY1230" fmla="*/ 374093 h 871769"/>
                <a:gd name="connsiteX1231" fmla="*/ 1558002 w 4009365"/>
                <a:gd name="connsiteY1231" fmla="*/ 366239 h 871769"/>
                <a:gd name="connsiteX1232" fmla="*/ 1563256 w 4009365"/>
                <a:gd name="connsiteY1232" fmla="*/ 366239 h 871769"/>
                <a:gd name="connsiteX1233" fmla="*/ 1566187 w 4009365"/>
                <a:gd name="connsiteY1233" fmla="*/ 369779 h 871769"/>
                <a:gd name="connsiteX1234" fmla="*/ 1564722 w 4009365"/>
                <a:gd name="connsiteY1234" fmla="*/ 370525 h 871769"/>
                <a:gd name="connsiteX1235" fmla="*/ 1564832 w 4009365"/>
                <a:gd name="connsiteY1235" fmla="*/ 377743 h 871769"/>
                <a:gd name="connsiteX1236" fmla="*/ 1565441 w 4009365"/>
                <a:gd name="connsiteY1236" fmla="*/ 379319 h 871769"/>
                <a:gd name="connsiteX1237" fmla="*/ 1564224 w 4009365"/>
                <a:gd name="connsiteY1237" fmla="*/ 381393 h 871769"/>
                <a:gd name="connsiteX1238" fmla="*/ 1564224 w 4009365"/>
                <a:gd name="connsiteY1238" fmla="*/ 383965 h 871769"/>
                <a:gd name="connsiteX1239" fmla="*/ 1566906 w 4009365"/>
                <a:gd name="connsiteY1239" fmla="*/ 386150 h 871769"/>
                <a:gd name="connsiteX1240" fmla="*/ 1561293 w 4009365"/>
                <a:gd name="connsiteY1240" fmla="*/ 386288 h 871769"/>
                <a:gd name="connsiteX1241" fmla="*/ 1557366 w 4009365"/>
                <a:gd name="connsiteY1241" fmla="*/ 383218 h 871769"/>
                <a:gd name="connsiteX1242" fmla="*/ 1546498 w 4009365"/>
                <a:gd name="connsiteY1242" fmla="*/ 384573 h 871769"/>
                <a:gd name="connsiteX1243" fmla="*/ 1545033 w 4009365"/>
                <a:gd name="connsiteY1243" fmla="*/ 388279 h 871769"/>
                <a:gd name="connsiteX1244" fmla="*/ 1541355 w 4009365"/>
                <a:gd name="connsiteY1244" fmla="*/ 386647 h 871769"/>
                <a:gd name="connsiteX1245" fmla="*/ 1533529 w 4009365"/>
                <a:gd name="connsiteY1245" fmla="*/ 388030 h 871769"/>
                <a:gd name="connsiteX1246" fmla="*/ 1531317 w 4009365"/>
                <a:gd name="connsiteY1246" fmla="*/ 391210 h 871769"/>
                <a:gd name="connsiteX1247" fmla="*/ 1528634 w 4009365"/>
                <a:gd name="connsiteY1247" fmla="*/ 389413 h 871769"/>
                <a:gd name="connsiteX1248" fmla="*/ 1521417 w 4009365"/>
                <a:gd name="connsiteY1248" fmla="*/ 391293 h 871769"/>
                <a:gd name="connsiteX1249" fmla="*/ 1516439 w 4009365"/>
                <a:gd name="connsiteY1249" fmla="*/ 401193 h 871769"/>
                <a:gd name="connsiteX1250" fmla="*/ 1518513 w 4009365"/>
                <a:gd name="connsiteY1250" fmla="*/ 403267 h 871769"/>
                <a:gd name="connsiteX1251" fmla="*/ 1518513 w 4009365"/>
                <a:gd name="connsiteY1251" fmla="*/ 413471 h 871769"/>
                <a:gd name="connsiteX1252" fmla="*/ 1518596 w 4009365"/>
                <a:gd name="connsiteY1252" fmla="*/ 413913 h 871769"/>
                <a:gd name="connsiteX1253" fmla="*/ 1515914 w 4009365"/>
                <a:gd name="connsiteY1253" fmla="*/ 417951 h 871769"/>
                <a:gd name="connsiteX1254" fmla="*/ 1512761 w 4009365"/>
                <a:gd name="connsiteY1254" fmla="*/ 430008 h 871769"/>
                <a:gd name="connsiteX1255" fmla="*/ 1519951 w 4009365"/>
                <a:gd name="connsiteY1255" fmla="*/ 437502 h 871769"/>
                <a:gd name="connsiteX1256" fmla="*/ 1520504 w 4009365"/>
                <a:gd name="connsiteY1256" fmla="*/ 721777 h 871769"/>
                <a:gd name="connsiteX1257" fmla="*/ 1525205 w 4009365"/>
                <a:gd name="connsiteY1257" fmla="*/ 432248 h 871769"/>
                <a:gd name="connsiteX1258" fmla="*/ 1519951 w 4009365"/>
                <a:gd name="connsiteY1258" fmla="*/ 428210 h 871769"/>
                <a:gd name="connsiteX1259" fmla="*/ 1521776 w 4009365"/>
                <a:gd name="connsiteY1259" fmla="*/ 419416 h 871769"/>
                <a:gd name="connsiteX1260" fmla="*/ 1523186 w 4009365"/>
                <a:gd name="connsiteY1260" fmla="*/ 417923 h 871769"/>
                <a:gd name="connsiteX1261" fmla="*/ 1523186 w 4009365"/>
                <a:gd name="connsiteY1261" fmla="*/ 405700 h 871769"/>
                <a:gd name="connsiteX1262" fmla="*/ 1522993 w 4009365"/>
                <a:gd name="connsiteY1262" fmla="*/ 401801 h 871769"/>
                <a:gd name="connsiteX1263" fmla="*/ 1521776 w 4009365"/>
                <a:gd name="connsiteY1263" fmla="*/ 400197 h 871769"/>
                <a:gd name="connsiteX1264" fmla="*/ 1525205 w 4009365"/>
                <a:gd name="connsiteY1264" fmla="*/ 395303 h 871769"/>
                <a:gd name="connsiteX1265" fmla="*/ 1529381 w 4009365"/>
                <a:gd name="connsiteY1265" fmla="*/ 394556 h 871769"/>
                <a:gd name="connsiteX1266" fmla="*/ 1532672 w 4009365"/>
                <a:gd name="connsiteY1266" fmla="*/ 397736 h 871769"/>
                <a:gd name="connsiteX1267" fmla="*/ 1535354 w 4009365"/>
                <a:gd name="connsiteY1267" fmla="*/ 392980 h 871769"/>
                <a:gd name="connsiteX1268" fmla="*/ 1542461 w 4009365"/>
                <a:gd name="connsiteY1268" fmla="*/ 391763 h 871769"/>
                <a:gd name="connsiteX1269" fmla="*/ 1545641 w 4009365"/>
                <a:gd name="connsiteY1269" fmla="*/ 394943 h 871769"/>
                <a:gd name="connsiteX1270" fmla="*/ 1548683 w 4009365"/>
                <a:gd name="connsiteY1270" fmla="*/ 389938 h 871769"/>
                <a:gd name="connsiteX1271" fmla="*/ 1557255 w 4009365"/>
                <a:gd name="connsiteY1271" fmla="*/ 389081 h 871769"/>
                <a:gd name="connsiteX1272" fmla="*/ 1557255 w 4009365"/>
                <a:gd name="connsiteY1272" fmla="*/ 398621 h 871769"/>
                <a:gd name="connsiteX1273" fmla="*/ 1565081 w 4009365"/>
                <a:gd name="connsiteY1273" fmla="*/ 398870 h 871769"/>
                <a:gd name="connsiteX1274" fmla="*/ 1565219 w 4009365"/>
                <a:gd name="connsiteY1274" fmla="*/ 389108 h 871769"/>
                <a:gd name="connsiteX1275" fmla="*/ 1575368 w 4009365"/>
                <a:gd name="connsiteY1275" fmla="*/ 389108 h 871769"/>
                <a:gd name="connsiteX1276" fmla="*/ 1575368 w 4009365"/>
                <a:gd name="connsiteY1276" fmla="*/ 399506 h 871769"/>
                <a:gd name="connsiteX1277" fmla="*/ 1583554 w 4009365"/>
                <a:gd name="connsiteY1277" fmla="*/ 399755 h 871769"/>
                <a:gd name="connsiteX1278" fmla="*/ 1583554 w 4009365"/>
                <a:gd name="connsiteY1278" fmla="*/ 389136 h 871769"/>
                <a:gd name="connsiteX1279" fmla="*/ 1589306 w 4009365"/>
                <a:gd name="connsiteY1279" fmla="*/ 389136 h 871769"/>
                <a:gd name="connsiteX1280" fmla="*/ 1592237 w 4009365"/>
                <a:gd name="connsiteY1280" fmla="*/ 390104 h 871769"/>
                <a:gd name="connsiteX1281" fmla="*/ 1594808 w 4009365"/>
                <a:gd name="connsiteY1281" fmla="*/ 394003 h 871769"/>
                <a:gd name="connsiteX1282" fmla="*/ 1597850 w 4009365"/>
                <a:gd name="connsiteY1282" fmla="*/ 391182 h 871769"/>
                <a:gd name="connsiteX1283" fmla="*/ 1603602 w 4009365"/>
                <a:gd name="connsiteY1283" fmla="*/ 392648 h 871769"/>
                <a:gd name="connsiteX1284" fmla="*/ 1606063 w 4009365"/>
                <a:gd name="connsiteY1284" fmla="*/ 396437 h 871769"/>
                <a:gd name="connsiteX1285" fmla="*/ 1609105 w 4009365"/>
                <a:gd name="connsiteY1285" fmla="*/ 394114 h 871769"/>
                <a:gd name="connsiteX1286" fmla="*/ 1612894 w 4009365"/>
                <a:gd name="connsiteY1286" fmla="*/ 395690 h 871769"/>
                <a:gd name="connsiteX1287" fmla="*/ 1616184 w 4009365"/>
                <a:gd name="connsiteY1287" fmla="*/ 400087 h 871769"/>
                <a:gd name="connsiteX1288" fmla="*/ 1614470 w 4009365"/>
                <a:gd name="connsiteY1288" fmla="*/ 402299 h 871769"/>
                <a:gd name="connsiteX1289" fmla="*/ 1614470 w 4009365"/>
                <a:gd name="connsiteY1289" fmla="*/ 417702 h 871769"/>
                <a:gd name="connsiteX1290" fmla="*/ 1617650 w 4009365"/>
                <a:gd name="connsiteY1290" fmla="*/ 421242 h 871769"/>
                <a:gd name="connsiteX1291" fmla="*/ 1613253 w 4009365"/>
                <a:gd name="connsiteY1291" fmla="*/ 428736 h 871769"/>
                <a:gd name="connsiteX1292" fmla="*/ 1615383 w 4009365"/>
                <a:gd name="connsiteY1292" fmla="*/ 666250 h 871769"/>
                <a:gd name="connsiteX1293" fmla="*/ 1620581 w 4009365"/>
                <a:gd name="connsiteY1293" fmla="*/ 449724 h 871769"/>
                <a:gd name="connsiteX1294" fmla="*/ 1620581 w 4009365"/>
                <a:gd name="connsiteY1294" fmla="*/ 434073 h 871769"/>
                <a:gd name="connsiteX1295" fmla="*/ 1621411 w 4009365"/>
                <a:gd name="connsiteY1295" fmla="*/ 434073 h 871769"/>
                <a:gd name="connsiteX1296" fmla="*/ 1621411 w 4009365"/>
                <a:gd name="connsiteY1296" fmla="*/ 434239 h 871769"/>
                <a:gd name="connsiteX1297" fmla="*/ 1627771 w 4009365"/>
                <a:gd name="connsiteY1297" fmla="*/ 434239 h 871769"/>
                <a:gd name="connsiteX1298" fmla="*/ 1627771 w 4009365"/>
                <a:gd name="connsiteY1298" fmla="*/ 426413 h 871769"/>
                <a:gd name="connsiteX1299" fmla="*/ 1636261 w 4009365"/>
                <a:gd name="connsiteY1299" fmla="*/ 426413 h 871769"/>
                <a:gd name="connsiteX1300" fmla="*/ 1636261 w 4009365"/>
                <a:gd name="connsiteY1300" fmla="*/ 434239 h 871769"/>
                <a:gd name="connsiteX1301" fmla="*/ 1641957 w 4009365"/>
                <a:gd name="connsiteY1301" fmla="*/ 434239 h 871769"/>
                <a:gd name="connsiteX1302" fmla="*/ 1641957 w 4009365"/>
                <a:gd name="connsiteY1302" fmla="*/ 426413 h 871769"/>
                <a:gd name="connsiteX1303" fmla="*/ 1650281 w 4009365"/>
                <a:gd name="connsiteY1303" fmla="*/ 426413 h 871769"/>
                <a:gd name="connsiteX1304" fmla="*/ 1650281 w 4009365"/>
                <a:gd name="connsiteY1304" fmla="*/ 434239 h 871769"/>
                <a:gd name="connsiteX1305" fmla="*/ 1656641 w 4009365"/>
                <a:gd name="connsiteY1305" fmla="*/ 434239 h 871769"/>
                <a:gd name="connsiteX1306" fmla="*/ 1656641 w 4009365"/>
                <a:gd name="connsiteY1306" fmla="*/ 426413 h 871769"/>
                <a:gd name="connsiteX1307" fmla="*/ 1665463 w 4009365"/>
                <a:gd name="connsiteY1307" fmla="*/ 426413 h 871769"/>
                <a:gd name="connsiteX1308" fmla="*/ 1665463 w 4009365"/>
                <a:gd name="connsiteY1308" fmla="*/ 434239 h 871769"/>
                <a:gd name="connsiteX1309" fmla="*/ 1672155 w 4009365"/>
                <a:gd name="connsiteY1309" fmla="*/ 434239 h 871769"/>
                <a:gd name="connsiteX1310" fmla="*/ 1672155 w 4009365"/>
                <a:gd name="connsiteY1310" fmla="*/ 426413 h 871769"/>
                <a:gd name="connsiteX1311" fmla="*/ 1680312 w 4009365"/>
                <a:gd name="connsiteY1311" fmla="*/ 426413 h 871769"/>
                <a:gd name="connsiteX1312" fmla="*/ 1680312 w 4009365"/>
                <a:gd name="connsiteY1312" fmla="*/ 434239 h 871769"/>
                <a:gd name="connsiteX1313" fmla="*/ 1687972 w 4009365"/>
                <a:gd name="connsiteY1313" fmla="*/ 434239 h 871769"/>
                <a:gd name="connsiteX1314" fmla="*/ 1687972 w 4009365"/>
                <a:gd name="connsiteY1314" fmla="*/ 426413 h 871769"/>
                <a:gd name="connsiteX1315" fmla="*/ 1696130 w 4009365"/>
                <a:gd name="connsiteY1315" fmla="*/ 426413 h 871769"/>
                <a:gd name="connsiteX1316" fmla="*/ 1696130 w 4009365"/>
                <a:gd name="connsiteY1316" fmla="*/ 434239 h 871769"/>
                <a:gd name="connsiteX1317" fmla="*/ 1703292 w 4009365"/>
                <a:gd name="connsiteY1317" fmla="*/ 434239 h 871769"/>
                <a:gd name="connsiteX1318" fmla="*/ 1703292 w 4009365"/>
                <a:gd name="connsiteY1318" fmla="*/ 426413 h 871769"/>
                <a:gd name="connsiteX1319" fmla="*/ 1708187 w 4009365"/>
                <a:gd name="connsiteY1319" fmla="*/ 426413 h 871769"/>
                <a:gd name="connsiteX1320" fmla="*/ 1712114 w 4009365"/>
                <a:gd name="connsiteY1320" fmla="*/ 430976 h 871769"/>
                <a:gd name="connsiteX1321" fmla="*/ 1710316 w 4009365"/>
                <a:gd name="connsiteY1321" fmla="*/ 433105 h 871769"/>
                <a:gd name="connsiteX1322" fmla="*/ 1710648 w 4009365"/>
                <a:gd name="connsiteY1322" fmla="*/ 443862 h 871769"/>
                <a:gd name="connsiteX1323" fmla="*/ 1713109 w 4009365"/>
                <a:gd name="connsiteY1323" fmla="*/ 445162 h 871769"/>
                <a:gd name="connsiteX1324" fmla="*/ 1708215 w 4009365"/>
                <a:gd name="connsiteY1324" fmla="*/ 450803 h 871769"/>
                <a:gd name="connsiteX1325" fmla="*/ 1718833 w 4009365"/>
                <a:gd name="connsiteY1325" fmla="*/ 837645 h 871769"/>
                <a:gd name="connsiteX1326" fmla="*/ 1723009 w 4009365"/>
                <a:gd name="connsiteY1326" fmla="*/ 669347 h 871769"/>
                <a:gd name="connsiteX1327" fmla="*/ 1731803 w 4009365"/>
                <a:gd name="connsiteY1327" fmla="*/ 669153 h 871769"/>
                <a:gd name="connsiteX1328" fmla="*/ 1731803 w 4009365"/>
                <a:gd name="connsiteY1328" fmla="*/ 663125 h 871769"/>
                <a:gd name="connsiteX1329" fmla="*/ 1856989 w 4009365"/>
                <a:gd name="connsiteY1329" fmla="*/ 663125 h 871769"/>
                <a:gd name="connsiteX1330" fmla="*/ 1856989 w 4009365"/>
                <a:gd name="connsiteY1330" fmla="*/ 633923 h 871769"/>
                <a:gd name="connsiteX1331" fmla="*/ 1921089 w 4009365"/>
                <a:gd name="connsiteY1331" fmla="*/ 633923 h 871769"/>
                <a:gd name="connsiteX1332" fmla="*/ 1921089 w 4009365"/>
                <a:gd name="connsiteY1332" fmla="*/ 371549 h 871769"/>
                <a:gd name="connsiteX1333" fmla="*/ 1923108 w 4009365"/>
                <a:gd name="connsiteY1333" fmla="*/ 371549 h 871769"/>
                <a:gd name="connsiteX1334" fmla="*/ 1923108 w 4009365"/>
                <a:gd name="connsiteY1334" fmla="*/ 363502 h 871769"/>
                <a:gd name="connsiteX1335" fmla="*/ 1922693 w 4009365"/>
                <a:gd name="connsiteY1335" fmla="*/ 362340 h 871769"/>
                <a:gd name="connsiteX1336" fmla="*/ 1922693 w 4009365"/>
                <a:gd name="connsiteY1336" fmla="*/ 360570 h 871769"/>
                <a:gd name="connsiteX1337" fmla="*/ 1923523 w 4009365"/>
                <a:gd name="connsiteY1337" fmla="*/ 359907 h 871769"/>
                <a:gd name="connsiteX1338" fmla="*/ 1923523 w 4009365"/>
                <a:gd name="connsiteY1338" fmla="*/ 356644 h 871769"/>
                <a:gd name="connsiteX1339" fmla="*/ 1924352 w 4009365"/>
                <a:gd name="connsiteY1339" fmla="*/ 356229 h 871769"/>
                <a:gd name="connsiteX1340" fmla="*/ 1924352 w 4009365"/>
                <a:gd name="connsiteY1340" fmla="*/ 337867 h 871769"/>
                <a:gd name="connsiteX1341" fmla="*/ 1922666 w 4009365"/>
                <a:gd name="connsiteY1341" fmla="*/ 335433 h 871769"/>
                <a:gd name="connsiteX1342" fmla="*/ 1922666 w 4009365"/>
                <a:gd name="connsiteY1342" fmla="*/ 329294 h 871769"/>
                <a:gd name="connsiteX1343" fmla="*/ 1924352 w 4009365"/>
                <a:gd name="connsiteY1343" fmla="*/ 324510 h 871769"/>
                <a:gd name="connsiteX1344" fmla="*/ 1925348 w 4009365"/>
                <a:gd name="connsiteY1344" fmla="*/ 324510 h 871769"/>
                <a:gd name="connsiteX1345" fmla="*/ 1925348 w 4009365"/>
                <a:gd name="connsiteY1345" fmla="*/ 317127 h 871769"/>
                <a:gd name="connsiteX1346" fmla="*/ 1931902 w 4009365"/>
                <a:gd name="connsiteY1346" fmla="*/ 312675 h 871769"/>
                <a:gd name="connsiteX1347" fmla="*/ 1934833 w 4009365"/>
                <a:gd name="connsiteY1347" fmla="*/ 312675 h 871769"/>
                <a:gd name="connsiteX1348" fmla="*/ 1934833 w 4009365"/>
                <a:gd name="connsiteY1348" fmla="*/ 311430 h 871769"/>
                <a:gd name="connsiteX1349" fmla="*/ 1936520 w 4009365"/>
                <a:gd name="connsiteY1349" fmla="*/ 310822 h 871769"/>
                <a:gd name="connsiteX1350" fmla="*/ 1936520 w 4009365"/>
                <a:gd name="connsiteY1350" fmla="*/ 306038 h 871769"/>
                <a:gd name="connsiteX1351" fmla="*/ 1938207 w 4009365"/>
                <a:gd name="connsiteY1351" fmla="*/ 304545 h 871769"/>
                <a:gd name="connsiteX1352" fmla="*/ 1938207 w 4009365"/>
                <a:gd name="connsiteY1352" fmla="*/ 300922 h 871769"/>
                <a:gd name="connsiteX1353" fmla="*/ 1939451 w 4009365"/>
                <a:gd name="connsiteY1353" fmla="*/ 300922 h 871769"/>
                <a:gd name="connsiteX1354" fmla="*/ 1939451 w 4009365"/>
                <a:gd name="connsiteY1354" fmla="*/ 303411 h 871769"/>
                <a:gd name="connsiteX1355" fmla="*/ 1943322 w 4009365"/>
                <a:gd name="connsiteY1355" fmla="*/ 299982 h 871769"/>
                <a:gd name="connsiteX1356" fmla="*/ 1943322 w 4009365"/>
                <a:gd name="connsiteY1356" fmla="*/ 257202 h 871769"/>
                <a:gd name="connsiteX1357" fmla="*/ 1946835 w 4009365"/>
                <a:gd name="connsiteY1357" fmla="*/ 252335 h 871769"/>
                <a:gd name="connsiteX1358" fmla="*/ 1946835 w 4009365"/>
                <a:gd name="connsiteY1358" fmla="*/ 246639 h 871769"/>
                <a:gd name="connsiteX1359" fmla="*/ 1948189 w 4009365"/>
                <a:gd name="connsiteY1359" fmla="*/ 244371 h 871769"/>
                <a:gd name="connsiteX1360" fmla="*/ 1947277 w 4009365"/>
                <a:gd name="connsiteY1360" fmla="*/ 243127 h 871769"/>
                <a:gd name="connsiteX1361" fmla="*/ 1948687 w 4009365"/>
                <a:gd name="connsiteY1361" fmla="*/ 240113 h 871769"/>
                <a:gd name="connsiteX1362" fmla="*/ 1950125 w 4009365"/>
                <a:gd name="connsiteY1362" fmla="*/ 242214 h 871769"/>
                <a:gd name="connsiteX1363" fmla="*/ 1952227 w 4009365"/>
                <a:gd name="connsiteY1363" fmla="*/ 240113 h 871769"/>
                <a:gd name="connsiteX1364" fmla="*/ 1952227 w 4009365"/>
                <a:gd name="connsiteY1364" fmla="*/ 236020 h 871769"/>
                <a:gd name="connsiteX1365" fmla="*/ 1954080 w 4009365"/>
                <a:gd name="connsiteY1365" fmla="*/ 234167 h 871769"/>
                <a:gd name="connsiteX1366" fmla="*/ 1954080 w 4009365"/>
                <a:gd name="connsiteY1366" fmla="*/ 229632 h 871769"/>
                <a:gd name="connsiteX1367" fmla="*/ 1957758 w 4009365"/>
                <a:gd name="connsiteY1367" fmla="*/ 226203 h 871769"/>
                <a:gd name="connsiteX1368" fmla="*/ 1962790 w 4009365"/>
                <a:gd name="connsiteY1368" fmla="*/ 226203 h 871769"/>
                <a:gd name="connsiteX1369" fmla="*/ 1963454 w 4009365"/>
                <a:gd name="connsiteY1369" fmla="*/ 225539 h 871769"/>
                <a:gd name="connsiteX1370" fmla="*/ 1963454 w 4009365"/>
                <a:gd name="connsiteY1370" fmla="*/ 203306 h 871769"/>
                <a:gd name="connsiteX1371" fmla="*/ 1968570 w 4009365"/>
                <a:gd name="connsiteY1371" fmla="*/ 199379 h 871769"/>
                <a:gd name="connsiteX1372" fmla="*/ 1968570 w 4009365"/>
                <a:gd name="connsiteY1372" fmla="*/ 197941 h 871769"/>
                <a:gd name="connsiteX1373" fmla="*/ 1971363 w 4009365"/>
                <a:gd name="connsiteY1373" fmla="*/ 196448 h 871769"/>
                <a:gd name="connsiteX1374" fmla="*/ 1971363 w 4009365"/>
                <a:gd name="connsiteY1374" fmla="*/ 192217 h 871769"/>
                <a:gd name="connsiteX1375" fmla="*/ 1970589 w 4009365"/>
                <a:gd name="connsiteY1375" fmla="*/ 191498 h 871769"/>
                <a:gd name="connsiteX1376" fmla="*/ 1967989 w 4009365"/>
                <a:gd name="connsiteY1376" fmla="*/ 190834 h 871769"/>
                <a:gd name="connsiteX1377" fmla="*/ 1964726 w 4009365"/>
                <a:gd name="connsiteY1377" fmla="*/ 187488 h 871769"/>
                <a:gd name="connsiteX1378" fmla="*/ 1965113 w 4009365"/>
                <a:gd name="connsiteY1378" fmla="*/ 185995 h 871769"/>
                <a:gd name="connsiteX1379" fmla="*/ 1967796 w 4009365"/>
                <a:gd name="connsiteY1379" fmla="*/ 186410 h 871769"/>
                <a:gd name="connsiteX1380" fmla="*/ 1970063 w 4009365"/>
                <a:gd name="connsiteY1380" fmla="*/ 187074 h 871769"/>
                <a:gd name="connsiteX1381" fmla="*/ 1971391 w 4009365"/>
                <a:gd name="connsiteY1381" fmla="*/ 187682 h 871769"/>
                <a:gd name="connsiteX1382" fmla="*/ 1971391 w 4009365"/>
                <a:gd name="connsiteY1382" fmla="*/ 185497 h 871769"/>
                <a:gd name="connsiteX1383" fmla="*/ 1970616 w 4009365"/>
                <a:gd name="connsiteY1383" fmla="*/ 185719 h 871769"/>
                <a:gd name="connsiteX1384" fmla="*/ 1968487 w 4009365"/>
                <a:gd name="connsiteY1384" fmla="*/ 185331 h 871769"/>
                <a:gd name="connsiteX1385" fmla="*/ 1964505 w 4009365"/>
                <a:gd name="connsiteY1385" fmla="*/ 184723 h 871769"/>
                <a:gd name="connsiteX1386" fmla="*/ 1964118 w 4009365"/>
                <a:gd name="connsiteY1386" fmla="*/ 183451 h 871769"/>
                <a:gd name="connsiteX1387" fmla="*/ 1966164 w 4009365"/>
                <a:gd name="connsiteY1387" fmla="*/ 182787 h 871769"/>
                <a:gd name="connsiteX1388" fmla="*/ 1968238 w 4009365"/>
                <a:gd name="connsiteY1388" fmla="*/ 181377 h 871769"/>
                <a:gd name="connsiteX1389" fmla="*/ 1971391 w 4009365"/>
                <a:gd name="connsiteY1389" fmla="*/ 182151 h 871769"/>
                <a:gd name="connsiteX1390" fmla="*/ 1971391 w 4009365"/>
                <a:gd name="connsiteY1390" fmla="*/ 180879 h 871769"/>
                <a:gd name="connsiteX1391" fmla="*/ 1970395 w 4009365"/>
                <a:gd name="connsiteY1391" fmla="*/ 180133 h 871769"/>
                <a:gd name="connsiteX1392" fmla="*/ 1968293 w 4009365"/>
                <a:gd name="connsiteY1392" fmla="*/ 179663 h 871769"/>
                <a:gd name="connsiteX1393" fmla="*/ 1965030 w 4009365"/>
                <a:gd name="connsiteY1393" fmla="*/ 178612 h 871769"/>
                <a:gd name="connsiteX1394" fmla="*/ 1962182 w 4009365"/>
                <a:gd name="connsiteY1394" fmla="*/ 178363 h 871769"/>
                <a:gd name="connsiteX1395" fmla="*/ 1961076 w 4009365"/>
                <a:gd name="connsiteY1395" fmla="*/ 174906 h 871769"/>
                <a:gd name="connsiteX1396" fmla="*/ 1962763 w 4009365"/>
                <a:gd name="connsiteY1396" fmla="*/ 173938 h 871769"/>
                <a:gd name="connsiteX1397" fmla="*/ 1966579 w 4009365"/>
                <a:gd name="connsiteY1397" fmla="*/ 174298 h 871769"/>
                <a:gd name="connsiteX1398" fmla="*/ 1971418 w 4009365"/>
                <a:gd name="connsiteY1398" fmla="*/ 174657 h 871769"/>
                <a:gd name="connsiteX1399" fmla="*/ 1971418 w 4009365"/>
                <a:gd name="connsiteY1399" fmla="*/ 171422 h 871769"/>
                <a:gd name="connsiteX1400" fmla="*/ 1972248 w 4009365"/>
                <a:gd name="connsiteY1400" fmla="*/ 171422 h 871769"/>
                <a:gd name="connsiteX1401" fmla="*/ 1972248 w 4009365"/>
                <a:gd name="connsiteY1401" fmla="*/ 196420 h 871769"/>
                <a:gd name="connsiteX1402" fmla="*/ 1975207 w 4009365"/>
                <a:gd name="connsiteY1402" fmla="*/ 197997 h 871769"/>
                <a:gd name="connsiteX1403" fmla="*/ 1975207 w 4009365"/>
                <a:gd name="connsiteY1403" fmla="*/ 199407 h 871769"/>
                <a:gd name="connsiteX1404" fmla="*/ 1980323 w 4009365"/>
                <a:gd name="connsiteY1404" fmla="*/ 203361 h 871769"/>
                <a:gd name="connsiteX1405" fmla="*/ 1980323 w 4009365"/>
                <a:gd name="connsiteY1405" fmla="*/ 225595 h 871769"/>
                <a:gd name="connsiteX1406" fmla="*/ 1980986 w 4009365"/>
                <a:gd name="connsiteY1406" fmla="*/ 226258 h 871769"/>
                <a:gd name="connsiteX1407" fmla="*/ 1986019 w 4009365"/>
                <a:gd name="connsiteY1407" fmla="*/ 226258 h 871769"/>
                <a:gd name="connsiteX1408" fmla="*/ 1989725 w 4009365"/>
                <a:gd name="connsiteY1408" fmla="*/ 229715 h 871769"/>
                <a:gd name="connsiteX1409" fmla="*/ 1989725 w 4009365"/>
                <a:gd name="connsiteY1409" fmla="*/ 234250 h 871769"/>
                <a:gd name="connsiteX1410" fmla="*/ 1991577 w 4009365"/>
                <a:gd name="connsiteY1410" fmla="*/ 236103 h 871769"/>
                <a:gd name="connsiteX1411" fmla="*/ 1991577 w 4009365"/>
                <a:gd name="connsiteY1411" fmla="*/ 240223 h 871769"/>
                <a:gd name="connsiteX1412" fmla="*/ 1993679 w 4009365"/>
                <a:gd name="connsiteY1412" fmla="*/ 242325 h 871769"/>
                <a:gd name="connsiteX1413" fmla="*/ 1995117 w 4009365"/>
                <a:gd name="connsiteY1413" fmla="*/ 240223 h 871769"/>
                <a:gd name="connsiteX1414" fmla="*/ 1996527 w 4009365"/>
                <a:gd name="connsiteY1414" fmla="*/ 243237 h 871769"/>
                <a:gd name="connsiteX1415" fmla="*/ 1995615 w 4009365"/>
                <a:gd name="connsiteY1415" fmla="*/ 244509 h 871769"/>
                <a:gd name="connsiteX1416" fmla="*/ 1996970 w 4009365"/>
                <a:gd name="connsiteY1416" fmla="*/ 246777 h 871769"/>
                <a:gd name="connsiteX1417" fmla="*/ 1996970 w 4009365"/>
                <a:gd name="connsiteY1417" fmla="*/ 252474 h 871769"/>
                <a:gd name="connsiteX1418" fmla="*/ 2000482 w 4009365"/>
                <a:gd name="connsiteY1418" fmla="*/ 257341 h 871769"/>
                <a:gd name="connsiteX1419" fmla="*/ 2000482 w 4009365"/>
                <a:gd name="connsiteY1419" fmla="*/ 300120 h 871769"/>
                <a:gd name="connsiteX1420" fmla="*/ 2004353 w 4009365"/>
                <a:gd name="connsiteY1420" fmla="*/ 303549 h 871769"/>
                <a:gd name="connsiteX1421" fmla="*/ 2004353 w 4009365"/>
                <a:gd name="connsiteY1421" fmla="*/ 301033 h 871769"/>
                <a:gd name="connsiteX1422" fmla="*/ 2005625 w 4009365"/>
                <a:gd name="connsiteY1422" fmla="*/ 301033 h 871769"/>
                <a:gd name="connsiteX1423" fmla="*/ 2005625 w 4009365"/>
                <a:gd name="connsiteY1423" fmla="*/ 304655 h 871769"/>
                <a:gd name="connsiteX1424" fmla="*/ 2007312 w 4009365"/>
                <a:gd name="connsiteY1424" fmla="*/ 306149 h 871769"/>
                <a:gd name="connsiteX1425" fmla="*/ 2007312 w 4009365"/>
                <a:gd name="connsiteY1425" fmla="*/ 310933 h 871769"/>
                <a:gd name="connsiteX1426" fmla="*/ 2008999 w 4009365"/>
                <a:gd name="connsiteY1426" fmla="*/ 311513 h 871769"/>
                <a:gd name="connsiteX1427" fmla="*/ 2008999 w 4009365"/>
                <a:gd name="connsiteY1427" fmla="*/ 312785 h 871769"/>
                <a:gd name="connsiteX1428" fmla="*/ 2011930 w 4009365"/>
                <a:gd name="connsiteY1428" fmla="*/ 312785 h 871769"/>
                <a:gd name="connsiteX1429" fmla="*/ 2018484 w 4009365"/>
                <a:gd name="connsiteY1429" fmla="*/ 317238 h 871769"/>
                <a:gd name="connsiteX1430" fmla="*/ 2018484 w 4009365"/>
                <a:gd name="connsiteY1430" fmla="*/ 324621 h 871769"/>
                <a:gd name="connsiteX1431" fmla="*/ 2019480 w 4009365"/>
                <a:gd name="connsiteY1431" fmla="*/ 324621 h 871769"/>
                <a:gd name="connsiteX1432" fmla="*/ 2021166 w 4009365"/>
                <a:gd name="connsiteY1432" fmla="*/ 329405 h 871769"/>
                <a:gd name="connsiteX1433" fmla="*/ 2021166 w 4009365"/>
                <a:gd name="connsiteY1433" fmla="*/ 335516 h 871769"/>
                <a:gd name="connsiteX1434" fmla="*/ 2019480 w 4009365"/>
                <a:gd name="connsiteY1434" fmla="*/ 337950 h 871769"/>
                <a:gd name="connsiteX1435" fmla="*/ 2019480 w 4009365"/>
                <a:gd name="connsiteY1435" fmla="*/ 356312 h 871769"/>
                <a:gd name="connsiteX1436" fmla="*/ 2020337 w 4009365"/>
                <a:gd name="connsiteY1436" fmla="*/ 356726 h 871769"/>
                <a:gd name="connsiteX1437" fmla="*/ 2020337 w 4009365"/>
                <a:gd name="connsiteY1437" fmla="*/ 360017 h 871769"/>
                <a:gd name="connsiteX1438" fmla="*/ 2021166 w 4009365"/>
                <a:gd name="connsiteY1438" fmla="*/ 360681 h 871769"/>
                <a:gd name="connsiteX1439" fmla="*/ 2021166 w 4009365"/>
                <a:gd name="connsiteY1439" fmla="*/ 362451 h 871769"/>
                <a:gd name="connsiteX1440" fmla="*/ 2020752 w 4009365"/>
                <a:gd name="connsiteY1440" fmla="*/ 363612 h 871769"/>
                <a:gd name="connsiteX1441" fmla="*/ 2020752 w 4009365"/>
                <a:gd name="connsiteY1441" fmla="*/ 371659 h 871769"/>
                <a:gd name="connsiteX1442" fmla="*/ 2022770 w 4009365"/>
                <a:gd name="connsiteY1442" fmla="*/ 371659 h 871769"/>
                <a:gd name="connsiteX1443" fmla="*/ 2022770 w 4009365"/>
                <a:gd name="connsiteY1443" fmla="*/ 634033 h 871769"/>
                <a:gd name="connsiteX1444" fmla="*/ 2086871 w 4009365"/>
                <a:gd name="connsiteY1444" fmla="*/ 634033 h 871769"/>
                <a:gd name="connsiteX1445" fmla="*/ 2086871 w 4009365"/>
                <a:gd name="connsiteY1445" fmla="*/ 663235 h 871769"/>
                <a:gd name="connsiteX1446" fmla="*/ 2212057 w 4009365"/>
                <a:gd name="connsiteY1446" fmla="*/ 663235 h 871769"/>
                <a:gd name="connsiteX1447" fmla="*/ 2212057 w 4009365"/>
                <a:gd name="connsiteY1447" fmla="*/ 669264 h 871769"/>
                <a:gd name="connsiteX1448" fmla="*/ 2220602 w 4009365"/>
                <a:gd name="connsiteY1448" fmla="*/ 668600 h 871769"/>
                <a:gd name="connsiteX1449" fmla="*/ 2228206 w 4009365"/>
                <a:gd name="connsiteY1449" fmla="*/ 843230 h 871769"/>
                <a:gd name="connsiteX1450" fmla="*/ 2237387 w 4009365"/>
                <a:gd name="connsiteY1450" fmla="*/ 623027 h 871769"/>
                <a:gd name="connsiteX1451" fmla="*/ 2256689 w 4009365"/>
                <a:gd name="connsiteY1451" fmla="*/ 623027 h 871769"/>
                <a:gd name="connsiteX1452" fmla="*/ 2376428 w 4009365"/>
                <a:gd name="connsiteY1452" fmla="*/ 540704 h 871769"/>
                <a:gd name="connsiteX1453" fmla="*/ 2496167 w 4009365"/>
                <a:gd name="connsiteY1453" fmla="*/ 623027 h 871769"/>
                <a:gd name="connsiteX1454" fmla="*/ 2517681 w 4009365"/>
                <a:gd name="connsiteY1454" fmla="*/ 623027 h 871769"/>
                <a:gd name="connsiteX1455" fmla="*/ 2517681 w 4009365"/>
                <a:gd name="connsiteY1455" fmla="*/ 638873 h 871769"/>
                <a:gd name="connsiteX1456" fmla="*/ 2400210 w 4009365"/>
                <a:gd name="connsiteY1456" fmla="*/ 638873 h 871769"/>
                <a:gd name="connsiteX1457" fmla="*/ 2406376 w 4009365"/>
                <a:gd name="connsiteY1457" fmla="*/ 840908 h 871769"/>
                <a:gd name="connsiteX1458" fmla="*/ 2413483 w 4009365"/>
                <a:gd name="connsiteY1458" fmla="*/ 651289 h 871769"/>
                <a:gd name="connsiteX1459" fmla="*/ 2854525 w 4009365"/>
                <a:gd name="connsiteY1459" fmla="*/ 651289 h 871769"/>
                <a:gd name="connsiteX1460" fmla="*/ 2862849 w 4009365"/>
                <a:gd name="connsiteY1460" fmla="*/ 838999 h 871769"/>
                <a:gd name="connsiteX1461" fmla="*/ 2868435 w 4009365"/>
                <a:gd name="connsiteY1461" fmla="*/ 637380 h 871769"/>
                <a:gd name="connsiteX1462" fmla="*/ 2674641 w 4009365"/>
                <a:gd name="connsiteY1462" fmla="*/ 637380 h 871769"/>
                <a:gd name="connsiteX1463" fmla="*/ 2674806 w 4009365"/>
                <a:gd name="connsiteY1463" fmla="*/ 627175 h 871769"/>
                <a:gd name="connsiteX1464" fmla="*/ 2580039 w 4009365"/>
                <a:gd name="connsiteY1464" fmla="*/ 627175 h 871769"/>
                <a:gd name="connsiteX1465" fmla="*/ 2580122 w 4009365"/>
                <a:gd name="connsiteY1465" fmla="*/ 636522 h 871769"/>
                <a:gd name="connsiteX1466" fmla="*/ 2580039 w 4009365"/>
                <a:gd name="connsiteY1466" fmla="*/ 636522 h 871769"/>
                <a:gd name="connsiteX1467" fmla="*/ 2580039 w 4009365"/>
                <a:gd name="connsiteY1467" fmla="*/ 637352 h 871769"/>
                <a:gd name="connsiteX1468" fmla="*/ 2531590 w 4009365"/>
                <a:gd name="connsiteY1468" fmla="*/ 637352 h 871769"/>
                <a:gd name="connsiteX1469" fmla="*/ 2531590 w 4009365"/>
                <a:gd name="connsiteY1469" fmla="*/ 609090 h 871769"/>
                <a:gd name="connsiteX1470" fmla="*/ 2505237 w 4009365"/>
                <a:gd name="connsiteY1470" fmla="*/ 609090 h 871769"/>
                <a:gd name="connsiteX1471" fmla="*/ 2457175 w 4009365"/>
                <a:gd name="connsiteY1471" fmla="*/ 552318 h 871769"/>
                <a:gd name="connsiteX1472" fmla="*/ 2376456 w 4009365"/>
                <a:gd name="connsiteY1472" fmla="*/ 526766 h 871769"/>
                <a:gd name="connsiteX1473" fmla="*/ 2317471 w 4009365"/>
                <a:gd name="connsiteY1473" fmla="*/ 540040 h 871769"/>
                <a:gd name="connsiteX1474" fmla="*/ 2321121 w 4009365"/>
                <a:gd name="connsiteY1474" fmla="*/ 160112 h 871769"/>
                <a:gd name="connsiteX1475" fmla="*/ 2407925 w 4009365"/>
                <a:gd name="connsiteY1475" fmla="*/ 160112 h 871769"/>
                <a:gd name="connsiteX1476" fmla="*/ 2407925 w 4009365"/>
                <a:gd name="connsiteY1476" fmla="*/ 146257 h 871769"/>
                <a:gd name="connsiteX1477" fmla="*/ 2488258 w 4009365"/>
                <a:gd name="connsiteY1477" fmla="*/ 146257 h 871769"/>
                <a:gd name="connsiteX1478" fmla="*/ 2488258 w 4009365"/>
                <a:gd name="connsiteY1478" fmla="*/ 160112 h 871769"/>
                <a:gd name="connsiteX1479" fmla="*/ 2526143 w 4009365"/>
                <a:gd name="connsiteY1479" fmla="*/ 160112 h 871769"/>
                <a:gd name="connsiteX1480" fmla="*/ 2169913 w 4009365"/>
                <a:gd name="connsiteY1480" fmla="*/ 0 h 871769"/>
                <a:gd name="connsiteX1481" fmla="*/ 2174974 w 4009365"/>
                <a:gd name="connsiteY1481" fmla="*/ 0 h 871769"/>
                <a:gd name="connsiteX1482" fmla="*/ 2174974 w 4009365"/>
                <a:gd name="connsiteY1482" fmla="*/ 37000 h 871769"/>
                <a:gd name="connsiteX1483" fmla="*/ 2224971 w 4009365"/>
                <a:gd name="connsiteY1483" fmla="*/ 37000 h 871769"/>
                <a:gd name="connsiteX1484" fmla="*/ 2224971 w 4009365"/>
                <a:gd name="connsiteY1484" fmla="*/ 49610 h 871769"/>
                <a:gd name="connsiteX1485" fmla="*/ 2278342 w 4009365"/>
                <a:gd name="connsiteY1485" fmla="*/ 49610 h 871769"/>
                <a:gd name="connsiteX1486" fmla="*/ 2278342 w 4009365"/>
                <a:gd name="connsiteY1486" fmla="*/ 91615 h 871769"/>
                <a:gd name="connsiteX1487" fmla="*/ 2302289 w 4009365"/>
                <a:gd name="connsiteY1487" fmla="*/ 91615 h 871769"/>
                <a:gd name="connsiteX1488" fmla="*/ 2305663 w 4009365"/>
                <a:gd name="connsiteY1488" fmla="*/ 545931 h 871769"/>
                <a:gd name="connsiteX1489" fmla="*/ 2295625 w 4009365"/>
                <a:gd name="connsiteY1489" fmla="*/ 552208 h 871769"/>
                <a:gd name="connsiteX1490" fmla="*/ 2247563 w 4009365"/>
                <a:gd name="connsiteY1490" fmla="*/ 608980 h 871769"/>
                <a:gd name="connsiteX1491" fmla="*/ 2223395 w 4009365"/>
                <a:gd name="connsiteY1491" fmla="*/ 608980 h 871769"/>
                <a:gd name="connsiteX1492" fmla="*/ 2223395 w 4009365"/>
                <a:gd name="connsiteY1492" fmla="*/ 649161 h 871769"/>
                <a:gd name="connsiteX1493" fmla="*/ 2100752 w 4009365"/>
                <a:gd name="connsiteY1493" fmla="*/ 649161 h 871769"/>
                <a:gd name="connsiteX1494" fmla="*/ 2100752 w 4009365"/>
                <a:gd name="connsiteY1494" fmla="*/ 619959 h 871769"/>
                <a:gd name="connsiteX1495" fmla="*/ 2086843 w 4009365"/>
                <a:gd name="connsiteY1495" fmla="*/ 619959 h 871769"/>
                <a:gd name="connsiteX1496" fmla="*/ 2040164 w 4009365"/>
                <a:gd name="connsiteY1496" fmla="*/ 619599 h 871769"/>
                <a:gd name="connsiteX1497" fmla="*/ 2042598 w 4009365"/>
                <a:gd name="connsiteY1497" fmla="*/ 91588 h 871769"/>
                <a:gd name="connsiteX1498" fmla="*/ 2066545 w 4009365"/>
                <a:gd name="connsiteY1498" fmla="*/ 91588 h 871769"/>
                <a:gd name="connsiteX1499" fmla="*/ 2066545 w 4009365"/>
                <a:gd name="connsiteY1499" fmla="*/ 49582 h 871769"/>
                <a:gd name="connsiteX1500" fmla="*/ 2119916 w 4009365"/>
                <a:gd name="connsiteY1500" fmla="*/ 49582 h 871769"/>
                <a:gd name="connsiteX1501" fmla="*/ 2119916 w 4009365"/>
                <a:gd name="connsiteY1501" fmla="*/ 36972 h 871769"/>
                <a:gd name="connsiteX1502" fmla="*/ 2169913 w 4009365"/>
                <a:gd name="connsiteY1502" fmla="*/ 36972 h 87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Lst>
              <a:rect l="l" t="t" r="r" b="b"/>
              <a:pathLst>
                <a:path w="4009365" h="871769">
                  <a:moveTo>
                    <a:pt x="866836" y="724294"/>
                  </a:moveTo>
                  <a:lnTo>
                    <a:pt x="849304" y="748048"/>
                  </a:lnTo>
                  <a:lnTo>
                    <a:pt x="866366" y="748048"/>
                  </a:lnTo>
                  <a:close/>
                  <a:moveTo>
                    <a:pt x="812000" y="724294"/>
                  </a:moveTo>
                  <a:lnTo>
                    <a:pt x="812470" y="748048"/>
                  </a:lnTo>
                  <a:lnTo>
                    <a:pt x="829532" y="748048"/>
                  </a:lnTo>
                  <a:close/>
                  <a:moveTo>
                    <a:pt x="99044" y="724294"/>
                  </a:moveTo>
                  <a:lnTo>
                    <a:pt x="81511" y="748048"/>
                  </a:lnTo>
                  <a:lnTo>
                    <a:pt x="98574" y="748048"/>
                  </a:lnTo>
                  <a:close/>
                  <a:moveTo>
                    <a:pt x="44207" y="724294"/>
                  </a:moveTo>
                  <a:lnTo>
                    <a:pt x="44677" y="748048"/>
                  </a:lnTo>
                  <a:lnTo>
                    <a:pt x="61739" y="748048"/>
                  </a:lnTo>
                  <a:close/>
                  <a:moveTo>
                    <a:pt x="870265" y="719648"/>
                  </a:moveTo>
                  <a:lnTo>
                    <a:pt x="869159" y="721141"/>
                  </a:lnTo>
                  <a:lnTo>
                    <a:pt x="868634" y="748048"/>
                  </a:lnTo>
                  <a:lnTo>
                    <a:pt x="868606" y="748076"/>
                  </a:lnTo>
                  <a:lnTo>
                    <a:pt x="888461" y="748076"/>
                  </a:lnTo>
                  <a:cubicBezTo>
                    <a:pt x="888461" y="748076"/>
                    <a:pt x="870265" y="719648"/>
                    <a:pt x="870265" y="719648"/>
                  </a:cubicBezTo>
                  <a:close/>
                  <a:moveTo>
                    <a:pt x="808543" y="719648"/>
                  </a:moveTo>
                  <a:lnTo>
                    <a:pt x="790348" y="748048"/>
                  </a:lnTo>
                  <a:lnTo>
                    <a:pt x="810175" y="748048"/>
                  </a:lnTo>
                  <a:lnTo>
                    <a:pt x="809649" y="721141"/>
                  </a:lnTo>
                  <a:cubicBezTo>
                    <a:pt x="809649" y="721141"/>
                    <a:pt x="808543" y="719648"/>
                    <a:pt x="808543" y="719648"/>
                  </a:cubicBezTo>
                  <a:close/>
                  <a:moveTo>
                    <a:pt x="102500" y="719648"/>
                  </a:moveTo>
                  <a:lnTo>
                    <a:pt x="101366" y="721141"/>
                  </a:lnTo>
                  <a:lnTo>
                    <a:pt x="100841" y="748048"/>
                  </a:lnTo>
                  <a:lnTo>
                    <a:pt x="100841" y="748076"/>
                  </a:lnTo>
                  <a:lnTo>
                    <a:pt x="120696" y="748076"/>
                  </a:lnTo>
                  <a:cubicBezTo>
                    <a:pt x="120696" y="748076"/>
                    <a:pt x="102500" y="719648"/>
                    <a:pt x="102500" y="719648"/>
                  </a:cubicBezTo>
                  <a:close/>
                  <a:moveTo>
                    <a:pt x="40751" y="719648"/>
                  </a:moveTo>
                  <a:lnTo>
                    <a:pt x="22555" y="748048"/>
                  </a:lnTo>
                  <a:lnTo>
                    <a:pt x="42382" y="748048"/>
                  </a:lnTo>
                  <a:lnTo>
                    <a:pt x="41857" y="721141"/>
                  </a:lnTo>
                  <a:cubicBezTo>
                    <a:pt x="41857" y="721141"/>
                    <a:pt x="40751" y="719648"/>
                    <a:pt x="40751" y="719648"/>
                  </a:cubicBezTo>
                  <a:close/>
                  <a:moveTo>
                    <a:pt x="925793" y="710661"/>
                  </a:moveTo>
                  <a:lnTo>
                    <a:pt x="925434" y="748048"/>
                  </a:lnTo>
                  <a:lnTo>
                    <a:pt x="953529" y="748048"/>
                  </a:lnTo>
                  <a:close/>
                  <a:moveTo>
                    <a:pt x="753016" y="710661"/>
                  </a:moveTo>
                  <a:lnTo>
                    <a:pt x="725279" y="748048"/>
                  </a:lnTo>
                  <a:lnTo>
                    <a:pt x="753375" y="748048"/>
                  </a:lnTo>
                  <a:close/>
                  <a:moveTo>
                    <a:pt x="157973" y="710661"/>
                  </a:moveTo>
                  <a:lnTo>
                    <a:pt x="157613" y="748048"/>
                  </a:lnTo>
                  <a:lnTo>
                    <a:pt x="185709" y="748048"/>
                  </a:lnTo>
                  <a:close/>
                  <a:moveTo>
                    <a:pt x="1192454" y="709250"/>
                  </a:moveTo>
                  <a:lnTo>
                    <a:pt x="1172184" y="748020"/>
                  </a:lnTo>
                  <a:lnTo>
                    <a:pt x="1172211" y="748020"/>
                  </a:lnTo>
                  <a:lnTo>
                    <a:pt x="1192730" y="748020"/>
                  </a:lnTo>
                  <a:close/>
                  <a:moveTo>
                    <a:pt x="486383" y="709250"/>
                  </a:moveTo>
                  <a:lnTo>
                    <a:pt x="486106" y="748020"/>
                  </a:lnTo>
                  <a:lnTo>
                    <a:pt x="486134" y="748020"/>
                  </a:lnTo>
                  <a:lnTo>
                    <a:pt x="506653" y="748020"/>
                  </a:lnTo>
                  <a:close/>
                  <a:moveTo>
                    <a:pt x="424633" y="709250"/>
                  </a:moveTo>
                  <a:lnTo>
                    <a:pt x="404363" y="748020"/>
                  </a:lnTo>
                  <a:lnTo>
                    <a:pt x="404391" y="748020"/>
                  </a:lnTo>
                  <a:lnTo>
                    <a:pt x="424910" y="748020"/>
                  </a:lnTo>
                  <a:close/>
                  <a:moveTo>
                    <a:pt x="843193" y="707564"/>
                  </a:moveTo>
                  <a:lnTo>
                    <a:pt x="843193" y="748048"/>
                  </a:lnTo>
                  <a:lnTo>
                    <a:pt x="843469" y="748048"/>
                  </a:lnTo>
                  <a:lnTo>
                    <a:pt x="865896" y="717685"/>
                  </a:lnTo>
                  <a:close/>
                  <a:moveTo>
                    <a:pt x="835643" y="707564"/>
                  </a:moveTo>
                  <a:lnTo>
                    <a:pt x="812940" y="717685"/>
                  </a:lnTo>
                  <a:lnTo>
                    <a:pt x="835339" y="748048"/>
                  </a:lnTo>
                  <a:lnTo>
                    <a:pt x="835643" y="748048"/>
                  </a:lnTo>
                  <a:close/>
                  <a:moveTo>
                    <a:pt x="75372" y="707564"/>
                  </a:moveTo>
                  <a:lnTo>
                    <a:pt x="75372" y="748048"/>
                  </a:lnTo>
                  <a:lnTo>
                    <a:pt x="75649" y="748048"/>
                  </a:lnTo>
                  <a:lnTo>
                    <a:pt x="98076" y="717685"/>
                  </a:lnTo>
                  <a:close/>
                  <a:moveTo>
                    <a:pt x="67851" y="707564"/>
                  </a:moveTo>
                  <a:lnTo>
                    <a:pt x="45147" y="717685"/>
                  </a:lnTo>
                  <a:lnTo>
                    <a:pt x="67547" y="748048"/>
                  </a:lnTo>
                  <a:lnTo>
                    <a:pt x="67851" y="748048"/>
                  </a:lnTo>
                  <a:close/>
                  <a:moveTo>
                    <a:pt x="543017" y="706872"/>
                  </a:moveTo>
                  <a:lnTo>
                    <a:pt x="543017" y="748020"/>
                  </a:lnTo>
                  <a:lnTo>
                    <a:pt x="565858" y="748020"/>
                  </a:lnTo>
                  <a:close/>
                  <a:moveTo>
                    <a:pt x="1135820" y="706845"/>
                  </a:moveTo>
                  <a:lnTo>
                    <a:pt x="1112978" y="747993"/>
                  </a:lnTo>
                  <a:lnTo>
                    <a:pt x="1135820" y="747993"/>
                  </a:lnTo>
                  <a:close/>
                  <a:moveTo>
                    <a:pt x="367999" y="706845"/>
                  </a:moveTo>
                  <a:lnTo>
                    <a:pt x="345158" y="747993"/>
                  </a:lnTo>
                  <a:lnTo>
                    <a:pt x="367999" y="747993"/>
                  </a:lnTo>
                  <a:close/>
                  <a:moveTo>
                    <a:pt x="1194666" y="706070"/>
                  </a:moveTo>
                  <a:lnTo>
                    <a:pt x="1194970" y="748020"/>
                  </a:lnTo>
                  <a:lnTo>
                    <a:pt x="1215516" y="748020"/>
                  </a:lnTo>
                  <a:close/>
                  <a:moveTo>
                    <a:pt x="484143" y="706070"/>
                  </a:moveTo>
                  <a:lnTo>
                    <a:pt x="463292" y="748020"/>
                  </a:lnTo>
                  <a:lnTo>
                    <a:pt x="483839" y="748020"/>
                  </a:lnTo>
                  <a:close/>
                  <a:moveTo>
                    <a:pt x="426873" y="706070"/>
                  </a:moveTo>
                  <a:lnTo>
                    <a:pt x="427150" y="748020"/>
                  </a:lnTo>
                  <a:lnTo>
                    <a:pt x="427177" y="748020"/>
                  </a:lnTo>
                  <a:lnTo>
                    <a:pt x="447724" y="748020"/>
                  </a:lnTo>
                  <a:close/>
                  <a:moveTo>
                    <a:pt x="601531" y="705932"/>
                  </a:moveTo>
                  <a:lnTo>
                    <a:pt x="601807" y="748048"/>
                  </a:lnTo>
                  <a:lnTo>
                    <a:pt x="623709" y="748048"/>
                  </a:lnTo>
                  <a:close/>
                  <a:moveTo>
                    <a:pt x="1077278" y="705904"/>
                  </a:moveTo>
                  <a:lnTo>
                    <a:pt x="1055100" y="748020"/>
                  </a:lnTo>
                  <a:lnTo>
                    <a:pt x="1077001" y="748020"/>
                  </a:lnTo>
                  <a:close/>
                  <a:moveTo>
                    <a:pt x="309485" y="705904"/>
                  </a:moveTo>
                  <a:lnTo>
                    <a:pt x="287307" y="748020"/>
                  </a:lnTo>
                  <a:lnTo>
                    <a:pt x="309208" y="748020"/>
                  </a:lnTo>
                  <a:close/>
                  <a:moveTo>
                    <a:pt x="540749" y="705407"/>
                  </a:moveTo>
                  <a:lnTo>
                    <a:pt x="516635" y="748020"/>
                  </a:lnTo>
                  <a:lnTo>
                    <a:pt x="540749" y="748020"/>
                  </a:lnTo>
                  <a:close/>
                  <a:moveTo>
                    <a:pt x="1138087" y="705379"/>
                  </a:moveTo>
                  <a:lnTo>
                    <a:pt x="1138087" y="747993"/>
                  </a:lnTo>
                  <a:lnTo>
                    <a:pt x="1162201" y="747993"/>
                  </a:lnTo>
                  <a:close/>
                  <a:moveTo>
                    <a:pt x="370267" y="705379"/>
                  </a:moveTo>
                  <a:lnTo>
                    <a:pt x="370267" y="747993"/>
                  </a:lnTo>
                  <a:lnTo>
                    <a:pt x="394353" y="747993"/>
                  </a:lnTo>
                  <a:close/>
                  <a:moveTo>
                    <a:pt x="630871" y="704854"/>
                  </a:moveTo>
                  <a:lnTo>
                    <a:pt x="630871" y="748048"/>
                  </a:lnTo>
                  <a:lnTo>
                    <a:pt x="654183" y="748048"/>
                  </a:lnTo>
                  <a:close/>
                  <a:moveTo>
                    <a:pt x="1047938" y="704826"/>
                  </a:moveTo>
                  <a:lnTo>
                    <a:pt x="1024626" y="748020"/>
                  </a:lnTo>
                  <a:lnTo>
                    <a:pt x="1047938" y="748020"/>
                  </a:lnTo>
                  <a:close/>
                  <a:moveTo>
                    <a:pt x="280117" y="704826"/>
                  </a:moveTo>
                  <a:lnTo>
                    <a:pt x="256805" y="748020"/>
                  </a:lnTo>
                  <a:lnTo>
                    <a:pt x="280117" y="748020"/>
                  </a:lnTo>
                  <a:close/>
                  <a:moveTo>
                    <a:pt x="599236" y="703554"/>
                  </a:moveTo>
                  <a:lnTo>
                    <a:pt x="575813" y="748048"/>
                  </a:lnTo>
                  <a:lnTo>
                    <a:pt x="599540" y="748048"/>
                  </a:lnTo>
                  <a:close/>
                  <a:moveTo>
                    <a:pt x="1079573" y="703526"/>
                  </a:moveTo>
                  <a:lnTo>
                    <a:pt x="1079269" y="748020"/>
                  </a:lnTo>
                  <a:lnTo>
                    <a:pt x="1102995" y="748020"/>
                  </a:lnTo>
                  <a:close/>
                  <a:moveTo>
                    <a:pt x="311780" y="703526"/>
                  </a:moveTo>
                  <a:lnTo>
                    <a:pt x="311476" y="748020"/>
                  </a:lnTo>
                  <a:lnTo>
                    <a:pt x="335202" y="748020"/>
                  </a:lnTo>
                  <a:close/>
                  <a:moveTo>
                    <a:pt x="511298" y="700318"/>
                  </a:moveTo>
                  <a:cubicBezTo>
                    <a:pt x="503362" y="700401"/>
                    <a:pt x="495259" y="700429"/>
                    <a:pt x="486964" y="700429"/>
                  </a:cubicBezTo>
                  <a:lnTo>
                    <a:pt x="510386" y="745200"/>
                  </a:lnTo>
                  <a:lnTo>
                    <a:pt x="510386" y="745227"/>
                  </a:lnTo>
                  <a:close/>
                  <a:moveTo>
                    <a:pt x="399690" y="700291"/>
                  </a:moveTo>
                  <a:lnTo>
                    <a:pt x="400630" y="745172"/>
                  </a:lnTo>
                  <a:lnTo>
                    <a:pt x="424025" y="700401"/>
                  </a:lnTo>
                  <a:close/>
                  <a:moveTo>
                    <a:pt x="1167538" y="700263"/>
                  </a:moveTo>
                  <a:lnTo>
                    <a:pt x="1167510" y="700291"/>
                  </a:lnTo>
                  <a:lnTo>
                    <a:pt x="1167538" y="700291"/>
                  </a:lnTo>
                  <a:lnTo>
                    <a:pt x="1168451" y="745172"/>
                  </a:lnTo>
                  <a:lnTo>
                    <a:pt x="1191845" y="700401"/>
                  </a:lnTo>
                  <a:lnTo>
                    <a:pt x="1167538" y="700291"/>
                  </a:lnTo>
                  <a:close/>
                  <a:moveTo>
                    <a:pt x="457789" y="700263"/>
                  </a:moveTo>
                  <a:lnTo>
                    <a:pt x="457789" y="748020"/>
                  </a:lnTo>
                  <a:lnTo>
                    <a:pt x="458149" y="748020"/>
                  </a:lnTo>
                  <a:lnTo>
                    <a:pt x="481792" y="700401"/>
                  </a:lnTo>
                  <a:cubicBezTo>
                    <a:pt x="473911" y="700401"/>
                    <a:pt x="465864" y="700346"/>
                    <a:pt x="457789" y="700263"/>
                  </a:cubicBezTo>
                  <a:close/>
                  <a:moveTo>
                    <a:pt x="453199" y="700263"/>
                  </a:moveTo>
                  <a:cubicBezTo>
                    <a:pt x="445124" y="700346"/>
                    <a:pt x="437077" y="700401"/>
                    <a:pt x="429196" y="700401"/>
                  </a:cubicBezTo>
                  <a:lnTo>
                    <a:pt x="452839" y="748020"/>
                  </a:lnTo>
                  <a:lnTo>
                    <a:pt x="453199" y="748020"/>
                  </a:lnTo>
                  <a:close/>
                  <a:moveTo>
                    <a:pt x="1140272" y="699848"/>
                  </a:moveTo>
                  <a:lnTo>
                    <a:pt x="1166183" y="745670"/>
                  </a:lnTo>
                  <a:lnTo>
                    <a:pt x="1165243" y="700263"/>
                  </a:lnTo>
                  <a:cubicBezTo>
                    <a:pt x="1156725" y="700152"/>
                    <a:pt x="1148402" y="700042"/>
                    <a:pt x="1140272" y="699848"/>
                  </a:cubicBezTo>
                  <a:close/>
                  <a:moveTo>
                    <a:pt x="538537" y="699848"/>
                  </a:moveTo>
                  <a:cubicBezTo>
                    <a:pt x="530434" y="700042"/>
                    <a:pt x="522111" y="700180"/>
                    <a:pt x="513566" y="700263"/>
                  </a:cubicBezTo>
                  <a:lnTo>
                    <a:pt x="512626" y="745670"/>
                  </a:lnTo>
                  <a:close/>
                  <a:moveTo>
                    <a:pt x="372424" y="699848"/>
                  </a:moveTo>
                  <a:lnTo>
                    <a:pt x="398363" y="745670"/>
                  </a:lnTo>
                  <a:lnTo>
                    <a:pt x="397422" y="700263"/>
                  </a:lnTo>
                  <a:cubicBezTo>
                    <a:pt x="388905" y="700152"/>
                    <a:pt x="380581" y="700042"/>
                    <a:pt x="372451" y="699848"/>
                  </a:cubicBezTo>
                  <a:close/>
                  <a:moveTo>
                    <a:pt x="570504" y="698936"/>
                  </a:moveTo>
                  <a:cubicBezTo>
                    <a:pt x="562042" y="699240"/>
                    <a:pt x="553331" y="699516"/>
                    <a:pt x="544344" y="699738"/>
                  </a:cubicBezTo>
                  <a:lnTo>
                    <a:pt x="570172" y="746256"/>
                  </a:lnTo>
                  <a:lnTo>
                    <a:pt x="570172" y="746306"/>
                  </a:lnTo>
                  <a:lnTo>
                    <a:pt x="570200" y="746306"/>
                  </a:lnTo>
                  <a:lnTo>
                    <a:pt x="570172" y="746256"/>
                  </a:lnTo>
                  <a:close/>
                  <a:moveTo>
                    <a:pt x="1108305" y="698908"/>
                  </a:moveTo>
                  <a:lnTo>
                    <a:pt x="1108637" y="746278"/>
                  </a:lnTo>
                  <a:lnTo>
                    <a:pt x="1134465" y="699710"/>
                  </a:lnTo>
                  <a:cubicBezTo>
                    <a:pt x="1125477" y="699489"/>
                    <a:pt x="1116767" y="699212"/>
                    <a:pt x="1108305" y="698908"/>
                  </a:cubicBezTo>
                  <a:close/>
                  <a:moveTo>
                    <a:pt x="340484" y="698908"/>
                  </a:moveTo>
                  <a:lnTo>
                    <a:pt x="340816" y="746278"/>
                  </a:lnTo>
                  <a:lnTo>
                    <a:pt x="366644" y="699710"/>
                  </a:lnTo>
                  <a:cubicBezTo>
                    <a:pt x="357685" y="699489"/>
                    <a:pt x="348946" y="699212"/>
                    <a:pt x="340484" y="698908"/>
                  </a:cubicBezTo>
                  <a:close/>
                  <a:moveTo>
                    <a:pt x="989783" y="698272"/>
                  </a:moveTo>
                  <a:lnTo>
                    <a:pt x="964508" y="748048"/>
                  </a:lnTo>
                  <a:lnTo>
                    <a:pt x="989202" y="748048"/>
                  </a:lnTo>
                  <a:close/>
                  <a:moveTo>
                    <a:pt x="689054" y="698272"/>
                  </a:moveTo>
                  <a:lnTo>
                    <a:pt x="689634" y="748048"/>
                  </a:lnTo>
                  <a:lnTo>
                    <a:pt x="714329" y="748048"/>
                  </a:lnTo>
                  <a:close/>
                  <a:moveTo>
                    <a:pt x="221962" y="698272"/>
                  </a:moveTo>
                  <a:lnTo>
                    <a:pt x="196687" y="748048"/>
                  </a:lnTo>
                  <a:lnTo>
                    <a:pt x="221354" y="748048"/>
                  </a:lnTo>
                  <a:close/>
                  <a:moveTo>
                    <a:pt x="597079" y="697747"/>
                  </a:moveTo>
                  <a:cubicBezTo>
                    <a:pt x="589253" y="698161"/>
                    <a:pt x="581150" y="698521"/>
                    <a:pt x="572799" y="698853"/>
                  </a:cubicBezTo>
                  <a:lnTo>
                    <a:pt x="572495" y="744453"/>
                  </a:lnTo>
                  <a:close/>
                  <a:moveTo>
                    <a:pt x="1081757" y="697719"/>
                  </a:moveTo>
                  <a:lnTo>
                    <a:pt x="1106341" y="744425"/>
                  </a:lnTo>
                  <a:lnTo>
                    <a:pt x="1106037" y="698825"/>
                  </a:lnTo>
                  <a:cubicBezTo>
                    <a:pt x="1097686" y="698493"/>
                    <a:pt x="1089583" y="698134"/>
                    <a:pt x="1081757" y="697719"/>
                  </a:cubicBezTo>
                  <a:close/>
                  <a:moveTo>
                    <a:pt x="313937" y="697719"/>
                  </a:moveTo>
                  <a:lnTo>
                    <a:pt x="338549" y="744425"/>
                  </a:lnTo>
                  <a:lnTo>
                    <a:pt x="338217" y="698825"/>
                  </a:lnTo>
                  <a:cubicBezTo>
                    <a:pt x="329865" y="698493"/>
                    <a:pt x="321791" y="698134"/>
                    <a:pt x="313937" y="697719"/>
                  </a:cubicBezTo>
                  <a:close/>
                  <a:moveTo>
                    <a:pt x="992050" y="697276"/>
                  </a:moveTo>
                  <a:lnTo>
                    <a:pt x="991442" y="748048"/>
                  </a:lnTo>
                  <a:lnTo>
                    <a:pt x="1015168" y="748048"/>
                  </a:lnTo>
                  <a:close/>
                  <a:moveTo>
                    <a:pt x="686758" y="697276"/>
                  </a:moveTo>
                  <a:lnTo>
                    <a:pt x="663668" y="748048"/>
                  </a:lnTo>
                  <a:lnTo>
                    <a:pt x="687367" y="748048"/>
                  </a:lnTo>
                  <a:close/>
                  <a:moveTo>
                    <a:pt x="224258" y="697276"/>
                  </a:moveTo>
                  <a:lnTo>
                    <a:pt x="223649" y="748048"/>
                  </a:lnTo>
                  <a:lnTo>
                    <a:pt x="223677" y="748048"/>
                  </a:lnTo>
                  <a:lnTo>
                    <a:pt x="247376" y="748048"/>
                  </a:lnTo>
                  <a:close/>
                  <a:moveTo>
                    <a:pt x="626364" y="695949"/>
                  </a:moveTo>
                  <a:cubicBezTo>
                    <a:pt x="618621" y="696502"/>
                    <a:pt x="610601" y="697000"/>
                    <a:pt x="602305" y="697470"/>
                  </a:cubicBezTo>
                  <a:lnTo>
                    <a:pt x="626364" y="743126"/>
                  </a:lnTo>
                  <a:close/>
                  <a:moveTo>
                    <a:pt x="1052473" y="695922"/>
                  </a:moveTo>
                  <a:lnTo>
                    <a:pt x="1052473" y="743098"/>
                  </a:lnTo>
                  <a:lnTo>
                    <a:pt x="1076531" y="697442"/>
                  </a:lnTo>
                  <a:cubicBezTo>
                    <a:pt x="1068235" y="696972"/>
                    <a:pt x="1060216" y="696475"/>
                    <a:pt x="1052473" y="695922"/>
                  </a:cubicBezTo>
                  <a:close/>
                  <a:moveTo>
                    <a:pt x="284652" y="695922"/>
                  </a:moveTo>
                  <a:lnTo>
                    <a:pt x="284652" y="743098"/>
                  </a:lnTo>
                  <a:lnTo>
                    <a:pt x="308711" y="697442"/>
                  </a:lnTo>
                  <a:cubicBezTo>
                    <a:pt x="300415" y="696972"/>
                    <a:pt x="292395" y="696475"/>
                    <a:pt x="284652" y="695922"/>
                  </a:cubicBezTo>
                  <a:close/>
                  <a:moveTo>
                    <a:pt x="658801" y="693239"/>
                  </a:moveTo>
                  <a:cubicBezTo>
                    <a:pt x="649979" y="694096"/>
                    <a:pt x="640771" y="694871"/>
                    <a:pt x="631120" y="695590"/>
                  </a:cubicBezTo>
                  <a:lnTo>
                    <a:pt x="658441" y="746195"/>
                  </a:lnTo>
                  <a:close/>
                  <a:moveTo>
                    <a:pt x="1020008" y="693211"/>
                  </a:moveTo>
                  <a:lnTo>
                    <a:pt x="1020367" y="746167"/>
                  </a:lnTo>
                  <a:lnTo>
                    <a:pt x="1047689" y="695562"/>
                  </a:lnTo>
                  <a:cubicBezTo>
                    <a:pt x="1038038" y="694843"/>
                    <a:pt x="1028829" y="694069"/>
                    <a:pt x="1020008" y="693211"/>
                  </a:cubicBezTo>
                  <a:close/>
                  <a:moveTo>
                    <a:pt x="252187" y="693211"/>
                  </a:moveTo>
                  <a:lnTo>
                    <a:pt x="252215" y="693214"/>
                  </a:lnTo>
                  <a:lnTo>
                    <a:pt x="252574" y="746167"/>
                  </a:lnTo>
                  <a:lnTo>
                    <a:pt x="279868" y="695562"/>
                  </a:lnTo>
                  <a:lnTo>
                    <a:pt x="252215" y="693214"/>
                  </a:lnTo>
                  <a:lnTo>
                    <a:pt x="252215" y="693211"/>
                  </a:lnTo>
                  <a:close/>
                  <a:moveTo>
                    <a:pt x="684795" y="690446"/>
                  </a:moveTo>
                  <a:cubicBezTo>
                    <a:pt x="676914" y="691386"/>
                    <a:pt x="668618" y="692271"/>
                    <a:pt x="659935" y="693128"/>
                  </a:cubicBezTo>
                  <a:lnTo>
                    <a:pt x="659907" y="693156"/>
                  </a:lnTo>
                  <a:lnTo>
                    <a:pt x="661041" y="693156"/>
                  </a:lnTo>
                  <a:lnTo>
                    <a:pt x="660709" y="743402"/>
                  </a:lnTo>
                  <a:close/>
                  <a:moveTo>
                    <a:pt x="993986" y="690418"/>
                  </a:moveTo>
                  <a:lnTo>
                    <a:pt x="1018044" y="743313"/>
                  </a:lnTo>
                  <a:lnTo>
                    <a:pt x="1018044" y="743347"/>
                  </a:lnTo>
                  <a:lnTo>
                    <a:pt x="1018072" y="743375"/>
                  </a:lnTo>
                  <a:lnTo>
                    <a:pt x="1018044" y="743313"/>
                  </a:lnTo>
                  <a:lnTo>
                    <a:pt x="1017992" y="735496"/>
                  </a:lnTo>
                  <a:cubicBezTo>
                    <a:pt x="1017899" y="721364"/>
                    <a:pt x="1017713" y="693101"/>
                    <a:pt x="1017713" y="693101"/>
                  </a:cubicBezTo>
                  <a:lnTo>
                    <a:pt x="1018846" y="693101"/>
                  </a:lnTo>
                  <a:cubicBezTo>
                    <a:pt x="1010163" y="692271"/>
                    <a:pt x="1001895" y="691359"/>
                    <a:pt x="993986" y="690418"/>
                  </a:cubicBezTo>
                  <a:close/>
                  <a:moveTo>
                    <a:pt x="226193" y="690418"/>
                  </a:moveTo>
                  <a:lnTo>
                    <a:pt x="250279" y="743375"/>
                  </a:lnTo>
                  <a:lnTo>
                    <a:pt x="250279" y="743347"/>
                  </a:lnTo>
                  <a:cubicBezTo>
                    <a:pt x="250279" y="743347"/>
                    <a:pt x="249947" y="693101"/>
                    <a:pt x="249947" y="693101"/>
                  </a:cubicBezTo>
                  <a:lnTo>
                    <a:pt x="251081" y="693101"/>
                  </a:lnTo>
                  <a:cubicBezTo>
                    <a:pt x="242398" y="692271"/>
                    <a:pt x="234102" y="691359"/>
                    <a:pt x="226193" y="690418"/>
                  </a:cubicBezTo>
                  <a:close/>
                  <a:moveTo>
                    <a:pt x="960747" y="685856"/>
                  </a:moveTo>
                  <a:lnTo>
                    <a:pt x="960830" y="745089"/>
                  </a:lnTo>
                  <a:lnTo>
                    <a:pt x="988898" y="689810"/>
                  </a:lnTo>
                  <a:cubicBezTo>
                    <a:pt x="978887" y="688566"/>
                    <a:pt x="969541" y="687238"/>
                    <a:pt x="960747" y="685856"/>
                  </a:cubicBezTo>
                  <a:close/>
                  <a:moveTo>
                    <a:pt x="718089" y="685856"/>
                  </a:moveTo>
                  <a:cubicBezTo>
                    <a:pt x="709323" y="687238"/>
                    <a:pt x="699949" y="688566"/>
                    <a:pt x="689938" y="689810"/>
                  </a:cubicBezTo>
                  <a:lnTo>
                    <a:pt x="718007" y="745089"/>
                  </a:lnTo>
                  <a:close/>
                  <a:moveTo>
                    <a:pt x="192926" y="685856"/>
                  </a:moveTo>
                  <a:lnTo>
                    <a:pt x="193009" y="745089"/>
                  </a:lnTo>
                  <a:lnTo>
                    <a:pt x="221077" y="689810"/>
                  </a:lnTo>
                  <a:cubicBezTo>
                    <a:pt x="211067" y="688566"/>
                    <a:pt x="201720" y="687238"/>
                    <a:pt x="192926" y="685856"/>
                  </a:cubicBezTo>
                  <a:close/>
                  <a:moveTo>
                    <a:pt x="752711" y="679551"/>
                  </a:moveTo>
                  <a:cubicBezTo>
                    <a:pt x="742646" y="681680"/>
                    <a:pt x="731529" y="683754"/>
                    <a:pt x="719223" y="685690"/>
                  </a:cubicBezTo>
                  <a:lnTo>
                    <a:pt x="720357" y="685690"/>
                  </a:lnTo>
                  <a:lnTo>
                    <a:pt x="720274" y="746942"/>
                  </a:lnTo>
                  <a:lnTo>
                    <a:pt x="752960" y="702918"/>
                  </a:lnTo>
                  <a:close/>
                  <a:moveTo>
                    <a:pt x="926097" y="679523"/>
                  </a:moveTo>
                  <a:lnTo>
                    <a:pt x="925876" y="702890"/>
                  </a:lnTo>
                  <a:lnTo>
                    <a:pt x="958535" y="746878"/>
                  </a:lnTo>
                  <a:lnTo>
                    <a:pt x="958535" y="746914"/>
                  </a:lnTo>
                  <a:lnTo>
                    <a:pt x="958562" y="746914"/>
                  </a:lnTo>
                  <a:lnTo>
                    <a:pt x="958535" y="746878"/>
                  </a:lnTo>
                  <a:lnTo>
                    <a:pt x="958452" y="685662"/>
                  </a:lnTo>
                  <a:lnTo>
                    <a:pt x="959585" y="685662"/>
                  </a:lnTo>
                  <a:cubicBezTo>
                    <a:pt x="947307" y="683699"/>
                    <a:pt x="936163" y="681652"/>
                    <a:pt x="926097" y="679523"/>
                  </a:cubicBezTo>
                  <a:close/>
                  <a:moveTo>
                    <a:pt x="158305" y="679523"/>
                  </a:moveTo>
                  <a:lnTo>
                    <a:pt x="158056" y="702890"/>
                  </a:lnTo>
                  <a:lnTo>
                    <a:pt x="190714" y="746876"/>
                  </a:lnTo>
                  <a:lnTo>
                    <a:pt x="190714" y="746914"/>
                  </a:lnTo>
                  <a:lnTo>
                    <a:pt x="190742" y="746914"/>
                  </a:lnTo>
                  <a:lnTo>
                    <a:pt x="190714" y="746876"/>
                  </a:lnTo>
                  <a:lnTo>
                    <a:pt x="190631" y="685662"/>
                  </a:lnTo>
                  <a:lnTo>
                    <a:pt x="191793" y="685662"/>
                  </a:lnTo>
                  <a:cubicBezTo>
                    <a:pt x="179487" y="683699"/>
                    <a:pt x="168370" y="681652"/>
                    <a:pt x="158305" y="679523"/>
                  </a:cubicBezTo>
                  <a:close/>
                  <a:moveTo>
                    <a:pt x="900159" y="679191"/>
                  </a:moveTo>
                  <a:lnTo>
                    <a:pt x="871040" y="718625"/>
                  </a:lnTo>
                  <a:lnTo>
                    <a:pt x="871952" y="717906"/>
                  </a:lnTo>
                  <a:lnTo>
                    <a:pt x="891254" y="748048"/>
                  </a:lnTo>
                  <a:lnTo>
                    <a:pt x="899052" y="748048"/>
                  </a:lnTo>
                  <a:lnTo>
                    <a:pt x="899080" y="748048"/>
                  </a:lnTo>
                  <a:close/>
                  <a:moveTo>
                    <a:pt x="778733" y="679191"/>
                  </a:moveTo>
                  <a:lnTo>
                    <a:pt x="779784" y="748048"/>
                  </a:lnTo>
                  <a:lnTo>
                    <a:pt x="779812" y="748048"/>
                  </a:lnTo>
                  <a:lnTo>
                    <a:pt x="787610" y="748048"/>
                  </a:lnTo>
                  <a:lnTo>
                    <a:pt x="806939" y="717906"/>
                  </a:lnTo>
                  <a:lnTo>
                    <a:pt x="807852" y="718625"/>
                  </a:lnTo>
                  <a:close/>
                  <a:moveTo>
                    <a:pt x="132338" y="679191"/>
                  </a:moveTo>
                  <a:lnTo>
                    <a:pt x="103247" y="718625"/>
                  </a:lnTo>
                  <a:lnTo>
                    <a:pt x="104159" y="717906"/>
                  </a:lnTo>
                  <a:lnTo>
                    <a:pt x="123461" y="748048"/>
                  </a:lnTo>
                  <a:lnTo>
                    <a:pt x="131260" y="748048"/>
                  </a:lnTo>
                  <a:lnTo>
                    <a:pt x="131287" y="748048"/>
                  </a:lnTo>
                  <a:close/>
                  <a:moveTo>
                    <a:pt x="10913" y="679191"/>
                  </a:moveTo>
                  <a:lnTo>
                    <a:pt x="11991" y="748048"/>
                  </a:lnTo>
                  <a:lnTo>
                    <a:pt x="12019" y="748048"/>
                  </a:lnTo>
                  <a:lnTo>
                    <a:pt x="19817" y="748048"/>
                  </a:lnTo>
                  <a:lnTo>
                    <a:pt x="39119" y="717906"/>
                  </a:lnTo>
                  <a:lnTo>
                    <a:pt x="40032" y="718625"/>
                  </a:lnTo>
                  <a:close/>
                  <a:moveTo>
                    <a:pt x="776493" y="679136"/>
                  </a:moveTo>
                  <a:lnTo>
                    <a:pt x="755283" y="707674"/>
                  </a:lnTo>
                  <a:lnTo>
                    <a:pt x="755670" y="748048"/>
                  </a:lnTo>
                  <a:lnTo>
                    <a:pt x="755670" y="748076"/>
                  </a:lnTo>
                  <a:lnTo>
                    <a:pt x="777544" y="748076"/>
                  </a:lnTo>
                  <a:close/>
                  <a:moveTo>
                    <a:pt x="902371" y="679108"/>
                  </a:moveTo>
                  <a:lnTo>
                    <a:pt x="901320" y="748048"/>
                  </a:lnTo>
                  <a:lnTo>
                    <a:pt x="923166" y="748048"/>
                  </a:lnTo>
                  <a:lnTo>
                    <a:pt x="923166" y="748020"/>
                  </a:lnTo>
                  <a:lnTo>
                    <a:pt x="923553" y="707646"/>
                  </a:lnTo>
                  <a:close/>
                  <a:moveTo>
                    <a:pt x="134578" y="679108"/>
                  </a:moveTo>
                  <a:lnTo>
                    <a:pt x="133527" y="748048"/>
                  </a:lnTo>
                  <a:lnTo>
                    <a:pt x="155373" y="748048"/>
                  </a:lnTo>
                  <a:lnTo>
                    <a:pt x="155373" y="748020"/>
                  </a:lnTo>
                  <a:lnTo>
                    <a:pt x="155788" y="707646"/>
                  </a:lnTo>
                  <a:close/>
                  <a:moveTo>
                    <a:pt x="904860" y="674628"/>
                  </a:moveTo>
                  <a:lnTo>
                    <a:pt x="923636" y="699904"/>
                  </a:lnTo>
                  <a:lnTo>
                    <a:pt x="923636" y="699931"/>
                  </a:lnTo>
                  <a:lnTo>
                    <a:pt x="923830" y="679081"/>
                  </a:lnTo>
                  <a:cubicBezTo>
                    <a:pt x="917027" y="677615"/>
                    <a:pt x="910694" y="676122"/>
                    <a:pt x="904860" y="674628"/>
                  </a:cubicBezTo>
                  <a:close/>
                  <a:moveTo>
                    <a:pt x="137067" y="674628"/>
                  </a:moveTo>
                  <a:lnTo>
                    <a:pt x="155843" y="699904"/>
                  </a:lnTo>
                  <a:lnTo>
                    <a:pt x="155843" y="699931"/>
                  </a:lnTo>
                  <a:lnTo>
                    <a:pt x="156037" y="679081"/>
                  </a:lnTo>
                  <a:cubicBezTo>
                    <a:pt x="149234" y="677615"/>
                    <a:pt x="142902" y="676122"/>
                    <a:pt x="137067" y="674628"/>
                  </a:cubicBezTo>
                  <a:close/>
                  <a:moveTo>
                    <a:pt x="773949" y="674601"/>
                  </a:moveTo>
                  <a:lnTo>
                    <a:pt x="754979" y="679053"/>
                  </a:lnTo>
                  <a:lnTo>
                    <a:pt x="755173" y="699876"/>
                  </a:lnTo>
                  <a:close/>
                  <a:moveTo>
                    <a:pt x="870293" y="663927"/>
                  </a:moveTo>
                  <a:lnTo>
                    <a:pt x="869325" y="713066"/>
                  </a:lnTo>
                  <a:lnTo>
                    <a:pt x="898859" y="673052"/>
                  </a:lnTo>
                  <a:cubicBezTo>
                    <a:pt x="887521" y="669955"/>
                    <a:pt x="878091" y="666858"/>
                    <a:pt x="870293" y="663927"/>
                  </a:cubicBezTo>
                  <a:close/>
                  <a:moveTo>
                    <a:pt x="102473" y="663927"/>
                  </a:moveTo>
                  <a:lnTo>
                    <a:pt x="101505" y="713066"/>
                  </a:lnTo>
                  <a:lnTo>
                    <a:pt x="131038" y="673052"/>
                  </a:lnTo>
                  <a:cubicBezTo>
                    <a:pt x="119701" y="669955"/>
                    <a:pt x="110271" y="666858"/>
                    <a:pt x="102473" y="663927"/>
                  </a:cubicBezTo>
                  <a:close/>
                  <a:moveTo>
                    <a:pt x="808543" y="663899"/>
                  </a:moveTo>
                  <a:cubicBezTo>
                    <a:pt x="800745" y="666858"/>
                    <a:pt x="791315" y="669927"/>
                    <a:pt x="779978" y="673025"/>
                  </a:cubicBezTo>
                  <a:lnTo>
                    <a:pt x="809511" y="713039"/>
                  </a:lnTo>
                  <a:close/>
                  <a:moveTo>
                    <a:pt x="40723" y="663899"/>
                  </a:moveTo>
                  <a:cubicBezTo>
                    <a:pt x="32925" y="666858"/>
                    <a:pt x="23495" y="669927"/>
                    <a:pt x="12157" y="673025"/>
                  </a:cubicBezTo>
                  <a:lnTo>
                    <a:pt x="41691" y="713039"/>
                  </a:lnTo>
                  <a:close/>
                  <a:moveTo>
                    <a:pt x="843193" y="650957"/>
                  </a:moveTo>
                  <a:lnTo>
                    <a:pt x="843193" y="704881"/>
                  </a:lnTo>
                  <a:lnTo>
                    <a:pt x="867002" y="715500"/>
                  </a:lnTo>
                  <a:lnTo>
                    <a:pt x="868025" y="663042"/>
                  </a:lnTo>
                  <a:cubicBezTo>
                    <a:pt x="856107" y="658396"/>
                    <a:pt x="848226" y="654165"/>
                    <a:pt x="843193" y="650957"/>
                  </a:cubicBezTo>
                  <a:close/>
                  <a:moveTo>
                    <a:pt x="835643" y="650957"/>
                  </a:moveTo>
                  <a:cubicBezTo>
                    <a:pt x="830638" y="654165"/>
                    <a:pt x="822757" y="658396"/>
                    <a:pt x="810811" y="663042"/>
                  </a:cubicBezTo>
                  <a:lnTo>
                    <a:pt x="811834" y="715500"/>
                  </a:lnTo>
                  <a:lnTo>
                    <a:pt x="835643" y="704881"/>
                  </a:lnTo>
                  <a:close/>
                  <a:moveTo>
                    <a:pt x="75400" y="650957"/>
                  </a:moveTo>
                  <a:lnTo>
                    <a:pt x="75400" y="704881"/>
                  </a:lnTo>
                  <a:lnTo>
                    <a:pt x="99210" y="715500"/>
                  </a:lnTo>
                  <a:lnTo>
                    <a:pt x="100233" y="663042"/>
                  </a:lnTo>
                  <a:cubicBezTo>
                    <a:pt x="88314" y="658396"/>
                    <a:pt x="80433" y="654165"/>
                    <a:pt x="75400" y="650957"/>
                  </a:cubicBezTo>
                  <a:close/>
                  <a:moveTo>
                    <a:pt x="67878" y="650957"/>
                  </a:moveTo>
                  <a:cubicBezTo>
                    <a:pt x="62845" y="654165"/>
                    <a:pt x="54964" y="658396"/>
                    <a:pt x="43018" y="663042"/>
                  </a:cubicBezTo>
                  <a:lnTo>
                    <a:pt x="44041" y="715500"/>
                  </a:lnTo>
                  <a:lnTo>
                    <a:pt x="67851" y="704881"/>
                  </a:lnTo>
                  <a:lnTo>
                    <a:pt x="67878" y="704881"/>
                  </a:lnTo>
                  <a:close/>
                  <a:moveTo>
                    <a:pt x="2635484" y="605412"/>
                  </a:moveTo>
                  <a:lnTo>
                    <a:pt x="2633161" y="613625"/>
                  </a:lnTo>
                  <a:lnTo>
                    <a:pt x="2637779" y="613625"/>
                  </a:lnTo>
                  <a:close/>
                  <a:moveTo>
                    <a:pt x="2668087" y="604472"/>
                  </a:moveTo>
                  <a:lnTo>
                    <a:pt x="2665073" y="613625"/>
                  </a:lnTo>
                  <a:lnTo>
                    <a:pt x="2671129" y="613625"/>
                  </a:lnTo>
                  <a:close/>
                  <a:moveTo>
                    <a:pt x="2603544" y="603919"/>
                  </a:moveTo>
                  <a:lnTo>
                    <a:pt x="2599977" y="613625"/>
                  </a:lnTo>
                  <a:lnTo>
                    <a:pt x="2607111" y="613625"/>
                  </a:lnTo>
                  <a:close/>
                  <a:moveTo>
                    <a:pt x="2587450" y="602730"/>
                  </a:moveTo>
                  <a:lnTo>
                    <a:pt x="2582113" y="613625"/>
                  </a:lnTo>
                  <a:lnTo>
                    <a:pt x="2592787" y="613625"/>
                  </a:lnTo>
                  <a:close/>
                  <a:moveTo>
                    <a:pt x="2620413" y="602536"/>
                  </a:moveTo>
                  <a:lnTo>
                    <a:pt x="2614633" y="613625"/>
                  </a:lnTo>
                  <a:lnTo>
                    <a:pt x="2614661" y="613625"/>
                  </a:lnTo>
                  <a:lnTo>
                    <a:pt x="2626192" y="613625"/>
                  </a:lnTo>
                  <a:close/>
                  <a:moveTo>
                    <a:pt x="2651412" y="602315"/>
                  </a:moveTo>
                  <a:lnTo>
                    <a:pt x="2645107" y="613625"/>
                  </a:lnTo>
                  <a:lnTo>
                    <a:pt x="2645135" y="613625"/>
                  </a:lnTo>
                  <a:lnTo>
                    <a:pt x="2657717" y="613625"/>
                  </a:lnTo>
                  <a:close/>
                  <a:moveTo>
                    <a:pt x="2580039" y="587631"/>
                  </a:moveTo>
                  <a:lnTo>
                    <a:pt x="2580039" y="609201"/>
                  </a:lnTo>
                  <a:lnTo>
                    <a:pt x="2585320" y="598416"/>
                  </a:lnTo>
                  <a:close/>
                  <a:moveTo>
                    <a:pt x="2673756" y="587410"/>
                  </a:moveTo>
                  <a:lnTo>
                    <a:pt x="2670105" y="598416"/>
                  </a:lnTo>
                  <a:lnTo>
                    <a:pt x="2673756" y="609422"/>
                  </a:lnTo>
                  <a:close/>
                  <a:moveTo>
                    <a:pt x="2629649" y="584755"/>
                  </a:moveTo>
                  <a:lnTo>
                    <a:pt x="2622542" y="598416"/>
                  </a:lnTo>
                  <a:lnTo>
                    <a:pt x="2629649" y="612077"/>
                  </a:lnTo>
                  <a:lnTo>
                    <a:pt x="2633493" y="598416"/>
                  </a:lnTo>
                  <a:close/>
                  <a:moveTo>
                    <a:pt x="2596409" y="584451"/>
                  </a:moveTo>
                  <a:lnTo>
                    <a:pt x="2589552" y="598416"/>
                  </a:lnTo>
                  <a:lnTo>
                    <a:pt x="2596409" y="612381"/>
                  </a:lnTo>
                  <a:lnTo>
                    <a:pt x="2601553" y="598416"/>
                  </a:lnTo>
                  <a:close/>
                  <a:moveTo>
                    <a:pt x="2641401" y="584396"/>
                  </a:moveTo>
                  <a:lnTo>
                    <a:pt x="2637447" y="598416"/>
                  </a:lnTo>
                  <a:lnTo>
                    <a:pt x="2641401" y="612436"/>
                  </a:lnTo>
                  <a:lnTo>
                    <a:pt x="2649227" y="598416"/>
                  </a:lnTo>
                  <a:close/>
                  <a:moveTo>
                    <a:pt x="2661422" y="584313"/>
                  </a:moveTo>
                  <a:lnTo>
                    <a:pt x="2653569" y="598416"/>
                  </a:lnTo>
                  <a:lnTo>
                    <a:pt x="2661422" y="612492"/>
                  </a:lnTo>
                  <a:lnTo>
                    <a:pt x="2666096" y="598416"/>
                  </a:lnTo>
                  <a:close/>
                  <a:moveTo>
                    <a:pt x="2610817" y="584119"/>
                  </a:moveTo>
                  <a:lnTo>
                    <a:pt x="2605563" y="598416"/>
                  </a:lnTo>
                  <a:lnTo>
                    <a:pt x="2610817" y="612685"/>
                  </a:lnTo>
                  <a:lnTo>
                    <a:pt x="2618256" y="598416"/>
                  </a:lnTo>
                  <a:close/>
                  <a:moveTo>
                    <a:pt x="2665073" y="583234"/>
                  </a:moveTo>
                  <a:lnTo>
                    <a:pt x="2668087" y="592360"/>
                  </a:lnTo>
                  <a:lnTo>
                    <a:pt x="2671101" y="583234"/>
                  </a:lnTo>
                  <a:close/>
                  <a:moveTo>
                    <a:pt x="2645135" y="583234"/>
                  </a:moveTo>
                  <a:lnTo>
                    <a:pt x="2651412" y="594517"/>
                  </a:lnTo>
                  <a:lnTo>
                    <a:pt x="2657689" y="583234"/>
                  </a:lnTo>
                  <a:close/>
                  <a:moveTo>
                    <a:pt x="2633188" y="583234"/>
                  </a:moveTo>
                  <a:lnTo>
                    <a:pt x="2635484" y="591420"/>
                  </a:lnTo>
                  <a:lnTo>
                    <a:pt x="2637779" y="583234"/>
                  </a:lnTo>
                  <a:close/>
                  <a:moveTo>
                    <a:pt x="2614661" y="583234"/>
                  </a:moveTo>
                  <a:lnTo>
                    <a:pt x="2620413" y="594296"/>
                  </a:lnTo>
                  <a:lnTo>
                    <a:pt x="2626164" y="583234"/>
                  </a:lnTo>
                  <a:close/>
                  <a:moveTo>
                    <a:pt x="2600005" y="583234"/>
                  </a:moveTo>
                  <a:lnTo>
                    <a:pt x="2603572" y="592913"/>
                  </a:lnTo>
                  <a:lnTo>
                    <a:pt x="2607111" y="583234"/>
                  </a:lnTo>
                  <a:close/>
                  <a:moveTo>
                    <a:pt x="2582141" y="583234"/>
                  </a:moveTo>
                  <a:lnTo>
                    <a:pt x="2587450" y="594102"/>
                  </a:lnTo>
                  <a:lnTo>
                    <a:pt x="2592759" y="583234"/>
                  </a:lnTo>
                  <a:close/>
                  <a:moveTo>
                    <a:pt x="2660121" y="553147"/>
                  </a:moveTo>
                  <a:lnTo>
                    <a:pt x="2660150" y="553147"/>
                  </a:lnTo>
                  <a:lnTo>
                    <a:pt x="2660122" y="553175"/>
                  </a:lnTo>
                  <a:close/>
                  <a:moveTo>
                    <a:pt x="3285638" y="534288"/>
                  </a:moveTo>
                  <a:lnTo>
                    <a:pt x="3285638" y="547506"/>
                  </a:lnTo>
                  <a:lnTo>
                    <a:pt x="3249993" y="586138"/>
                  </a:lnTo>
                  <a:lnTo>
                    <a:pt x="3249993" y="581962"/>
                  </a:lnTo>
                  <a:lnTo>
                    <a:pt x="3248224" y="581077"/>
                  </a:lnTo>
                  <a:lnTo>
                    <a:pt x="3248224" y="573639"/>
                  </a:lnTo>
                  <a:lnTo>
                    <a:pt x="3246260" y="572975"/>
                  </a:lnTo>
                  <a:lnTo>
                    <a:pt x="3244325" y="567997"/>
                  </a:lnTo>
                  <a:lnTo>
                    <a:pt x="3240619" y="558429"/>
                  </a:lnTo>
                  <a:lnTo>
                    <a:pt x="3240647" y="558429"/>
                  </a:lnTo>
                  <a:lnTo>
                    <a:pt x="3245375" y="550852"/>
                  </a:lnTo>
                  <a:lnTo>
                    <a:pt x="3238158" y="547866"/>
                  </a:lnTo>
                  <a:cubicBezTo>
                    <a:pt x="3253146" y="543192"/>
                    <a:pt x="3269019" y="538602"/>
                    <a:pt x="3285638" y="534288"/>
                  </a:cubicBezTo>
                  <a:close/>
                  <a:moveTo>
                    <a:pt x="3444949" y="507382"/>
                  </a:moveTo>
                  <a:lnTo>
                    <a:pt x="3444949" y="563242"/>
                  </a:lnTo>
                  <a:lnTo>
                    <a:pt x="3441465" y="563242"/>
                  </a:lnTo>
                  <a:lnTo>
                    <a:pt x="3441465" y="572423"/>
                  </a:lnTo>
                  <a:lnTo>
                    <a:pt x="3383255" y="514240"/>
                  </a:lnTo>
                  <a:cubicBezTo>
                    <a:pt x="3403304" y="511253"/>
                    <a:pt x="3423905" y="508903"/>
                    <a:pt x="3444949" y="507382"/>
                  </a:cubicBezTo>
                  <a:close/>
                  <a:moveTo>
                    <a:pt x="3503686" y="502736"/>
                  </a:moveTo>
                  <a:cubicBezTo>
                    <a:pt x="3503686" y="502736"/>
                    <a:pt x="3497464" y="507464"/>
                    <a:pt x="3497464" y="515429"/>
                  </a:cubicBezTo>
                  <a:lnTo>
                    <a:pt x="3497464" y="570431"/>
                  </a:lnTo>
                  <a:lnTo>
                    <a:pt x="3509907" y="570431"/>
                  </a:lnTo>
                  <a:lnTo>
                    <a:pt x="3509907" y="515429"/>
                  </a:lnTo>
                  <a:cubicBezTo>
                    <a:pt x="3509658" y="508100"/>
                    <a:pt x="3503686" y="502736"/>
                    <a:pt x="3503686" y="502736"/>
                  </a:cubicBezTo>
                  <a:close/>
                  <a:moveTo>
                    <a:pt x="3481176" y="502736"/>
                  </a:moveTo>
                  <a:cubicBezTo>
                    <a:pt x="3481176" y="502736"/>
                    <a:pt x="3476198" y="506220"/>
                    <a:pt x="3475313" y="515429"/>
                  </a:cubicBezTo>
                  <a:lnTo>
                    <a:pt x="3475313" y="570431"/>
                  </a:lnTo>
                  <a:lnTo>
                    <a:pt x="3487011" y="570431"/>
                  </a:lnTo>
                  <a:lnTo>
                    <a:pt x="3487038" y="570431"/>
                  </a:lnTo>
                  <a:lnTo>
                    <a:pt x="3487038" y="515429"/>
                  </a:lnTo>
                  <a:cubicBezTo>
                    <a:pt x="3486513" y="507216"/>
                    <a:pt x="3481176" y="502736"/>
                    <a:pt x="3481176" y="502736"/>
                  </a:cubicBezTo>
                  <a:close/>
                  <a:moveTo>
                    <a:pt x="1183797" y="377909"/>
                  </a:moveTo>
                  <a:lnTo>
                    <a:pt x="1185843" y="377909"/>
                  </a:lnTo>
                  <a:lnTo>
                    <a:pt x="1185843" y="382499"/>
                  </a:lnTo>
                  <a:lnTo>
                    <a:pt x="1188747" y="382499"/>
                  </a:lnTo>
                  <a:lnTo>
                    <a:pt x="1188747" y="384435"/>
                  </a:lnTo>
                  <a:lnTo>
                    <a:pt x="1185843" y="384435"/>
                  </a:lnTo>
                  <a:lnTo>
                    <a:pt x="1185843" y="393367"/>
                  </a:lnTo>
                  <a:lnTo>
                    <a:pt x="1186092" y="393367"/>
                  </a:lnTo>
                  <a:lnTo>
                    <a:pt x="1208934" y="448259"/>
                  </a:lnTo>
                  <a:lnTo>
                    <a:pt x="1211340" y="448259"/>
                  </a:lnTo>
                  <a:lnTo>
                    <a:pt x="1210261" y="450554"/>
                  </a:lnTo>
                  <a:lnTo>
                    <a:pt x="1210151" y="460482"/>
                  </a:lnTo>
                  <a:lnTo>
                    <a:pt x="1208823" y="462307"/>
                  </a:lnTo>
                  <a:lnTo>
                    <a:pt x="1209045" y="462307"/>
                  </a:lnTo>
                  <a:lnTo>
                    <a:pt x="1209045" y="464851"/>
                  </a:lnTo>
                  <a:lnTo>
                    <a:pt x="1212308" y="464851"/>
                  </a:lnTo>
                  <a:lnTo>
                    <a:pt x="1209045" y="469386"/>
                  </a:lnTo>
                  <a:lnTo>
                    <a:pt x="1209045" y="548281"/>
                  </a:lnTo>
                  <a:lnTo>
                    <a:pt x="1217340" y="548281"/>
                  </a:lnTo>
                  <a:lnTo>
                    <a:pt x="1217340" y="546649"/>
                  </a:lnTo>
                  <a:lnTo>
                    <a:pt x="1216787" y="545571"/>
                  </a:lnTo>
                  <a:lnTo>
                    <a:pt x="1218004" y="544603"/>
                  </a:lnTo>
                  <a:lnTo>
                    <a:pt x="1218004" y="540234"/>
                  </a:lnTo>
                  <a:lnTo>
                    <a:pt x="1219276" y="539266"/>
                  </a:lnTo>
                  <a:lnTo>
                    <a:pt x="1219276" y="529283"/>
                  </a:lnTo>
                  <a:lnTo>
                    <a:pt x="1223452" y="529283"/>
                  </a:lnTo>
                  <a:lnTo>
                    <a:pt x="1223452" y="539266"/>
                  </a:lnTo>
                  <a:lnTo>
                    <a:pt x="1224669" y="540234"/>
                  </a:lnTo>
                  <a:lnTo>
                    <a:pt x="1224669" y="544465"/>
                  </a:lnTo>
                  <a:lnTo>
                    <a:pt x="1225581" y="545903"/>
                  </a:lnTo>
                  <a:lnTo>
                    <a:pt x="1224669" y="546926"/>
                  </a:lnTo>
                  <a:lnTo>
                    <a:pt x="1224669" y="548613"/>
                  </a:lnTo>
                  <a:lnTo>
                    <a:pt x="1233158" y="750288"/>
                  </a:lnTo>
                  <a:lnTo>
                    <a:pt x="1207081" y="689644"/>
                  </a:lnTo>
                  <a:lnTo>
                    <a:pt x="1203237" y="681929"/>
                  </a:lnTo>
                  <a:lnTo>
                    <a:pt x="1194609" y="681929"/>
                  </a:lnTo>
                  <a:cubicBezTo>
                    <a:pt x="1114221" y="681929"/>
                    <a:pt x="1052306" y="678030"/>
                    <a:pt x="1005157" y="672665"/>
                  </a:cubicBezTo>
                  <a:lnTo>
                    <a:pt x="1005157" y="543884"/>
                  </a:lnTo>
                  <a:lnTo>
                    <a:pt x="1006623" y="542695"/>
                  </a:lnTo>
                  <a:lnTo>
                    <a:pt x="1006623" y="538879"/>
                  </a:lnTo>
                  <a:lnTo>
                    <a:pt x="1007535" y="537883"/>
                  </a:lnTo>
                  <a:lnTo>
                    <a:pt x="1007535" y="527817"/>
                  </a:lnTo>
                  <a:lnTo>
                    <a:pt x="1011711" y="527817"/>
                  </a:lnTo>
                  <a:lnTo>
                    <a:pt x="1011711" y="537524"/>
                  </a:lnTo>
                  <a:lnTo>
                    <a:pt x="1012706" y="538796"/>
                  </a:lnTo>
                  <a:lnTo>
                    <a:pt x="1012706" y="542335"/>
                  </a:lnTo>
                  <a:lnTo>
                    <a:pt x="1013895" y="543884"/>
                  </a:lnTo>
                  <a:lnTo>
                    <a:pt x="1013895" y="547147"/>
                  </a:lnTo>
                  <a:lnTo>
                    <a:pt x="1104598" y="547507"/>
                  </a:lnTo>
                  <a:lnTo>
                    <a:pt x="1041106" y="669015"/>
                  </a:lnTo>
                  <a:lnTo>
                    <a:pt x="1113558" y="545377"/>
                  </a:lnTo>
                  <a:lnTo>
                    <a:pt x="1112756" y="543801"/>
                  </a:lnTo>
                  <a:lnTo>
                    <a:pt x="1114304" y="541533"/>
                  </a:lnTo>
                  <a:lnTo>
                    <a:pt x="1114304" y="539266"/>
                  </a:lnTo>
                  <a:lnTo>
                    <a:pt x="1115023" y="538436"/>
                  </a:lnTo>
                  <a:lnTo>
                    <a:pt x="1115023" y="532352"/>
                  </a:lnTo>
                  <a:lnTo>
                    <a:pt x="1112756" y="532352"/>
                  </a:lnTo>
                  <a:lnTo>
                    <a:pt x="1112756" y="530998"/>
                  </a:lnTo>
                  <a:lnTo>
                    <a:pt x="1115023" y="530998"/>
                  </a:lnTo>
                  <a:lnTo>
                    <a:pt x="1115023" y="528564"/>
                  </a:lnTo>
                  <a:lnTo>
                    <a:pt x="1116378" y="528564"/>
                  </a:lnTo>
                  <a:lnTo>
                    <a:pt x="1116378" y="530998"/>
                  </a:lnTo>
                  <a:lnTo>
                    <a:pt x="1118563" y="530998"/>
                  </a:lnTo>
                  <a:lnTo>
                    <a:pt x="1118563" y="532352"/>
                  </a:lnTo>
                  <a:lnTo>
                    <a:pt x="1116378" y="532352"/>
                  </a:lnTo>
                  <a:lnTo>
                    <a:pt x="1116378" y="538353"/>
                  </a:lnTo>
                  <a:lnTo>
                    <a:pt x="1117291" y="539432"/>
                  </a:lnTo>
                  <a:lnTo>
                    <a:pt x="1117291" y="541976"/>
                  </a:lnTo>
                  <a:lnTo>
                    <a:pt x="1118563" y="543607"/>
                  </a:lnTo>
                  <a:lnTo>
                    <a:pt x="1117706" y="545211"/>
                  </a:lnTo>
                  <a:lnTo>
                    <a:pt x="1158660" y="613515"/>
                  </a:lnTo>
                  <a:lnTo>
                    <a:pt x="1128905" y="547866"/>
                  </a:lnTo>
                  <a:lnTo>
                    <a:pt x="1160458" y="547866"/>
                  </a:lnTo>
                  <a:lnTo>
                    <a:pt x="1160458" y="469303"/>
                  </a:lnTo>
                  <a:lnTo>
                    <a:pt x="1157554" y="464823"/>
                  </a:lnTo>
                  <a:lnTo>
                    <a:pt x="1160458" y="464823"/>
                  </a:lnTo>
                  <a:lnTo>
                    <a:pt x="1160458" y="462307"/>
                  </a:lnTo>
                  <a:lnTo>
                    <a:pt x="1159241" y="460592"/>
                  </a:lnTo>
                  <a:lnTo>
                    <a:pt x="1159241" y="450195"/>
                  </a:lnTo>
                  <a:lnTo>
                    <a:pt x="1157554" y="448259"/>
                  </a:lnTo>
                  <a:lnTo>
                    <a:pt x="1161066" y="448259"/>
                  </a:lnTo>
                  <a:lnTo>
                    <a:pt x="1183548" y="393367"/>
                  </a:lnTo>
                  <a:lnTo>
                    <a:pt x="1183797" y="393367"/>
                  </a:lnTo>
                  <a:lnTo>
                    <a:pt x="1183797" y="384435"/>
                  </a:lnTo>
                  <a:lnTo>
                    <a:pt x="1180645" y="384435"/>
                  </a:lnTo>
                  <a:lnTo>
                    <a:pt x="1180645" y="382499"/>
                  </a:lnTo>
                  <a:lnTo>
                    <a:pt x="1183797" y="382499"/>
                  </a:lnTo>
                  <a:close/>
                  <a:moveTo>
                    <a:pt x="2634543" y="348043"/>
                  </a:moveTo>
                  <a:cubicBezTo>
                    <a:pt x="2631999" y="348043"/>
                    <a:pt x="2629952" y="350089"/>
                    <a:pt x="2629952" y="352606"/>
                  </a:cubicBezTo>
                  <a:lnTo>
                    <a:pt x="2629952" y="379236"/>
                  </a:lnTo>
                  <a:lnTo>
                    <a:pt x="2639106" y="379236"/>
                  </a:lnTo>
                  <a:lnTo>
                    <a:pt x="2639106" y="352606"/>
                  </a:lnTo>
                  <a:cubicBezTo>
                    <a:pt x="2639106" y="350089"/>
                    <a:pt x="2637087" y="348043"/>
                    <a:pt x="2634543" y="348043"/>
                  </a:cubicBezTo>
                  <a:close/>
                  <a:moveTo>
                    <a:pt x="2622597" y="348015"/>
                  </a:moveTo>
                  <a:cubicBezTo>
                    <a:pt x="2620080" y="348015"/>
                    <a:pt x="2618034" y="350062"/>
                    <a:pt x="2618034" y="352578"/>
                  </a:cubicBezTo>
                  <a:lnTo>
                    <a:pt x="2618034" y="379208"/>
                  </a:lnTo>
                  <a:lnTo>
                    <a:pt x="2627187" y="379208"/>
                  </a:lnTo>
                  <a:lnTo>
                    <a:pt x="2627187" y="352578"/>
                  </a:lnTo>
                  <a:lnTo>
                    <a:pt x="2627159" y="352578"/>
                  </a:lnTo>
                  <a:cubicBezTo>
                    <a:pt x="2627159" y="350062"/>
                    <a:pt x="2625113" y="348015"/>
                    <a:pt x="2622597" y="348015"/>
                  </a:cubicBezTo>
                  <a:close/>
                  <a:moveTo>
                    <a:pt x="2623592" y="303908"/>
                  </a:moveTo>
                  <a:lnTo>
                    <a:pt x="2623592" y="309467"/>
                  </a:lnTo>
                  <a:lnTo>
                    <a:pt x="2633741" y="309467"/>
                  </a:lnTo>
                  <a:lnTo>
                    <a:pt x="2633741" y="303908"/>
                  </a:lnTo>
                  <a:close/>
                  <a:moveTo>
                    <a:pt x="2628653" y="292571"/>
                  </a:moveTo>
                  <a:cubicBezTo>
                    <a:pt x="2625860" y="292571"/>
                    <a:pt x="2623592" y="294838"/>
                    <a:pt x="2623592" y="297631"/>
                  </a:cubicBezTo>
                  <a:lnTo>
                    <a:pt x="2623592" y="299318"/>
                  </a:lnTo>
                  <a:lnTo>
                    <a:pt x="2633741" y="299318"/>
                  </a:lnTo>
                  <a:lnTo>
                    <a:pt x="2633741" y="297631"/>
                  </a:lnTo>
                  <a:lnTo>
                    <a:pt x="2633713" y="297631"/>
                  </a:lnTo>
                  <a:cubicBezTo>
                    <a:pt x="2633713" y="294838"/>
                    <a:pt x="2631446" y="292571"/>
                    <a:pt x="2628653" y="292571"/>
                  </a:cubicBezTo>
                  <a:close/>
                  <a:moveTo>
                    <a:pt x="2636340" y="270780"/>
                  </a:moveTo>
                  <a:lnTo>
                    <a:pt x="2636340" y="280458"/>
                  </a:lnTo>
                  <a:lnTo>
                    <a:pt x="2640737" y="280458"/>
                  </a:lnTo>
                  <a:lnTo>
                    <a:pt x="2640737" y="270780"/>
                  </a:lnTo>
                  <a:close/>
                  <a:moveTo>
                    <a:pt x="2630174" y="270752"/>
                  </a:moveTo>
                  <a:lnTo>
                    <a:pt x="2630174" y="280431"/>
                  </a:lnTo>
                  <a:lnTo>
                    <a:pt x="2634183" y="280431"/>
                  </a:lnTo>
                  <a:lnTo>
                    <a:pt x="2634183" y="270752"/>
                  </a:lnTo>
                  <a:close/>
                  <a:moveTo>
                    <a:pt x="2623177" y="270752"/>
                  </a:moveTo>
                  <a:lnTo>
                    <a:pt x="2623177" y="280431"/>
                  </a:lnTo>
                  <a:lnTo>
                    <a:pt x="2628542" y="280431"/>
                  </a:lnTo>
                  <a:lnTo>
                    <a:pt x="2628542" y="270752"/>
                  </a:lnTo>
                  <a:close/>
                  <a:moveTo>
                    <a:pt x="2616596" y="270752"/>
                  </a:moveTo>
                  <a:lnTo>
                    <a:pt x="2616596" y="280431"/>
                  </a:lnTo>
                  <a:lnTo>
                    <a:pt x="2620993" y="280431"/>
                  </a:lnTo>
                  <a:lnTo>
                    <a:pt x="2620993" y="270752"/>
                  </a:lnTo>
                  <a:close/>
                  <a:moveTo>
                    <a:pt x="1661231" y="265028"/>
                  </a:moveTo>
                  <a:lnTo>
                    <a:pt x="1691622" y="265028"/>
                  </a:lnTo>
                  <a:lnTo>
                    <a:pt x="1746099" y="265028"/>
                  </a:lnTo>
                  <a:lnTo>
                    <a:pt x="1776490" y="265028"/>
                  </a:lnTo>
                  <a:lnTo>
                    <a:pt x="1776490" y="273960"/>
                  </a:lnTo>
                  <a:lnTo>
                    <a:pt x="1786307" y="273960"/>
                  </a:lnTo>
                  <a:lnTo>
                    <a:pt x="1786307" y="298074"/>
                  </a:lnTo>
                  <a:lnTo>
                    <a:pt x="1795239" y="298074"/>
                  </a:lnTo>
                  <a:lnTo>
                    <a:pt x="1795239" y="307006"/>
                  </a:lnTo>
                  <a:lnTo>
                    <a:pt x="1866695" y="307006"/>
                  </a:lnTo>
                  <a:lnTo>
                    <a:pt x="1866695" y="298074"/>
                  </a:lnTo>
                  <a:lnTo>
                    <a:pt x="1899768" y="298074"/>
                  </a:lnTo>
                  <a:lnTo>
                    <a:pt x="1902174" y="619930"/>
                  </a:lnTo>
                  <a:lnTo>
                    <a:pt x="1857044" y="619930"/>
                  </a:lnTo>
                  <a:lnTo>
                    <a:pt x="1843107" y="619930"/>
                  </a:lnTo>
                  <a:lnTo>
                    <a:pt x="1843107" y="633840"/>
                  </a:lnTo>
                  <a:lnTo>
                    <a:pt x="1843107" y="649132"/>
                  </a:lnTo>
                  <a:lnTo>
                    <a:pt x="1731830" y="649132"/>
                  </a:lnTo>
                  <a:lnTo>
                    <a:pt x="1723451" y="649132"/>
                  </a:lnTo>
                  <a:lnTo>
                    <a:pt x="1723451" y="456416"/>
                  </a:lnTo>
                  <a:lnTo>
                    <a:pt x="1724613" y="455061"/>
                  </a:lnTo>
                  <a:lnTo>
                    <a:pt x="1737112" y="440682"/>
                  </a:lnTo>
                  <a:lnTo>
                    <a:pt x="1727958" y="435787"/>
                  </a:lnTo>
                  <a:lnTo>
                    <a:pt x="1732134" y="430865"/>
                  </a:lnTo>
                  <a:lnTo>
                    <a:pt x="1723700" y="421048"/>
                  </a:lnTo>
                  <a:lnTo>
                    <a:pt x="1719801" y="416485"/>
                  </a:lnTo>
                  <a:lnTo>
                    <a:pt x="1715238" y="411176"/>
                  </a:lnTo>
                  <a:lnTo>
                    <a:pt x="1711394" y="411176"/>
                  </a:lnTo>
                  <a:lnTo>
                    <a:pt x="1696185" y="411176"/>
                  </a:lnTo>
                  <a:lnTo>
                    <a:pt x="1695577" y="411176"/>
                  </a:lnTo>
                  <a:lnTo>
                    <a:pt x="1680727" y="411176"/>
                  </a:lnTo>
                  <a:lnTo>
                    <a:pt x="1665573" y="411176"/>
                  </a:lnTo>
                  <a:lnTo>
                    <a:pt x="1651525" y="411176"/>
                  </a:lnTo>
                  <a:lnTo>
                    <a:pt x="1636343" y="411176"/>
                  </a:lnTo>
                  <a:lnTo>
                    <a:pt x="1629762" y="411176"/>
                  </a:lnTo>
                  <a:lnTo>
                    <a:pt x="1629762" y="407470"/>
                  </a:lnTo>
                  <a:lnTo>
                    <a:pt x="1635403" y="400225"/>
                  </a:lnTo>
                  <a:lnTo>
                    <a:pt x="1628434" y="390933"/>
                  </a:lnTo>
                  <a:lnTo>
                    <a:pt x="1625144" y="386536"/>
                  </a:lnTo>
                  <a:lnTo>
                    <a:pt x="1622655" y="383218"/>
                  </a:lnTo>
                  <a:lnTo>
                    <a:pt x="1618866" y="381642"/>
                  </a:lnTo>
                  <a:lnTo>
                    <a:pt x="1615078" y="380038"/>
                  </a:lnTo>
                  <a:lnTo>
                    <a:pt x="1606975" y="376664"/>
                  </a:lnTo>
                  <a:lnTo>
                    <a:pt x="1605897" y="377466"/>
                  </a:lnTo>
                  <a:lnTo>
                    <a:pt x="1601694" y="376415"/>
                  </a:lnTo>
                  <a:lnTo>
                    <a:pt x="1593730" y="374369"/>
                  </a:lnTo>
                  <a:lnTo>
                    <a:pt x="1593619" y="374452"/>
                  </a:lnTo>
                  <a:lnTo>
                    <a:pt x="1591849" y="373844"/>
                  </a:lnTo>
                  <a:lnTo>
                    <a:pt x="1590632" y="373844"/>
                  </a:lnTo>
                  <a:lnTo>
                    <a:pt x="1589416" y="373844"/>
                  </a:lnTo>
                  <a:lnTo>
                    <a:pt x="1577967" y="360045"/>
                  </a:lnTo>
                  <a:lnTo>
                    <a:pt x="1575036" y="356477"/>
                  </a:lnTo>
                  <a:lnTo>
                    <a:pt x="1570473" y="351002"/>
                  </a:lnTo>
                  <a:lnTo>
                    <a:pt x="1563339" y="351002"/>
                  </a:lnTo>
                  <a:lnTo>
                    <a:pt x="1558084" y="351002"/>
                  </a:lnTo>
                  <a:lnTo>
                    <a:pt x="1542875" y="351002"/>
                  </a:lnTo>
                  <a:lnTo>
                    <a:pt x="1542875" y="351362"/>
                  </a:lnTo>
                  <a:lnTo>
                    <a:pt x="1537953" y="351362"/>
                  </a:lnTo>
                  <a:lnTo>
                    <a:pt x="1537953" y="298074"/>
                  </a:lnTo>
                  <a:lnTo>
                    <a:pt x="1570999" y="298074"/>
                  </a:lnTo>
                  <a:lnTo>
                    <a:pt x="1570999" y="307006"/>
                  </a:lnTo>
                  <a:lnTo>
                    <a:pt x="1642482" y="307006"/>
                  </a:lnTo>
                  <a:lnTo>
                    <a:pt x="1642482" y="298074"/>
                  </a:lnTo>
                  <a:lnTo>
                    <a:pt x="1651414" y="298074"/>
                  </a:lnTo>
                  <a:lnTo>
                    <a:pt x="1651414" y="273960"/>
                  </a:lnTo>
                  <a:lnTo>
                    <a:pt x="1661231" y="273960"/>
                  </a:lnTo>
                  <a:close/>
                  <a:moveTo>
                    <a:pt x="2628653" y="238149"/>
                  </a:moveTo>
                  <a:cubicBezTo>
                    <a:pt x="2629814" y="238149"/>
                    <a:pt x="2630754" y="239117"/>
                    <a:pt x="2630754" y="240334"/>
                  </a:cubicBezTo>
                  <a:cubicBezTo>
                    <a:pt x="2630754" y="241274"/>
                    <a:pt x="2630174" y="242076"/>
                    <a:pt x="2629399" y="242380"/>
                  </a:cubicBezTo>
                  <a:lnTo>
                    <a:pt x="2629399" y="244675"/>
                  </a:lnTo>
                  <a:lnTo>
                    <a:pt x="2630893" y="244675"/>
                  </a:lnTo>
                  <a:lnTo>
                    <a:pt x="2630893" y="254354"/>
                  </a:lnTo>
                  <a:cubicBezTo>
                    <a:pt x="2642369" y="257783"/>
                    <a:pt x="2643419" y="267932"/>
                    <a:pt x="2643419" y="267932"/>
                  </a:cubicBezTo>
                  <a:lnTo>
                    <a:pt x="2644774" y="267932"/>
                  </a:lnTo>
                  <a:lnTo>
                    <a:pt x="2644774" y="270752"/>
                  </a:lnTo>
                  <a:lnTo>
                    <a:pt x="2642231" y="270752"/>
                  </a:lnTo>
                  <a:lnTo>
                    <a:pt x="2642231" y="280431"/>
                  </a:lnTo>
                  <a:lnTo>
                    <a:pt x="2643558" y="280431"/>
                  </a:lnTo>
                  <a:lnTo>
                    <a:pt x="2643558" y="283860"/>
                  </a:lnTo>
                  <a:lnTo>
                    <a:pt x="2649061" y="283860"/>
                  </a:lnTo>
                  <a:lnTo>
                    <a:pt x="2651605" y="286985"/>
                  </a:lnTo>
                  <a:lnTo>
                    <a:pt x="2651605" y="290718"/>
                  </a:lnTo>
                  <a:lnTo>
                    <a:pt x="2649061" y="292654"/>
                  </a:lnTo>
                  <a:lnTo>
                    <a:pt x="2649061" y="302802"/>
                  </a:lnTo>
                  <a:lnTo>
                    <a:pt x="2652434" y="307863"/>
                  </a:lnTo>
                  <a:lnTo>
                    <a:pt x="2652434" y="312923"/>
                  </a:lnTo>
                  <a:lnTo>
                    <a:pt x="2650720" y="316214"/>
                  </a:lnTo>
                  <a:lnTo>
                    <a:pt x="2654149" y="320086"/>
                  </a:lnTo>
                  <a:lnTo>
                    <a:pt x="2654149" y="330373"/>
                  </a:lnTo>
                  <a:lnTo>
                    <a:pt x="2657661" y="330373"/>
                  </a:lnTo>
                  <a:lnTo>
                    <a:pt x="2657301" y="336484"/>
                  </a:lnTo>
                  <a:lnTo>
                    <a:pt x="2655200" y="337535"/>
                  </a:lnTo>
                  <a:lnTo>
                    <a:pt x="2655200" y="387034"/>
                  </a:lnTo>
                  <a:lnTo>
                    <a:pt x="2660122" y="389108"/>
                  </a:lnTo>
                  <a:lnTo>
                    <a:pt x="2660122" y="395220"/>
                  </a:lnTo>
                  <a:lnTo>
                    <a:pt x="2657301" y="397294"/>
                  </a:lnTo>
                  <a:lnTo>
                    <a:pt x="2660121" y="553147"/>
                  </a:lnTo>
                  <a:lnTo>
                    <a:pt x="2597211" y="553147"/>
                  </a:lnTo>
                  <a:lnTo>
                    <a:pt x="2600059" y="397266"/>
                  </a:lnTo>
                  <a:lnTo>
                    <a:pt x="2597211" y="395192"/>
                  </a:lnTo>
                  <a:lnTo>
                    <a:pt x="2597211" y="389081"/>
                  </a:lnTo>
                  <a:lnTo>
                    <a:pt x="2602133" y="387007"/>
                  </a:lnTo>
                  <a:lnTo>
                    <a:pt x="2602133" y="337507"/>
                  </a:lnTo>
                  <a:lnTo>
                    <a:pt x="2600059" y="336456"/>
                  </a:lnTo>
                  <a:lnTo>
                    <a:pt x="2599700" y="330345"/>
                  </a:lnTo>
                  <a:lnTo>
                    <a:pt x="2603212" y="330345"/>
                  </a:lnTo>
                  <a:lnTo>
                    <a:pt x="2603212" y="320058"/>
                  </a:lnTo>
                  <a:lnTo>
                    <a:pt x="2606641" y="316187"/>
                  </a:lnTo>
                  <a:lnTo>
                    <a:pt x="2604926" y="312896"/>
                  </a:lnTo>
                  <a:lnTo>
                    <a:pt x="2604926" y="307835"/>
                  </a:lnTo>
                  <a:lnTo>
                    <a:pt x="2608272" y="302775"/>
                  </a:lnTo>
                  <a:lnTo>
                    <a:pt x="2608272" y="292626"/>
                  </a:lnTo>
                  <a:lnTo>
                    <a:pt x="2605728" y="290690"/>
                  </a:lnTo>
                  <a:lnTo>
                    <a:pt x="2605728" y="286957"/>
                  </a:lnTo>
                  <a:lnTo>
                    <a:pt x="2608272" y="283832"/>
                  </a:lnTo>
                  <a:lnTo>
                    <a:pt x="2613775" y="283832"/>
                  </a:lnTo>
                  <a:lnTo>
                    <a:pt x="2613775" y="280403"/>
                  </a:lnTo>
                  <a:lnTo>
                    <a:pt x="2615130" y="280403"/>
                  </a:lnTo>
                  <a:lnTo>
                    <a:pt x="2615130" y="270725"/>
                  </a:lnTo>
                  <a:lnTo>
                    <a:pt x="2612586" y="270725"/>
                  </a:lnTo>
                  <a:lnTo>
                    <a:pt x="2612586" y="267904"/>
                  </a:lnTo>
                  <a:lnTo>
                    <a:pt x="2613914" y="267904"/>
                  </a:lnTo>
                  <a:cubicBezTo>
                    <a:pt x="2613914" y="267904"/>
                    <a:pt x="2614965" y="257755"/>
                    <a:pt x="2626440" y="254326"/>
                  </a:cubicBezTo>
                  <a:lnTo>
                    <a:pt x="2626440" y="244648"/>
                  </a:lnTo>
                  <a:lnTo>
                    <a:pt x="2627768" y="244648"/>
                  </a:lnTo>
                  <a:lnTo>
                    <a:pt x="2627768" y="242297"/>
                  </a:lnTo>
                  <a:cubicBezTo>
                    <a:pt x="2627049" y="241937"/>
                    <a:pt x="2626579" y="241191"/>
                    <a:pt x="2626579" y="240334"/>
                  </a:cubicBezTo>
                  <a:cubicBezTo>
                    <a:pt x="2626579" y="239145"/>
                    <a:pt x="2627491" y="238149"/>
                    <a:pt x="2628653" y="238149"/>
                  </a:cubicBezTo>
                  <a:close/>
                  <a:moveTo>
                    <a:pt x="1976562" y="214589"/>
                  </a:moveTo>
                  <a:lnTo>
                    <a:pt x="1976562" y="220866"/>
                  </a:lnTo>
                  <a:lnTo>
                    <a:pt x="1977834" y="220866"/>
                  </a:lnTo>
                  <a:lnTo>
                    <a:pt x="1977834" y="222968"/>
                  </a:lnTo>
                  <a:lnTo>
                    <a:pt x="1978829" y="223963"/>
                  </a:lnTo>
                  <a:lnTo>
                    <a:pt x="1978829" y="214589"/>
                  </a:lnTo>
                  <a:close/>
                  <a:moveTo>
                    <a:pt x="1965003" y="214533"/>
                  </a:moveTo>
                  <a:lnTo>
                    <a:pt x="1965003" y="223935"/>
                  </a:lnTo>
                  <a:lnTo>
                    <a:pt x="1965998" y="222940"/>
                  </a:lnTo>
                  <a:lnTo>
                    <a:pt x="1965998" y="220838"/>
                  </a:lnTo>
                  <a:lnTo>
                    <a:pt x="1967270" y="220838"/>
                  </a:lnTo>
                  <a:lnTo>
                    <a:pt x="1967270" y="214533"/>
                  </a:lnTo>
                  <a:close/>
                  <a:moveTo>
                    <a:pt x="2526143" y="138874"/>
                  </a:moveTo>
                  <a:lnTo>
                    <a:pt x="2533526" y="138874"/>
                  </a:lnTo>
                  <a:lnTo>
                    <a:pt x="2533526" y="160112"/>
                  </a:lnTo>
                  <a:lnTo>
                    <a:pt x="2576001" y="160112"/>
                  </a:lnTo>
                  <a:lnTo>
                    <a:pt x="2579596" y="570873"/>
                  </a:lnTo>
                  <a:lnTo>
                    <a:pt x="2675719" y="570873"/>
                  </a:lnTo>
                  <a:lnTo>
                    <a:pt x="2680337" y="275481"/>
                  </a:lnTo>
                  <a:lnTo>
                    <a:pt x="2686808" y="275481"/>
                  </a:lnTo>
                  <a:lnTo>
                    <a:pt x="2686808" y="257949"/>
                  </a:lnTo>
                  <a:lnTo>
                    <a:pt x="2680337" y="257949"/>
                  </a:lnTo>
                  <a:lnTo>
                    <a:pt x="2680337" y="241329"/>
                  </a:lnTo>
                  <a:lnTo>
                    <a:pt x="2764375" y="241329"/>
                  </a:lnTo>
                  <a:lnTo>
                    <a:pt x="2764375" y="213648"/>
                  </a:lnTo>
                  <a:lnTo>
                    <a:pt x="2865006" y="213648"/>
                  </a:lnTo>
                  <a:lnTo>
                    <a:pt x="2865006" y="241329"/>
                  </a:lnTo>
                  <a:lnTo>
                    <a:pt x="2949044" y="241329"/>
                  </a:lnTo>
                  <a:lnTo>
                    <a:pt x="2949044" y="257949"/>
                  </a:lnTo>
                  <a:lnTo>
                    <a:pt x="2943513" y="257949"/>
                  </a:lnTo>
                  <a:lnTo>
                    <a:pt x="2943513" y="275481"/>
                  </a:lnTo>
                  <a:lnTo>
                    <a:pt x="2949044" y="275481"/>
                  </a:lnTo>
                  <a:lnTo>
                    <a:pt x="2954243" y="840272"/>
                  </a:lnTo>
                  <a:lnTo>
                    <a:pt x="2962981" y="666028"/>
                  </a:lnTo>
                  <a:lnTo>
                    <a:pt x="2967406" y="660276"/>
                  </a:lnTo>
                  <a:lnTo>
                    <a:pt x="2967406" y="590756"/>
                  </a:lnTo>
                  <a:lnTo>
                    <a:pt x="2970614" y="589180"/>
                  </a:lnTo>
                  <a:lnTo>
                    <a:pt x="2969176" y="587355"/>
                  </a:lnTo>
                  <a:lnTo>
                    <a:pt x="2969176" y="583815"/>
                  </a:lnTo>
                  <a:lnTo>
                    <a:pt x="2973600" y="582349"/>
                  </a:lnTo>
                  <a:lnTo>
                    <a:pt x="2973600" y="574828"/>
                  </a:lnTo>
                  <a:lnTo>
                    <a:pt x="2972107" y="573224"/>
                  </a:lnTo>
                  <a:lnTo>
                    <a:pt x="2975950" y="563324"/>
                  </a:lnTo>
                  <a:lnTo>
                    <a:pt x="2977278" y="563324"/>
                  </a:lnTo>
                  <a:lnTo>
                    <a:pt x="2979352" y="558734"/>
                  </a:lnTo>
                  <a:lnTo>
                    <a:pt x="2978633" y="557545"/>
                  </a:lnTo>
                  <a:lnTo>
                    <a:pt x="2980403" y="556798"/>
                  </a:lnTo>
                  <a:lnTo>
                    <a:pt x="2979214" y="554724"/>
                  </a:lnTo>
                  <a:lnTo>
                    <a:pt x="2981426" y="550880"/>
                  </a:lnTo>
                  <a:lnTo>
                    <a:pt x="2983334" y="554724"/>
                  </a:lnTo>
                  <a:lnTo>
                    <a:pt x="2982145" y="556494"/>
                  </a:lnTo>
                  <a:lnTo>
                    <a:pt x="2984496" y="557379"/>
                  </a:lnTo>
                  <a:lnTo>
                    <a:pt x="2983168" y="559010"/>
                  </a:lnTo>
                  <a:lnTo>
                    <a:pt x="2989528" y="573196"/>
                  </a:lnTo>
                  <a:lnTo>
                    <a:pt x="2987758" y="575409"/>
                  </a:lnTo>
                  <a:lnTo>
                    <a:pt x="2988007" y="580552"/>
                  </a:lnTo>
                  <a:lnTo>
                    <a:pt x="3031312" y="559121"/>
                  </a:lnTo>
                  <a:lnTo>
                    <a:pt x="3031312" y="542778"/>
                  </a:lnTo>
                  <a:lnTo>
                    <a:pt x="3033386" y="542778"/>
                  </a:lnTo>
                  <a:lnTo>
                    <a:pt x="3034852" y="537164"/>
                  </a:lnTo>
                  <a:lnTo>
                    <a:pt x="3034271" y="536583"/>
                  </a:lnTo>
                  <a:lnTo>
                    <a:pt x="3035156" y="535118"/>
                  </a:lnTo>
                  <a:lnTo>
                    <a:pt x="3034409" y="533210"/>
                  </a:lnTo>
                  <a:lnTo>
                    <a:pt x="3036318" y="530859"/>
                  </a:lnTo>
                  <a:lnTo>
                    <a:pt x="3038088" y="533071"/>
                  </a:lnTo>
                  <a:lnTo>
                    <a:pt x="3037202" y="534979"/>
                  </a:lnTo>
                  <a:lnTo>
                    <a:pt x="3038088" y="536307"/>
                  </a:lnTo>
                  <a:lnTo>
                    <a:pt x="3037341" y="537772"/>
                  </a:lnTo>
                  <a:lnTo>
                    <a:pt x="3039249" y="543386"/>
                  </a:lnTo>
                  <a:lnTo>
                    <a:pt x="3041323" y="543524"/>
                  </a:lnTo>
                  <a:lnTo>
                    <a:pt x="3041323" y="554143"/>
                  </a:lnTo>
                  <a:lnTo>
                    <a:pt x="3054762" y="547506"/>
                  </a:lnTo>
                  <a:lnTo>
                    <a:pt x="3054762" y="533486"/>
                  </a:lnTo>
                  <a:lnTo>
                    <a:pt x="3057417" y="533486"/>
                  </a:lnTo>
                  <a:lnTo>
                    <a:pt x="3060376" y="525356"/>
                  </a:lnTo>
                  <a:lnTo>
                    <a:pt x="3058744" y="525356"/>
                  </a:lnTo>
                  <a:lnTo>
                    <a:pt x="3057583" y="520932"/>
                  </a:lnTo>
                  <a:lnTo>
                    <a:pt x="3066432" y="515760"/>
                  </a:lnTo>
                  <a:lnTo>
                    <a:pt x="3067483" y="450360"/>
                  </a:lnTo>
                  <a:lnTo>
                    <a:pt x="3065851" y="448286"/>
                  </a:lnTo>
                  <a:lnTo>
                    <a:pt x="3065851" y="445466"/>
                  </a:lnTo>
                  <a:lnTo>
                    <a:pt x="3067483" y="444138"/>
                  </a:lnTo>
                  <a:lnTo>
                    <a:pt x="3068064" y="425251"/>
                  </a:lnTo>
                  <a:lnTo>
                    <a:pt x="3065713" y="423177"/>
                  </a:lnTo>
                  <a:lnTo>
                    <a:pt x="3065713" y="420523"/>
                  </a:lnTo>
                  <a:lnTo>
                    <a:pt x="3068064" y="419333"/>
                  </a:lnTo>
                  <a:lnTo>
                    <a:pt x="3068064" y="411950"/>
                  </a:lnTo>
                  <a:lnTo>
                    <a:pt x="3067179" y="410623"/>
                  </a:lnTo>
                  <a:lnTo>
                    <a:pt x="3067013" y="408410"/>
                  </a:lnTo>
                  <a:lnTo>
                    <a:pt x="3071161" y="402852"/>
                  </a:lnTo>
                  <a:lnTo>
                    <a:pt x="3071161" y="397653"/>
                  </a:lnTo>
                  <a:lnTo>
                    <a:pt x="3069972" y="395137"/>
                  </a:lnTo>
                  <a:lnTo>
                    <a:pt x="3076166" y="383025"/>
                  </a:lnTo>
                  <a:lnTo>
                    <a:pt x="3075585" y="379928"/>
                  </a:lnTo>
                  <a:lnTo>
                    <a:pt x="3077659" y="376969"/>
                  </a:lnTo>
                  <a:lnTo>
                    <a:pt x="3079125" y="379623"/>
                  </a:lnTo>
                  <a:lnTo>
                    <a:pt x="3078240" y="382859"/>
                  </a:lnTo>
                  <a:lnTo>
                    <a:pt x="3080010" y="385209"/>
                  </a:lnTo>
                  <a:lnTo>
                    <a:pt x="3099007" y="257285"/>
                  </a:lnTo>
                  <a:cubicBezTo>
                    <a:pt x="3097874" y="256539"/>
                    <a:pt x="3097127" y="255377"/>
                    <a:pt x="3097127" y="254078"/>
                  </a:cubicBezTo>
                  <a:cubicBezTo>
                    <a:pt x="3097127" y="252335"/>
                    <a:pt x="3098427" y="250842"/>
                    <a:pt x="3100280" y="250289"/>
                  </a:cubicBezTo>
                  <a:lnTo>
                    <a:pt x="3100280" y="237430"/>
                  </a:lnTo>
                  <a:cubicBezTo>
                    <a:pt x="3100280" y="237430"/>
                    <a:pt x="3094445" y="237458"/>
                    <a:pt x="3094445" y="237458"/>
                  </a:cubicBezTo>
                  <a:cubicBezTo>
                    <a:pt x="3094445" y="238177"/>
                    <a:pt x="3093864" y="238758"/>
                    <a:pt x="3093145" y="238758"/>
                  </a:cubicBezTo>
                  <a:cubicBezTo>
                    <a:pt x="3092426" y="238758"/>
                    <a:pt x="3091845" y="238177"/>
                    <a:pt x="3091845" y="237458"/>
                  </a:cubicBezTo>
                  <a:lnTo>
                    <a:pt x="3091845" y="237403"/>
                  </a:lnTo>
                  <a:cubicBezTo>
                    <a:pt x="3091126" y="237264"/>
                    <a:pt x="3090573" y="236628"/>
                    <a:pt x="3090573" y="235854"/>
                  </a:cubicBezTo>
                  <a:cubicBezTo>
                    <a:pt x="3090573" y="235080"/>
                    <a:pt x="3091126" y="234444"/>
                    <a:pt x="3091873" y="234305"/>
                  </a:cubicBezTo>
                  <a:cubicBezTo>
                    <a:pt x="3091984" y="233697"/>
                    <a:pt x="3092509" y="233227"/>
                    <a:pt x="3093145" y="233227"/>
                  </a:cubicBezTo>
                  <a:cubicBezTo>
                    <a:pt x="3093781" y="233227"/>
                    <a:pt x="3094307" y="233669"/>
                    <a:pt x="3094417" y="234278"/>
                  </a:cubicBezTo>
                  <a:lnTo>
                    <a:pt x="3100280" y="234278"/>
                  </a:lnTo>
                  <a:lnTo>
                    <a:pt x="3100280" y="228526"/>
                  </a:lnTo>
                  <a:lnTo>
                    <a:pt x="3100141" y="228526"/>
                  </a:lnTo>
                  <a:cubicBezTo>
                    <a:pt x="3099533" y="228526"/>
                    <a:pt x="3099007" y="228028"/>
                    <a:pt x="3099007" y="227392"/>
                  </a:cubicBezTo>
                  <a:cubicBezTo>
                    <a:pt x="3099007" y="226756"/>
                    <a:pt x="3099505" y="226258"/>
                    <a:pt x="3100141" y="226258"/>
                  </a:cubicBezTo>
                  <a:lnTo>
                    <a:pt x="3100280" y="226258"/>
                  </a:lnTo>
                  <a:lnTo>
                    <a:pt x="3100280" y="225954"/>
                  </a:lnTo>
                  <a:cubicBezTo>
                    <a:pt x="3100280" y="225069"/>
                    <a:pt x="3100999" y="224323"/>
                    <a:pt x="3101911" y="224323"/>
                  </a:cubicBezTo>
                  <a:cubicBezTo>
                    <a:pt x="3102824" y="224323"/>
                    <a:pt x="3103543" y="225069"/>
                    <a:pt x="3103543" y="225954"/>
                  </a:cubicBezTo>
                  <a:lnTo>
                    <a:pt x="3103543" y="226258"/>
                  </a:lnTo>
                  <a:cubicBezTo>
                    <a:pt x="3104179" y="226258"/>
                    <a:pt x="3104677" y="226756"/>
                    <a:pt x="3104677" y="227392"/>
                  </a:cubicBezTo>
                  <a:cubicBezTo>
                    <a:pt x="3104677" y="228028"/>
                    <a:pt x="3104179" y="228526"/>
                    <a:pt x="3103543" y="228526"/>
                  </a:cubicBezTo>
                  <a:lnTo>
                    <a:pt x="3103543" y="234278"/>
                  </a:lnTo>
                  <a:lnTo>
                    <a:pt x="3109516" y="234278"/>
                  </a:lnTo>
                  <a:cubicBezTo>
                    <a:pt x="3109544" y="233697"/>
                    <a:pt x="3110013" y="233227"/>
                    <a:pt x="3110622" y="233227"/>
                  </a:cubicBezTo>
                  <a:cubicBezTo>
                    <a:pt x="3111230" y="233227"/>
                    <a:pt x="3111728" y="233697"/>
                    <a:pt x="3111728" y="234278"/>
                  </a:cubicBezTo>
                  <a:cubicBezTo>
                    <a:pt x="3112558" y="234305"/>
                    <a:pt x="3113221" y="234969"/>
                    <a:pt x="3113221" y="235826"/>
                  </a:cubicBezTo>
                  <a:cubicBezTo>
                    <a:pt x="3113221" y="236684"/>
                    <a:pt x="3112558" y="237347"/>
                    <a:pt x="3111728" y="237403"/>
                  </a:cubicBezTo>
                  <a:lnTo>
                    <a:pt x="3111728" y="237956"/>
                  </a:lnTo>
                  <a:cubicBezTo>
                    <a:pt x="3111728" y="238564"/>
                    <a:pt x="3111230" y="239062"/>
                    <a:pt x="3110622" y="239062"/>
                  </a:cubicBezTo>
                  <a:cubicBezTo>
                    <a:pt x="3110013" y="239062"/>
                    <a:pt x="3109516" y="238564"/>
                    <a:pt x="3109516" y="237956"/>
                  </a:cubicBezTo>
                  <a:lnTo>
                    <a:pt x="3109516" y="237403"/>
                  </a:lnTo>
                  <a:lnTo>
                    <a:pt x="3103543" y="237403"/>
                  </a:lnTo>
                  <a:lnTo>
                    <a:pt x="3103543" y="250289"/>
                  </a:lnTo>
                  <a:cubicBezTo>
                    <a:pt x="3105312" y="250842"/>
                    <a:pt x="3106584" y="252308"/>
                    <a:pt x="3106584" y="254022"/>
                  </a:cubicBezTo>
                  <a:cubicBezTo>
                    <a:pt x="3106584" y="255405"/>
                    <a:pt x="3105727" y="256649"/>
                    <a:pt x="3104455" y="257368"/>
                  </a:cubicBezTo>
                  <a:lnTo>
                    <a:pt x="3123426" y="385126"/>
                  </a:lnTo>
                  <a:lnTo>
                    <a:pt x="3125195" y="382776"/>
                  </a:lnTo>
                  <a:lnTo>
                    <a:pt x="3124310" y="379540"/>
                  </a:lnTo>
                  <a:lnTo>
                    <a:pt x="3125776" y="376886"/>
                  </a:lnTo>
                  <a:lnTo>
                    <a:pt x="3127850" y="379845"/>
                  </a:lnTo>
                  <a:lnTo>
                    <a:pt x="3127269" y="382942"/>
                  </a:lnTo>
                  <a:lnTo>
                    <a:pt x="3133464" y="395054"/>
                  </a:lnTo>
                  <a:lnTo>
                    <a:pt x="3132302" y="397570"/>
                  </a:lnTo>
                  <a:lnTo>
                    <a:pt x="3132302" y="402769"/>
                  </a:lnTo>
                  <a:lnTo>
                    <a:pt x="3136422" y="408327"/>
                  </a:lnTo>
                  <a:lnTo>
                    <a:pt x="3136284" y="410540"/>
                  </a:lnTo>
                  <a:lnTo>
                    <a:pt x="3135399" y="411867"/>
                  </a:lnTo>
                  <a:lnTo>
                    <a:pt x="3135399" y="419251"/>
                  </a:lnTo>
                  <a:lnTo>
                    <a:pt x="3137750" y="420440"/>
                  </a:lnTo>
                  <a:lnTo>
                    <a:pt x="3137750" y="423094"/>
                  </a:lnTo>
                  <a:lnTo>
                    <a:pt x="3135399" y="425168"/>
                  </a:lnTo>
                  <a:lnTo>
                    <a:pt x="3135980" y="444056"/>
                  </a:lnTo>
                  <a:lnTo>
                    <a:pt x="3137612" y="445383"/>
                  </a:lnTo>
                  <a:lnTo>
                    <a:pt x="3137612" y="448203"/>
                  </a:lnTo>
                  <a:lnTo>
                    <a:pt x="3135980" y="450277"/>
                  </a:lnTo>
                  <a:lnTo>
                    <a:pt x="3137003" y="515677"/>
                  </a:lnTo>
                  <a:lnTo>
                    <a:pt x="3145852" y="520849"/>
                  </a:lnTo>
                  <a:lnTo>
                    <a:pt x="3144691" y="525273"/>
                  </a:lnTo>
                  <a:lnTo>
                    <a:pt x="3143059" y="525273"/>
                  </a:lnTo>
                  <a:lnTo>
                    <a:pt x="3146018" y="533403"/>
                  </a:lnTo>
                  <a:lnTo>
                    <a:pt x="3148673" y="533403"/>
                  </a:lnTo>
                  <a:lnTo>
                    <a:pt x="3148673" y="547423"/>
                  </a:lnTo>
                  <a:lnTo>
                    <a:pt x="3162112" y="554060"/>
                  </a:lnTo>
                  <a:lnTo>
                    <a:pt x="3162112" y="543441"/>
                  </a:lnTo>
                  <a:lnTo>
                    <a:pt x="3164186" y="543303"/>
                  </a:lnTo>
                  <a:lnTo>
                    <a:pt x="3166122" y="537689"/>
                  </a:lnTo>
                  <a:lnTo>
                    <a:pt x="3165375" y="536224"/>
                  </a:lnTo>
                  <a:lnTo>
                    <a:pt x="3166260" y="534896"/>
                  </a:lnTo>
                  <a:lnTo>
                    <a:pt x="3165375" y="532988"/>
                  </a:lnTo>
                  <a:lnTo>
                    <a:pt x="3167145" y="530776"/>
                  </a:lnTo>
                  <a:lnTo>
                    <a:pt x="3169053" y="533127"/>
                  </a:lnTo>
                  <a:lnTo>
                    <a:pt x="3168307" y="535035"/>
                  </a:lnTo>
                  <a:lnTo>
                    <a:pt x="3169191" y="536500"/>
                  </a:lnTo>
                  <a:lnTo>
                    <a:pt x="3168611" y="537081"/>
                  </a:lnTo>
                  <a:lnTo>
                    <a:pt x="3170077" y="542695"/>
                  </a:lnTo>
                  <a:lnTo>
                    <a:pt x="3172151" y="542695"/>
                  </a:lnTo>
                  <a:lnTo>
                    <a:pt x="3172151" y="559038"/>
                  </a:lnTo>
                  <a:lnTo>
                    <a:pt x="3215455" y="580469"/>
                  </a:lnTo>
                  <a:lnTo>
                    <a:pt x="3215704" y="575326"/>
                  </a:lnTo>
                  <a:lnTo>
                    <a:pt x="3213935" y="573113"/>
                  </a:lnTo>
                  <a:lnTo>
                    <a:pt x="3220267" y="558927"/>
                  </a:lnTo>
                  <a:lnTo>
                    <a:pt x="3218940" y="557296"/>
                  </a:lnTo>
                  <a:lnTo>
                    <a:pt x="3221290" y="556411"/>
                  </a:lnTo>
                  <a:lnTo>
                    <a:pt x="3220129" y="554641"/>
                  </a:lnTo>
                  <a:lnTo>
                    <a:pt x="3222037" y="550797"/>
                  </a:lnTo>
                  <a:lnTo>
                    <a:pt x="3224249" y="554641"/>
                  </a:lnTo>
                  <a:lnTo>
                    <a:pt x="3223060" y="556715"/>
                  </a:lnTo>
                  <a:lnTo>
                    <a:pt x="3224830" y="557462"/>
                  </a:lnTo>
                  <a:lnTo>
                    <a:pt x="3224083" y="558651"/>
                  </a:lnTo>
                  <a:lnTo>
                    <a:pt x="3226157" y="563241"/>
                  </a:lnTo>
                  <a:lnTo>
                    <a:pt x="3227485" y="563241"/>
                  </a:lnTo>
                  <a:lnTo>
                    <a:pt x="3231328" y="573141"/>
                  </a:lnTo>
                  <a:lnTo>
                    <a:pt x="3229863" y="574745"/>
                  </a:lnTo>
                  <a:lnTo>
                    <a:pt x="3229863" y="582267"/>
                  </a:lnTo>
                  <a:lnTo>
                    <a:pt x="3234287" y="583732"/>
                  </a:lnTo>
                  <a:lnTo>
                    <a:pt x="3234287" y="587272"/>
                  </a:lnTo>
                  <a:lnTo>
                    <a:pt x="3232849" y="589097"/>
                  </a:lnTo>
                  <a:lnTo>
                    <a:pt x="3236057" y="590673"/>
                  </a:lnTo>
                  <a:lnTo>
                    <a:pt x="3236057" y="660193"/>
                  </a:lnTo>
                  <a:lnTo>
                    <a:pt x="3240482" y="665945"/>
                  </a:lnTo>
                  <a:lnTo>
                    <a:pt x="3249082" y="840189"/>
                  </a:lnTo>
                  <a:lnTo>
                    <a:pt x="3253755" y="602619"/>
                  </a:lnTo>
                  <a:lnTo>
                    <a:pt x="3299549" y="553009"/>
                  </a:lnTo>
                  <a:lnTo>
                    <a:pt x="3299549" y="518028"/>
                  </a:lnTo>
                  <a:lnTo>
                    <a:pt x="3314979" y="518028"/>
                  </a:lnTo>
                  <a:lnTo>
                    <a:pt x="3314979" y="536279"/>
                  </a:lnTo>
                  <a:lnTo>
                    <a:pt x="3348827" y="499611"/>
                  </a:lnTo>
                  <a:lnTo>
                    <a:pt x="3451863" y="602619"/>
                  </a:lnTo>
                  <a:lnTo>
                    <a:pt x="3458832" y="602619"/>
                  </a:lnTo>
                  <a:lnTo>
                    <a:pt x="3458832" y="580469"/>
                  </a:lnTo>
                  <a:lnTo>
                    <a:pt x="3455347" y="580469"/>
                  </a:lnTo>
                  <a:lnTo>
                    <a:pt x="3455347" y="577234"/>
                  </a:lnTo>
                  <a:lnTo>
                    <a:pt x="3458832" y="577234"/>
                  </a:lnTo>
                  <a:lnTo>
                    <a:pt x="3458832" y="485812"/>
                  </a:lnTo>
                  <a:lnTo>
                    <a:pt x="3454103" y="477184"/>
                  </a:lnTo>
                  <a:lnTo>
                    <a:pt x="3458832" y="477184"/>
                  </a:lnTo>
                  <a:lnTo>
                    <a:pt x="3458832" y="455283"/>
                  </a:lnTo>
                  <a:lnTo>
                    <a:pt x="3460187" y="455283"/>
                  </a:lnTo>
                  <a:lnTo>
                    <a:pt x="3460187" y="450056"/>
                  </a:lnTo>
                  <a:lnTo>
                    <a:pt x="3461321" y="450056"/>
                  </a:lnTo>
                  <a:lnTo>
                    <a:pt x="3461321" y="445189"/>
                  </a:lnTo>
                  <a:lnTo>
                    <a:pt x="3462067" y="445189"/>
                  </a:lnTo>
                  <a:lnTo>
                    <a:pt x="3462067" y="439714"/>
                  </a:lnTo>
                  <a:lnTo>
                    <a:pt x="3463173" y="439714"/>
                  </a:lnTo>
                  <a:lnTo>
                    <a:pt x="3463173" y="434736"/>
                  </a:lnTo>
                  <a:lnTo>
                    <a:pt x="3464418" y="434736"/>
                  </a:lnTo>
                  <a:lnTo>
                    <a:pt x="3466492" y="422928"/>
                  </a:lnTo>
                  <a:lnTo>
                    <a:pt x="3468676" y="434736"/>
                  </a:lnTo>
                  <a:lnTo>
                    <a:pt x="3469783" y="434736"/>
                  </a:lnTo>
                  <a:lnTo>
                    <a:pt x="3469783" y="439714"/>
                  </a:lnTo>
                  <a:lnTo>
                    <a:pt x="3470888" y="439714"/>
                  </a:lnTo>
                  <a:lnTo>
                    <a:pt x="3470888" y="445189"/>
                  </a:lnTo>
                  <a:lnTo>
                    <a:pt x="3471884" y="445189"/>
                  </a:lnTo>
                  <a:lnTo>
                    <a:pt x="3471884" y="450056"/>
                  </a:lnTo>
                  <a:lnTo>
                    <a:pt x="3473018" y="450056"/>
                  </a:lnTo>
                  <a:lnTo>
                    <a:pt x="3473018" y="455283"/>
                  </a:lnTo>
                  <a:lnTo>
                    <a:pt x="3475258" y="455283"/>
                  </a:lnTo>
                  <a:lnTo>
                    <a:pt x="3475258" y="458905"/>
                  </a:lnTo>
                  <a:lnTo>
                    <a:pt x="3477996" y="458905"/>
                  </a:lnTo>
                  <a:lnTo>
                    <a:pt x="3477996" y="465127"/>
                  </a:lnTo>
                  <a:lnTo>
                    <a:pt x="3482835" y="465127"/>
                  </a:lnTo>
                  <a:lnTo>
                    <a:pt x="3482835" y="455310"/>
                  </a:lnTo>
                  <a:lnTo>
                    <a:pt x="3490550" y="455310"/>
                  </a:lnTo>
                  <a:lnTo>
                    <a:pt x="3490550" y="448840"/>
                  </a:lnTo>
                  <a:lnTo>
                    <a:pt x="3494726" y="448840"/>
                  </a:lnTo>
                  <a:lnTo>
                    <a:pt x="3494726" y="455310"/>
                  </a:lnTo>
                  <a:lnTo>
                    <a:pt x="3502137" y="455310"/>
                  </a:lnTo>
                  <a:lnTo>
                    <a:pt x="3502137" y="465127"/>
                  </a:lnTo>
                  <a:lnTo>
                    <a:pt x="3506976" y="465127"/>
                  </a:lnTo>
                  <a:lnTo>
                    <a:pt x="3506976" y="458905"/>
                  </a:lnTo>
                  <a:lnTo>
                    <a:pt x="3509852" y="458905"/>
                  </a:lnTo>
                  <a:lnTo>
                    <a:pt x="3509852" y="455283"/>
                  </a:lnTo>
                  <a:lnTo>
                    <a:pt x="3510958" y="455283"/>
                  </a:lnTo>
                  <a:lnTo>
                    <a:pt x="3510958" y="450056"/>
                  </a:lnTo>
                  <a:lnTo>
                    <a:pt x="3512064" y="450056"/>
                  </a:lnTo>
                  <a:lnTo>
                    <a:pt x="3512064" y="445189"/>
                  </a:lnTo>
                  <a:lnTo>
                    <a:pt x="3512811" y="445189"/>
                  </a:lnTo>
                  <a:lnTo>
                    <a:pt x="3512811" y="439714"/>
                  </a:lnTo>
                  <a:lnTo>
                    <a:pt x="3513917" y="439714"/>
                  </a:lnTo>
                  <a:lnTo>
                    <a:pt x="3513917" y="434736"/>
                  </a:lnTo>
                  <a:lnTo>
                    <a:pt x="3515134" y="434736"/>
                  </a:lnTo>
                  <a:lnTo>
                    <a:pt x="3517208" y="422928"/>
                  </a:lnTo>
                  <a:lnTo>
                    <a:pt x="3519392" y="434736"/>
                  </a:lnTo>
                  <a:lnTo>
                    <a:pt x="3520499" y="434736"/>
                  </a:lnTo>
                  <a:lnTo>
                    <a:pt x="3520499" y="439714"/>
                  </a:lnTo>
                  <a:lnTo>
                    <a:pt x="3521632" y="439714"/>
                  </a:lnTo>
                  <a:lnTo>
                    <a:pt x="3521632" y="445189"/>
                  </a:lnTo>
                  <a:lnTo>
                    <a:pt x="3522628" y="445189"/>
                  </a:lnTo>
                  <a:lnTo>
                    <a:pt x="3522628" y="450056"/>
                  </a:lnTo>
                  <a:lnTo>
                    <a:pt x="3523761" y="450056"/>
                  </a:lnTo>
                  <a:lnTo>
                    <a:pt x="3523761" y="455283"/>
                  </a:lnTo>
                  <a:lnTo>
                    <a:pt x="3525504" y="455283"/>
                  </a:lnTo>
                  <a:lnTo>
                    <a:pt x="3525504" y="477184"/>
                  </a:lnTo>
                  <a:lnTo>
                    <a:pt x="3529486" y="477184"/>
                  </a:lnTo>
                  <a:lnTo>
                    <a:pt x="3525504" y="485757"/>
                  </a:lnTo>
                  <a:lnTo>
                    <a:pt x="3525504" y="577206"/>
                  </a:lnTo>
                  <a:lnTo>
                    <a:pt x="3527744" y="577206"/>
                  </a:lnTo>
                  <a:lnTo>
                    <a:pt x="3527744" y="580441"/>
                  </a:lnTo>
                  <a:lnTo>
                    <a:pt x="3525504" y="580441"/>
                  </a:lnTo>
                  <a:lnTo>
                    <a:pt x="3525504" y="602592"/>
                  </a:lnTo>
                  <a:lnTo>
                    <a:pt x="3535072" y="602592"/>
                  </a:lnTo>
                  <a:lnTo>
                    <a:pt x="3585263" y="566753"/>
                  </a:lnTo>
                  <a:lnTo>
                    <a:pt x="3614630" y="586110"/>
                  </a:lnTo>
                  <a:lnTo>
                    <a:pt x="3614630" y="570707"/>
                  </a:lnTo>
                  <a:lnTo>
                    <a:pt x="3624585" y="570707"/>
                  </a:lnTo>
                  <a:lnTo>
                    <a:pt x="3624585" y="592664"/>
                  </a:lnTo>
                  <a:lnTo>
                    <a:pt x="3632052" y="597586"/>
                  </a:lnTo>
                  <a:lnTo>
                    <a:pt x="3639573" y="839497"/>
                  </a:lnTo>
                  <a:lnTo>
                    <a:pt x="3645989" y="597586"/>
                  </a:lnTo>
                  <a:lnTo>
                    <a:pt x="3645989" y="590092"/>
                  </a:lnTo>
                  <a:lnTo>
                    <a:pt x="3639739" y="585972"/>
                  </a:lnTo>
                  <a:lnTo>
                    <a:pt x="3638522" y="585170"/>
                  </a:lnTo>
                  <a:lnTo>
                    <a:pt x="3638522" y="556798"/>
                  </a:lnTo>
                  <a:lnTo>
                    <a:pt x="3600721" y="556798"/>
                  </a:lnTo>
                  <a:lnTo>
                    <a:pt x="3600721" y="560255"/>
                  </a:lnTo>
                  <a:lnTo>
                    <a:pt x="3592950" y="555111"/>
                  </a:lnTo>
                  <a:lnTo>
                    <a:pt x="3584986" y="549857"/>
                  </a:lnTo>
                  <a:lnTo>
                    <a:pt x="3577215" y="555415"/>
                  </a:lnTo>
                  <a:lnTo>
                    <a:pt x="3541736" y="580746"/>
                  </a:lnTo>
                  <a:lnTo>
                    <a:pt x="3541736" y="563269"/>
                  </a:lnTo>
                  <a:lnTo>
                    <a:pt x="3539496" y="563269"/>
                  </a:lnTo>
                  <a:lnTo>
                    <a:pt x="3539496" y="505501"/>
                  </a:lnTo>
                  <a:cubicBezTo>
                    <a:pt x="3539496" y="505501"/>
                    <a:pt x="3543396" y="505501"/>
                    <a:pt x="3543396" y="505501"/>
                  </a:cubicBezTo>
                  <a:cubicBezTo>
                    <a:pt x="3761331" y="503870"/>
                    <a:pt x="3952968" y="605772"/>
                    <a:pt x="3952968" y="605772"/>
                  </a:cubicBezTo>
                  <a:lnTo>
                    <a:pt x="3955263" y="600518"/>
                  </a:lnTo>
                  <a:lnTo>
                    <a:pt x="3990310" y="614497"/>
                  </a:lnTo>
                  <a:lnTo>
                    <a:pt x="3997717" y="663027"/>
                  </a:lnTo>
                  <a:lnTo>
                    <a:pt x="3997241" y="664480"/>
                  </a:lnTo>
                  <a:cubicBezTo>
                    <a:pt x="3996135" y="667190"/>
                    <a:pt x="3994918" y="669485"/>
                    <a:pt x="3993342" y="671061"/>
                  </a:cubicBezTo>
                  <a:cubicBezTo>
                    <a:pt x="3987839" y="676564"/>
                    <a:pt x="3965218" y="684501"/>
                    <a:pt x="3965218" y="684501"/>
                  </a:cubicBezTo>
                  <a:lnTo>
                    <a:pt x="3983912" y="750288"/>
                  </a:lnTo>
                  <a:lnTo>
                    <a:pt x="3983912" y="750260"/>
                  </a:lnTo>
                  <a:lnTo>
                    <a:pt x="4003292" y="750260"/>
                  </a:lnTo>
                  <a:lnTo>
                    <a:pt x="4009365" y="870516"/>
                  </a:lnTo>
                  <a:lnTo>
                    <a:pt x="902730" y="871769"/>
                  </a:lnTo>
                  <a:lnTo>
                    <a:pt x="1005130" y="757312"/>
                  </a:lnTo>
                  <a:lnTo>
                    <a:pt x="868385" y="757312"/>
                  </a:lnTo>
                  <a:lnTo>
                    <a:pt x="845018" y="757312"/>
                  </a:lnTo>
                  <a:lnTo>
                    <a:pt x="845018" y="764336"/>
                  </a:lnTo>
                  <a:lnTo>
                    <a:pt x="847479" y="764336"/>
                  </a:lnTo>
                  <a:lnTo>
                    <a:pt x="847479" y="768484"/>
                  </a:lnTo>
                  <a:lnTo>
                    <a:pt x="846843" y="768484"/>
                  </a:lnTo>
                  <a:lnTo>
                    <a:pt x="851323" y="853130"/>
                  </a:lnTo>
                  <a:lnTo>
                    <a:pt x="863518" y="853130"/>
                  </a:lnTo>
                  <a:lnTo>
                    <a:pt x="863518" y="871769"/>
                  </a:lnTo>
                  <a:lnTo>
                    <a:pt x="816950" y="871769"/>
                  </a:lnTo>
                  <a:lnTo>
                    <a:pt x="816950" y="853130"/>
                  </a:lnTo>
                  <a:lnTo>
                    <a:pt x="829421" y="853130"/>
                  </a:lnTo>
                  <a:lnTo>
                    <a:pt x="832685" y="768484"/>
                  </a:lnTo>
                  <a:lnTo>
                    <a:pt x="831634" y="768484"/>
                  </a:lnTo>
                  <a:lnTo>
                    <a:pt x="831634" y="764336"/>
                  </a:lnTo>
                  <a:lnTo>
                    <a:pt x="833901" y="764336"/>
                  </a:lnTo>
                  <a:lnTo>
                    <a:pt x="833901" y="757312"/>
                  </a:lnTo>
                  <a:lnTo>
                    <a:pt x="811475" y="757312"/>
                  </a:lnTo>
                  <a:cubicBezTo>
                    <a:pt x="811475" y="757312"/>
                    <a:pt x="810341" y="757312"/>
                    <a:pt x="810341" y="757312"/>
                  </a:cubicBezTo>
                  <a:lnTo>
                    <a:pt x="100537" y="757312"/>
                  </a:lnTo>
                  <a:lnTo>
                    <a:pt x="76976" y="757312"/>
                  </a:lnTo>
                  <a:lnTo>
                    <a:pt x="76976" y="764336"/>
                  </a:lnTo>
                  <a:lnTo>
                    <a:pt x="79244" y="764336"/>
                  </a:lnTo>
                  <a:lnTo>
                    <a:pt x="79244" y="768484"/>
                  </a:lnTo>
                  <a:lnTo>
                    <a:pt x="78193" y="768484"/>
                  </a:lnTo>
                  <a:lnTo>
                    <a:pt x="81484" y="853130"/>
                  </a:lnTo>
                  <a:lnTo>
                    <a:pt x="93955" y="853130"/>
                  </a:lnTo>
                  <a:lnTo>
                    <a:pt x="93955" y="871769"/>
                  </a:lnTo>
                  <a:lnTo>
                    <a:pt x="47387" y="871769"/>
                  </a:lnTo>
                  <a:lnTo>
                    <a:pt x="47387" y="853130"/>
                  </a:lnTo>
                  <a:lnTo>
                    <a:pt x="59582" y="853130"/>
                  </a:lnTo>
                  <a:lnTo>
                    <a:pt x="64062" y="768484"/>
                  </a:lnTo>
                  <a:lnTo>
                    <a:pt x="63426" y="768484"/>
                  </a:lnTo>
                  <a:lnTo>
                    <a:pt x="63426" y="764336"/>
                  </a:lnTo>
                  <a:lnTo>
                    <a:pt x="65860" y="764336"/>
                  </a:lnTo>
                  <a:lnTo>
                    <a:pt x="65860" y="757312"/>
                  </a:lnTo>
                  <a:lnTo>
                    <a:pt x="43654" y="757312"/>
                  </a:lnTo>
                  <a:cubicBezTo>
                    <a:pt x="43654" y="757312"/>
                    <a:pt x="42520" y="757312"/>
                    <a:pt x="42520" y="757312"/>
                  </a:cubicBezTo>
                  <a:lnTo>
                    <a:pt x="0" y="757312"/>
                  </a:lnTo>
                  <a:lnTo>
                    <a:pt x="466" y="748076"/>
                  </a:lnTo>
                  <a:lnTo>
                    <a:pt x="9696" y="748076"/>
                  </a:lnTo>
                  <a:lnTo>
                    <a:pt x="8645" y="679136"/>
                  </a:lnTo>
                  <a:lnTo>
                    <a:pt x="3605" y="685927"/>
                  </a:lnTo>
                  <a:lnTo>
                    <a:pt x="4032" y="677460"/>
                  </a:lnTo>
                  <a:lnTo>
                    <a:pt x="6156" y="674601"/>
                  </a:lnTo>
                  <a:lnTo>
                    <a:pt x="4153" y="675071"/>
                  </a:lnTo>
                  <a:lnTo>
                    <a:pt x="4182" y="674487"/>
                  </a:lnTo>
                  <a:lnTo>
                    <a:pt x="4963" y="669372"/>
                  </a:lnTo>
                  <a:lnTo>
                    <a:pt x="8102" y="668683"/>
                  </a:lnTo>
                  <a:cubicBezTo>
                    <a:pt x="58794" y="655078"/>
                    <a:pt x="71390" y="641472"/>
                    <a:pt x="71390" y="641472"/>
                  </a:cubicBezTo>
                  <a:cubicBezTo>
                    <a:pt x="71390" y="641472"/>
                    <a:pt x="119258" y="695507"/>
                    <a:pt x="423997" y="695507"/>
                  </a:cubicBezTo>
                  <a:cubicBezTo>
                    <a:pt x="433455" y="695507"/>
                    <a:pt x="443188" y="695451"/>
                    <a:pt x="453171" y="695341"/>
                  </a:cubicBezTo>
                  <a:lnTo>
                    <a:pt x="453171" y="695285"/>
                  </a:lnTo>
                  <a:cubicBezTo>
                    <a:pt x="453946" y="695285"/>
                    <a:pt x="454665" y="695285"/>
                    <a:pt x="455411" y="695285"/>
                  </a:cubicBezTo>
                  <a:cubicBezTo>
                    <a:pt x="456158" y="695285"/>
                    <a:pt x="456904" y="695285"/>
                    <a:pt x="457651" y="695285"/>
                  </a:cubicBezTo>
                  <a:lnTo>
                    <a:pt x="457651" y="695341"/>
                  </a:lnTo>
                  <a:cubicBezTo>
                    <a:pt x="467634" y="695451"/>
                    <a:pt x="477340" y="695507"/>
                    <a:pt x="486825" y="695507"/>
                  </a:cubicBezTo>
                  <a:cubicBezTo>
                    <a:pt x="791592" y="695507"/>
                    <a:pt x="839432" y="641472"/>
                    <a:pt x="839432" y="641472"/>
                  </a:cubicBezTo>
                  <a:cubicBezTo>
                    <a:pt x="839432" y="641472"/>
                    <a:pt x="889844" y="695894"/>
                    <a:pt x="1194583" y="695894"/>
                  </a:cubicBezTo>
                  <a:lnTo>
                    <a:pt x="1221738" y="750315"/>
                  </a:lnTo>
                  <a:lnTo>
                    <a:pt x="1241345" y="788919"/>
                  </a:lnTo>
                  <a:lnTo>
                    <a:pt x="1241538" y="450803"/>
                  </a:lnTo>
                  <a:lnTo>
                    <a:pt x="1236643" y="445162"/>
                  </a:lnTo>
                  <a:lnTo>
                    <a:pt x="1239077" y="443862"/>
                  </a:lnTo>
                  <a:lnTo>
                    <a:pt x="1239409" y="433105"/>
                  </a:lnTo>
                  <a:lnTo>
                    <a:pt x="1237611" y="430976"/>
                  </a:lnTo>
                  <a:lnTo>
                    <a:pt x="1241510" y="426413"/>
                  </a:lnTo>
                  <a:lnTo>
                    <a:pt x="1246405" y="426413"/>
                  </a:lnTo>
                  <a:lnTo>
                    <a:pt x="1246405" y="434239"/>
                  </a:lnTo>
                  <a:lnTo>
                    <a:pt x="1253595" y="434239"/>
                  </a:lnTo>
                  <a:lnTo>
                    <a:pt x="1253595" y="426413"/>
                  </a:lnTo>
                  <a:lnTo>
                    <a:pt x="1261753" y="426413"/>
                  </a:lnTo>
                  <a:lnTo>
                    <a:pt x="1261753" y="434239"/>
                  </a:lnTo>
                  <a:lnTo>
                    <a:pt x="1269412" y="434239"/>
                  </a:lnTo>
                  <a:lnTo>
                    <a:pt x="1269412" y="426413"/>
                  </a:lnTo>
                  <a:lnTo>
                    <a:pt x="1277570" y="426413"/>
                  </a:lnTo>
                  <a:lnTo>
                    <a:pt x="1277570" y="434239"/>
                  </a:lnTo>
                  <a:lnTo>
                    <a:pt x="1284262" y="434239"/>
                  </a:lnTo>
                  <a:lnTo>
                    <a:pt x="1284262" y="426413"/>
                  </a:lnTo>
                  <a:lnTo>
                    <a:pt x="1293084" y="426413"/>
                  </a:lnTo>
                  <a:lnTo>
                    <a:pt x="1293084" y="434239"/>
                  </a:lnTo>
                  <a:lnTo>
                    <a:pt x="1299444" y="434239"/>
                  </a:lnTo>
                  <a:lnTo>
                    <a:pt x="1299444" y="426413"/>
                  </a:lnTo>
                  <a:lnTo>
                    <a:pt x="1307768" y="426413"/>
                  </a:lnTo>
                  <a:lnTo>
                    <a:pt x="1307768" y="434239"/>
                  </a:lnTo>
                  <a:lnTo>
                    <a:pt x="1313464" y="434239"/>
                  </a:lnTo>
                  <a:lnTo>
                    <a:pt x="1313464" y="426413"/>
                  </a:lnTo>
                  <a:lnTo>
                    <a:pt x="1321954" y="426413"/>
                  </a:lnTo>
                  <a:lnTo>
                    <a:pt x="1321954" y="434239"/>
                  </a:lnTo>
                  <a:lnTo>
                    <a:pt x="1328314" y="434239"/>
                  </a:lnTo>
                  <a:lnTo>
                    <a:pt x="1334315" y="666250"/>
                  </a:lnTo>
                  <a:lnTo>
                    <a:pt x="1336416" y="428736"/>
                  </a:lnTo>
                  <a:lnTo>
                    <a:pt x="1332047" y="421242"/>
                  </a:lnTo>
                  <a:lnTo>
                    <a:pt x="1335227" y="417702"/>
                  </a:lnTo>
                  <a:lnTo>
                    <a:pt x="1335227" y="402299"/>
                  </a:lnTo>
                  <a:lnTo>
                    <a:pt x="1333513" y="400087"/>
                  </a:lnTo>
                  <a:lnTo>
                    <a:pt x="1336804" y="395690"/>
                  </a:lnTo>
                  <a:lnTo>
                    <a:pt x="1340592" y="394114"/>
                  </a:lnTo>
                  <a:lnTo>
                    <a:pt x="1343662" y="396437"/>
                  </a:lnTo>
                  <a:lnTo>
                    <a:pt x="1346095" y="392648"/>
                  </a:lnTo>
                  <a:lnTo>
                    <a:pt x="1351847" y="391182"/>
                  </a:lnTo>
                  <a:lnTo>
                    <a:pt x="1354889" y="394003"/>
                  </a:lnTo>
                  <a:lnTo>
                    <a:pt x="1357461" y="390104"/>
                  </a:lnTo>
                  <a:lnTo>
                    <a:pt x="1360392" y="389136"/>
                  </a:lnTo>
                  <a:lnTo>
                    <a:pt x="1366144" y="389136"/>
                  </a:lnTo>
                  <a:lnTo>
                    <a:pt x="1366144" y="399755"/>
                  </a:lnTo>
                  <a:lnTo>
                    <a:pt x="1374329" y="399506"/>
                  </a:lnTo>
                  <a:lnTo>
                    <a:pt x="1374329" y="389108"/>
                  </a:lnTo>
                  <a:lnTo>
                    <a:pt x="1384478" y="389108"/>
                  </a:lnTo>
                  <a:lnTo>
                    <a:pt x="1384616" y="398870"/>
                  </a:lnTo>
                  <a:lnTo>
                    <a:pt x="1392442" y="398621"/>
                  </a:lnTo>
                  <a:lnTo>
                    <a:pt x="1392442" y="389081"/>
                  </a:lnTo>
                  <a:lnTo>
                    <a:pt x="1401014" y="389938"/>
                  </a:lnTo>
                  <a:lnTo>
                    <a:pt x="1404056" y="394943"/>
                  </a:lnTo>
                  <a:lnTo>
                    <a:pt x="1407236" y="391763"/>
                  </a:lnTo>
                  <a:lnTo>
                    <a:pt x="1414343" y="392980"/>
                  </a:lnTo>
                  <a:lnTo>
                    <a:pt x="1417026" y="397736"/>
                  </a:lnTo>
                  <a:lnTo>
                    <a:pt x="1420316" y="394556"/>
                  </a:lnTo>
                  <a:lnTo>
                    <a:pt x="1424464" y="395303"/>
                  </a:lnTo>
                  <a:lnTo>
                    <a:pt x="1427893" y="400197"/>
                  </a:lnTo>
                  <a:lnTo>
                    <a:pt x="1426677" y="401801"/>
                  </a:lnTo>
                  <a:lnTo>
                    <a:pt x="1426511" y="405700"/>
                  </a:lnTo>
                  <a:lnTo>
                    <a:pt x="1426511" y="417923"/>
                  </a:lnTo>
                  <a:lnTo>
                    <a:pt x="1427921" y="419416"/>
                  </a:lnTo>
                  <a:lnTo>
                    <a:pt x="1429746" y="428210"/>
                  </a:lnTo>
                  <a:lnTo>
                    <a:pt x="1424492" y="432248"/>
                  </a:lnTo>
                  <a:lnTo>
                    <a:pt x="1429193" y="721777"/>
                  </a:lnTo>
                  <a:lnTo>
                    <a:pt x="1429746" y="437502"/>
                  </a:lnTo>
                  <a:lnTo>
                    <a:pt x="1436936" y="430008"/>
                  </a:lnTo>
                  <a:lnTo>
                    <a:pt x="1433783" y="417951"/>
                  </a:lnTo>
                  <a:lnTo>
                    <a:pt x="1431101" y="413913"/>
                  </a:lnTo>
                  <a:lnTo>
                    <a:pt x="1431184" y="413471"/>
                  </a:lnTo>
                  <a:lnTo>
                    <a:pt x="1431184" y="403267"/>
                  </a:lnTo>
                  <a:cubicBezTo>
                    <a:pt x="1431184" y="403267"/>
                    <a:pt x="1433258" y="401193"/>
                    <a:pt x="1433258" y="401193"/>
                  </a:cubicBezTo>
                  <a:lnTo>
                    <a:pt x="1428280" y="391293"/>
                  </a:lnTo>
                  <a:lnTo>
                    <a:pt x="1421063" y="389413"/>
                  </a:lnTo>
                  <a:lnTo>
                    <a:pt x="1418381" y="391210"/>
                  </a:lnTo>
                  <a:lnTo>
                    <a:pt x="1416168" y="388030"/>
                  </a:lnTo>
                  <a:lnTo>
                    <a:pt x="1408343" y="386647"/>
                  </a:lnTo>
                  <a:lnTo>
                    <a:pt x="1404665" y="388279"/>
                  </a:lnTo>
                  <a:lnTo>
                    <a:pt x="1403199" y="384573"/>
                  </a:lnTo>
                  <a:lnTo>
                    <a:pt x="1392304" y="383218"/>
                  </a:lnTo>
                  <a:lnTo>
                    <a:pt x="1388405" y="386288"/>
                  </a:lnTo>
                  <a:lnTo>
                    <a:pt x="1382791" y="386150"/>
                  </a:lnTo>
                  <a:lnTo>
                    <a:pt x="1385473" y="383965"/>
                  </a:lnTo>
                  <a:lnTo>
                    <a:pt x="1385473" y="381393"/>
                  </a:lnTo>
                  <a:lnTo>
                    <a:pt x="1384257" y="379319"/>
                  </a:lnTo>
                  <a:lnTo>
                    <a:pt x="1384865" y="377743"/>
                  </a:lnTo>
                  <a:lnTo>
                    <a:pt x="1384976" y="370525"/>
                  </a:lnTo>
                  <a:lnTo>
                    <a:pt x="1383510" y="369779"/>
                  </a:lnTo>
                  <a:lnTo>
                    <a:pt x="1386441" y="366239"/>
                  </a:lnTo>
                  <a:lnTo>
                    <a:pt x="1391695" y="366239"/>
                  </a:lnTo>
                  <a:lnTo>
                    <a:pt x="1391695" y="374093"/>
                  </a:lnTo>
                  <a:lnTo>
                    <a:pt x="1398553" y="374093"/>
                  </a:lnTo>
                  <a:lnTo>
                    <a:pt x="1398553" y="366599"/>
                  </a:lnTo>
                  <a:lnTo>
                    <a:pt x="1407624" y="366599"/>
                  </a:lnTo>
                  <a:lnTo>
                    <a:pt x="1407624" y="374093"/>
                  </a:lnTo>
                  <a:lnTo>
                    <a:pt x="1415117" y="374093"/>
                  </a:lnTo>
                  <a:lnTo>
                    <a:pt x="1415117" y="366599"/>
                  </a:lnTo>
                  <a:lnTo>
                    <a:pt x="1423994" y="366599"/>
                  </a:lnTo>
                  <a:lnTo>
                    <a:pt x="1423994" y="374093"/>
                  </a:lnTo>
                  <a:lnTo>
                    <a:pt x="1430686" y="374093"/>
                  </a:lnTo>
                  <a:lnTo>
                    <a:pt x="1430686" y="366599"/>
                  </a:lnTo>
                  <a:lnTo>
                    <a:pt x="1439231" y="366599"/>
                  </a:lnTo>
                  <a:lnTo>
                    <a:pt x="1439231" y="374093"/>
                  </a:lnTo>
                  <a:lnTo>
                    <a:pt x="1446255" y="374093"/>
                  </a:lnTo>
                  <a:lnTo>
                    <a:pt x="1446255" y="366239"/>
                  </a:lnTo>
                  <a:lnTo>
                    <a:pt x="1455464" y="366239"/>
                  </a:lnTo>
                  <a:lnTo>
                    <a:pt x="1455464" y="374093"/>
                  </a:lnTo>
                  <a:lnTo>
                    <a:pt x="1462571" y="374093"/>
                  </a:lnTo>
                  <a:lnTo>
                    <a:pt x="1462571" y="366239"/>
                  </a:lnTo>
                  <a:lnTo>
                    <a:pt x="1471226" y="366239"/>
                  </a:lnTo>
                  <a:lnTo>
                    <a:pt x="1471226" y="374093"/>
                  </a:lnTo>
                  <a:lnTo>
                    <a:pt x="1478554" y="374093"/>
                  </a:lnTo>
                  <a:lnTo>
                    <a:pt x="1478554" y="366239"/>
                  </a:lnTo>
                  <a:lnTo>
                    <a:pt x="1487182" y="366239"/>
                  </a:lnTo>
                  <a:lnTo>
                    <a:pt x="1487182" y="374093"/>
                  </a:lnTo>
                  <a:lnTo>
                    <a:pt x="1494261" y="374093"/>
                  </a:lnTo>
                  <a:lnTo>
                    <a:pt x="1494261" y="366239"/>
                  </a:lnTo>
                  <a:lnTo>
                    <a:pt x="1503470" y="366239"/>
                  </a:lnTo>
                  <a:lnTo>
                    <a:pt x="1503470" y="374093"/>
                  </a:lnTo>
                  <a:lnTo>
                    <a:pt x="1510466" y="374093"/>
                  </a:lnTo>
                  <a:lnTo>
                    <a:pt x="1510466" y="366599"/>
                  </a:lnTo>
                  <a:lnTo>
                    <a:pt x="1519038" y="366599"/>
                  </a:lnTo>
                  <a:lnTo>
                    <a:pt x="1519038" y="374093"/>
                  </a:lnTo>
                  <a:lnTo>
                    <a:pt x="1525703" y="374093"/>
                  </a:lnTo>
                  <a:lnTo>
                    <a:pt x="1525703" y="366599"/>
                  </a:lnTo>
                  <a:lnTo>
                    <a:pt x="1534607" y="366599"/>
                  </a:lnTo>
                  <a:lnTo>
                    <a:pt x="1534607" y="374093"/>
                  </a:lnTo>
                  <a:lnTo>
                    <a:pt x="1542101" y="374093"/>
                  </a:lnTo>
                  <a:lnTo>
                    <a:pt x="1542101" y="366599"/>
                  </a:lnTo>
                  <a:lnTo>
                    <a:pt x="1551144" y="366599"/>
                  </a:lnTo>
                  <a:lnTo>
                    <a:pt x="1551144" y="374093"/>
                  </a:lnTo>
                  <a:lnTo>
                    <a:pt x="1558002" y="374093"/>
                  </a:lnTo>
                  <a:lnTo>
                    <a:pt x="1558002" y="366239"/>
                  </a:lnTo>
                  <a:lnTo>
                    <a:pt x="1563256" y="366239"/>
                  </a:lnTo>
                  <a:lnTo>
                    <a:pt x="1566187" y="369779"/>
                  </a:lnTo>
                  <a:lnTo>
                    <a:pt x="1564722" y="370525"/>
                  </a:lnTo>
                  <a:lnTo>
                    <a:pt x="1564832" y="377743"/>
                  </a:lnTo>
                  <a:lnTo>
                    <a:pt x="1565441" y="379319"/>
                  </a:lnTo>
                  <a:lnTo>
                    <a:pt x="1564224" y="381393"/>
                  </a:lnTo>
                  <a:lnTo>
                    <a:pt x="1564224" y="383965"/>
                  </a:lnTo>
                  <a:lnTo>
                    <a:pt x="1566906" y="386150"/>
                  </a:lnTo>
                  <a:lnTo>
                    <a:pt x="1561293" y="386288"/>
                  </a:lnTo>
                  <a:lnTo>
                    <a:pt x="1557366" y="383218"/>
                  </a:lnTo>
                  <a:lnTo>
                    <a:pt x="1546498" y="384573"/>
                  </a:lnTo>
                  <a:lnTo>
                    <a:pt x="1545033" y="388279"/>
                  </a:lnTo>
                  <a:lnTo>
                    <a:pt x="1541355" y="386647"/>
                  </a:lnTo>
                  <a:lnTo>
                    <a:pt x="1533529" y="388030"/>
                  </a:lnTo>
                  <a:lnTo>
                    <a:pt x="1531317" y="391210"/>
                  </a:lnTo>
                  <a:lnTo>
                    <a:pt x="1528634" y="389413"/>
                  </a:lnTo>
                  <a:lnTo>
                    <a:pt x="1521417" y="391293"/>
                  </a:lnTo>
                  <a:cubicBezTo>
                    <a:pt x="1521417" y="391293"/>
                    <a:pt x="1516439" y="401193"/>
                    <a:pt x="1516439" y="401193"/>
                  </a:cubicBezTo>
                  <a:lnTo>
                    <a:pt x="1518513" y="403267"/>
                  </a:lnTo>
                  <a:lnTo>
                    <a:pt x="1518513" y="413471"/>
                  </a:lnTo>
                  <a:lnTo>
                    <a:pt x="1518596" y="413913"/>
                  </a:lnTo>
                  <a:lnTo>
                    <a:pt x="1515914" y="417951"/>
                  </a:lnTo>
                  <a:lnTo>
                    <a:pt x="1512761" y="430008"/>
                  </a:lnTo>
                  <a:lnTo>
                    <a:pt x="1519951" y="437502"/>
                  </a:lnTo>
                  <a:lnTo>
                    <a:pt x="1520504" y="721777"/>
                  </a:lnTo>
                  <a:lnTo>
                    <a:pt x="1525205" y="432248"/>
                  </a:lnTo>
                  <a:lnTo>
                    <a:pt x="1519951" y="428210"/>
                  </a:lnTo>
                  <a:lnTo>
                    <a:pt x="1521776" y="419416"/>
                  </a:lnTo>
                  <a:lnTo>
                    <a:pt x="1523186" y="417923"/>
                  </a:lnTo>
                  <a:lnTo>
                    <a:pt x="1523186" y="405700"/>
                  </a:lnTo>
                  <a:lnTo>
                    <a:pt x="1522993" y="401801"/>
                  </a:lnTo>
                  <a:lnTo>
                    <a:pt x="1521776" y="400197"/>
                  </a:lnTo>
                  <a:lnTo>
                    <a:pt x="1525205" y="395303"/>
                  </a:lnTo>
                  <a:lnTo>
                    <a:pt x="1529381" y="394556"/>
                  </a:lnTo>
                  <a:lnTo>
                    <a:pt x="1532672" y="397736"/>
                  </a:lnTo>
                  <a:lnTo>
                    <a:pt x="1535354" y="392980"/>
                  </a:lnTo>
                  <a:lnTo>
                    <a:pt x="1542461" y="391763"/>
                  </a:lnTo>
                  <a:lnTo>
                    <a:pt x="1545641" y="394943"/>
                  </a:lnTo>
                  <a:lnTo>
                    <a:pt x="1548683" y="389938"/>
                  </a:lnTo>
                  <a:lnTo>
                    <a:pt x="1557255" y="389081"/>
                  </a:lnTo>
                  <a:lnTo>
                    <a:pt x="1557255" y="398621"/>
                  </a:lnTo>
                  <a:lnTo>
                    <a:pt x="1565081" y="398870"/>
                  </a:lnTo>
                  <a:lnTo>
                    <a:pt x="1565219" y="389108"/>
                  </a:lnTo>
                  <a:lnTo>
                    <a:pt x="1575368" y="389108"/>
                  </a:lnTo>
                  <a:lnTo>
                    <a:pt x="1575368" y="399506"/>
                  </a:lnTo>
                  <a:lnTo>
                    <a:pt x="1583554" y="399755"/>
                  </a:lnTo>
                  <a:lnTo>
                    <a:pt x="1583554" y="389136"/>
                  </a:lnTo>
                  <a:lnTo>
                    <a:pt x="1589306" y="389136"/>
                  </a:lnTo>
                  <a:lnTo>
                    <a:pt x="1592237" y="390104"/>
                  </a:lnTo>
                  <a:lnTo>
                    <a:pt x="1594808" y="394003"/>
                  </a:lnTo>
                  <a:lnTo>
                    <a:pt x="1597850" y="391182"/>
                  </a:lnTo>
                  <a:lnTo>
                    <a:pt x="1603602" y="392648"/>
                  </a:lnTo>
                  <a:lnTo>
                    <a:pt x="1606063" y="396437"/>
                  </a:lnTo>
                  <a:lnTo>
                    <a:pt x="1609105" y="394114"/>
                  </a:lnTo>
                  <a:lnTo>
                    <a:pt x="1612894" y="395690"/>
                  </a:lnTo>
                  <a:lnTo>
                    <a:pt x="1616184" y="400087"/>
                  </a:lnTo>
                  <a:lnTo>
                    <a:pt x="1614470" y="402299"/>
                  </a:lnTo>
                  <a:lnTo>
                    <a:pt x="1614470" y="417702"/>
                  </a:lnTo>
                  <a:lnTo>
                    <a:pt x="1617650" y="421242"/>
                  </a:lnTo>
                  <a:lnTo>
                    <a:pt x="1613253" y="428736"/>
                  </a:lnTo>
                  <a:lnTo>
                    <a:pt x="1615383" y="666250"/>
                  </a:lnTo>
                  <a:lnTo>
                    <a:pt x="1620581" y="449724"/>
                  </a:lnTo>
                  <a:lnTo>
                    <a:pt x="1620581" y="434073"/>
                  </a:lnTo>
                  <a:lnTo>
                    <a:pt x="1621411" y="434073"/>
                  </a:lnTo>
                  <a:lnTo>
                    <a:pt x="1621411" y="434239"/>
                  </a:lnTo>
                  <a:lnTo>
                    <a:pt x="1627771" y="434239"/>
                  </a:lnTo>
                  <a:lnTo>
                    <a:pt x="1627771" y="426413"/>
                  </a:lnTo>
                  <a:lnTo>
                    <a:pt x="1636261" y="426413"/>
                  </a:lnTo>
                  <a:lnTo>
                    <a:pt x="1636261" y="434239"/>
                  </a:lnTo>
                  <a:lnTo>
                    <a:pt x="1641957" y="434239"/>
                  </a:lnTo>
                  <a:lnTo>
                    <a:pt x="1641957" y="426413"/>
                  </a:lnTo>
                  <a:lnTo>
                    <a:pt x="1650281" y="426413"/>
                  </a:lnTo>
                  <a:lnTo>
                    <a:pt x="1650281" y="434239"/>
                  </a:lnTo>
                  <a:lnTo>
                    <a:pt x="1656641" y="434239"/>
                  </a:lnTo>
                  <a:lnTo>
                    <a:pt x="1656641" y="426413"/>
                  </a:lnTo>
                  <a:lnTo>
                    <a:pt x="1665463" y="426413"/>
                  </a:lnTo>
                  <a:lnTo>
                    <a:pt x="1665463" y="434239"/>
                  </a:lnTo>
                  <a:lnTo>
                    <a:pt x="1672155" y="434239"/>
                  </a:lnTo>
                  <a:lnTo>
                    <a:pt x="1672155" y="426413"/>
                  </a:lnTo>
                  <a:lnTo>
                    <a:pt x="1680312" y="426413"/>
                  </a:lnTo>
                  <a:lnTo>
                    <a:pt x="1680312" y="434239"/>
                  </a:lnTo>
                  <a:lnTo>
                    <a:pt x="1687972" y="434239"/>
                  </a:lnTo>
                  <a:lnTo>
                    <a:pt x="1687972" y="426413"/>
                  </a:lnTo>
                  <a:lnTo>
                    <a:pt x="1696130" y="426413"/>
                  </a:lnTo>
                  <a:lnTo>
                    <a:pt x="1696130" y="434239"/>
                  </a:lnTo>
                  <a:lnTo>
                    <a:pt x="1703292" y="434239"/>
                  </a:lnTo>
                  <a:lnTo>
                    <a:pt x="1703292" y="426413"/>
                  </a:lnTo>
                  <a:lnTo>
                    <a:pt x="1708187" y="426413"/>
                  </a:lnTo>
                  <a:lnTo>
                    <a:pt x="1712114" y="430976"/>
                  </a:lnTo>
                  <a:lnTo>
                    <a:pt x="1710316" y="433105"/>
                  </a:lnTo>
                  <a:lnTo>
                    <a:pt x="1710648" y="443862"/>
                  </a:lnTo>
                  <a:lnTo>
                    <a:pt x="1713109" y="445162"/>
                  </a:lnTo>
                  <a:lnTo>
                    <a:pt x="1708215" y="450803"/>
                  </a:lnTo>
                  <a:lnTo>
                    <a:pt x="1718833" y="837645"/>
                  </a:lnTo>
                  <a:lnTo>
                    <a:pt x="1723009" y="669347"/>
                  </a:lnTo>
                  <a:lnTo>
                    <a:pt x="1731803" y="669153"/>
                  </a:lnTo>
                  <a:lnTo>
                    <a:pt x="1731803" y="663125"/>
                  </a:lnTo>
                  <a:lnTo>
                    <a:pt x="1856989" y="663125"/>
                  </a:lnTo>
                  <a:lnTo>
                    <a:pt x="1856989" y="633923"/>
                  </a:lnTo>
                  <a:lnTo>
                    <a:pt x="1921089" y="633923"/>
                  </a:lnTo>
                  <a:lnTo>
                    <a:pt x="1921089" y="371549"/>
                  </a:lnTo>
                  <a:lnTo>
                    <a:pt x="1923108" y="371549"/>
                  </a:lnTo>
                  <a:lnTo>
                    <a:pt x="1923108" y="363502"/>
                  </a:lnTo>
                  <a:lnTo>
                    <a:pt x="1922693" y="362340"/>
                  </a:lnTo>
                  <a:lnTo>
                    <a:pt x="1922693" y="360570"/>
                  </a:lnTo>
                  <a:lnTo>
                    <a:pt x="1923523" y="359907"/>
                  </a:lnTo>
                  <a:lnTo>
                    <a:pt x="1923523" y="356644"/>
                  </a:lnTo>
                  <a:lnTo>
                    <a:pt x="1924352" y="356229"/>
                  </a:lnTo>
                  <a:lnTo>
                    <a:pt x="1924352" y="337867"/>
                  </a:lnTo>
                  <a:lnTo>
                    <a:pt x="1922666" y="335433"/>
                  </a:lnTo>
                  <a:lnTo>
                    <a:pt x="1922666" y="329294"/>
                  </a:lnTo>
                  <a:lnTo>
                    <a:pt x="1924352" y="324510"/>
                  </a:lnTo>
                  <a:lnTo>
                    <a:pt x="1925348" y="324510"/>
                  </a:lnTo>
                  <a:lnTo>
                    <a:pt x="1925348" y="317127"/>
                  </a:lnTo>
                  <a:lnTo>
                    <a:pt x="1931902" y="312675"/>
                  </a:lnTo>
                  <a:lnTo>
                    <a:pt x="1934833" y="312675"/>
                  </a:lnTo>
                  <a:lnTo>
                    <a:pt x="1934833" y="311430"/>
                  </a:lnTo>
                  <a:lnTo>
                    <a:pt x="1936520" y="310822"/>
                  </a:lnTo>
                  <a:lnTo>
                    <a:pt x="1936520" y="306038"/>
                  </a:lnTo>
                  <a:lnTo>
                    <a:pt x="1938207" y="304545"/>
                  </a:lnTo>
                  <a:lnTo>
                    <a:pt x="1938207" y="300922"/>
                  </a:lnTo>
                  <a:lnTo>
                    <a:pt x="1939451" y="300922"/>
                  </a:lnTo>
                  <a:lnTo>
                    <a:pt x="1939451" y="303411"/>
                  </a:lnTo>
                  <a:lnTo>
                    <a:pt x="1943322" y="299982"/>
                  </a:lnTo>
                  <a:lnTo>
                    <a:pt x="1943322" y="257202"/>
                  </a:lnTo>
                  <a:lnTo>
                    <a:pt x="1946835" y="252335"/>
                  </a:lnTo>
                  <a:lnTo>
                    <a:pt x="1946835" y="246639"/>
                  </a:lnTo>
                  <a:lnTo>
                    <a:pt x="1948189" y="244371"/>
                  </a:lnTo>
                  <a:lnTo>
                    <a:pt x="1947277" y="243127"/>
                  </a:lnTo>
                  <a:lnTo>
                    <a:pt x="1948687" y="240113"/>
                  </a:lnTo>
                  <a:lnTo>
                    <a:pt x="1950125" y="242214"/>
                  </a:lnTo>
                  <a:lnTo>
                    <a:pt x="1952227" y="240113"/>
                  </a:lnTo>
                  <a:lnTo>
                    <a:pt x="1952227" y="236020"/>
                  </a:lnTo>
                  <a:lnTo>
                    <a:pt x="1954080" y="234167"/>
                  </a:lnTo>
                  <a:lnTo>
                    <a:pt x="1954080" y="229632"/>
                  </a:lnTo>
                  <a:lnTo>
                    <a:pt x="1957758" y="226203"/>
                  </a:lnTo>
                  <a:lnTo>
                    <a:pt x="1962790" y="226203"/>
                  </a:lnTo>
                  <a:lnTo>
                    <a:pt x="1963454" y="225539"/>
                  </a:lnTo>
                  <a:lnTo>
                    <a:pt x="1963454" y="203306"/>
                  </a:lnTo>
                  <a:lnTo>
                    <a:pt x="1968570" y="199379"/>
                  </a:lnTo>
                  <a:lnTo>
                    <a:pt x="1968570" y="197941"/>
                  </a:lnTo>
                  <a:lnTo>
                    <a:pt x="1971363" y="196448"/>
                  </a:lnTo>
                  <a:lnTo>
                    <a:pt x="1971363" y="192217"/>
                  </a:lnTo>
                  <a:cubicBezTo>
                    <a:pt x="1971114" y="191968"/>
                    <a:pt x="1970865" y="191664"/>
                    <a:pt x="1970589" y="191498"/>
                  </a:cubicBezTo>
                  <a:cubicBezTo>
                    <a:pt x="1969759" y="191028"/>
                    <a:pt x="1968929" y="190917"/>
                    <a:pt x="1967989" y="190834"/>
                  </a:cubicBezTo>
                  <a:cubicBezTo>
                    <a:pt x="1966109" y="190696"/>
                    <a:pt x="1966524" y="187848"/>
                    <a:pt x="1964726" y="187488"/>
                  </a:cubicBezTo>
                  <a:cubicBezTo>
                    <a:pt x="1964699" y="186852"/>
                    <a:pt x="1964505" y="186161"/>
                    <a:pt x="1965113" y="185995"/>
                  </a:cubicBezTo>
                  <a:cubicBezTo>
                    <a:pt x="1965915" y="185774"/>
                    <a:pt x="1967077" y="186078"/>
                    <a:pt x="1967796" y="186410"/>
                  </a:cubicBezTo>
                  <a:cubicBezTo>
                    <a:pt x="1968625" y="186825"/>
                    <a:pt x="1969151" y="186908"/>
                    <a:pt x="1970063" y="187074"/>
                  </a:cubicBezTo>
                  <a:cubicBezTo>
                    <a:pt x="1970616" y="187184"/>
                    <a:pt x="1971031" y="187350"/>
                    <a:pt x="1971391" y="187682"/>
                  </a:cubicBezTo>
                  <a:lnTo>
                    <a:pt x="1971391" y="185497"/>
                  </a:lnTo>
                  <a:cubicBezTo>
                    <a:pt x="1971142" y="185553"/>
                    <a:pt x="1970865" y="185663"/>
                    <a:pt x="1970616" y="185719"/>
                  </a:cubicBezTo>
                  <a:cubicBezTo>
                    <a:pt x="1969759" y="185885"/>
                    <a:pt x="1969206" y="185774"/>
                    <a:pt x="1968487" y="185331"/>
                  </a:cubicBezTo>
                  <a:cubicBezTo>
                    <a:pt x="1967215" y="184585"/>
                    <a:pt x="1965915" y="184806"/>
                    <a:pt x="1964505" y="184723"/>
                  </a:cubicBezTo>
                  <a:cubicBezTo>
                    <a:pt x="1964560" y="184253"/>
                    <a:pt x="1964422" y="183755"/>
                    <a:pt x="1964118" y="183451"/>
                  </a:cubicBezTo>
                  <a:cubicBezTo>
                    <a:pt x="1964588" y="182621"/>
                    <a:pt x="1965335" y="183036"/>
                    <a:pt x="1966164" y="182787"/>
                  </a:cubicBezTo>
                  <a:cubicBezTo>
                    <a:pt x="1967077" y="182483"/>
                    <a:pt x="1967298" y="181488"/>
                    <a:pt x="1968238" y="181377"/>
                  </a:cubicBezTo>
                  <a:cubicBezTo>
                    <a:pt x="1968985" y="181294"/>
                    <a:pt x="1970561" y="181571"/>
                    <a:pt x="1971391" y="182151"/>
                  </a:cubicBezTo>
                  <a:lnTo>
                    <a:pt x="1971391" y="180879"/>
                  </a:lnTo>
                  <a:cubicBezTo>
                    <a:pt x="1971031" y="180769"/>
                    <a:pt x="1970561" y="180271"/>
                    <a:pt x="1970395" y="180133"/>
                  </a:cubicBezTo>
                  <a:cubicBezTo>
                    <a:pt x="1969704" y="179580"/>
                    <a:pt x="1969151" y="179663"/>
                    <a:pt x="1968293" y="179663"/>
                  </a:cubicBezTo>
                  <a:cubicBezTo>
                    <a:pt x="1967049" y="179635"/>
                    <a:pt x="1966164" y="179109"/>
                    <a:pt x="1965030" y="178612"/>
                  </a:cubicBezTo>
                  <a:cubicBezTo>
                    <a:pt x="1964145" y="178225"/>
                    <a:pt x="1963122" y="177948"/>
                    <a:pt x="1962182" y="178363"/>
                  </a:cubicBezTo>
                  <a:cubicBezTo>
                    <a:pt x="1962182" y="177091"/>
                    <a:pt x="1962348" y="175653"/>
                    <a:pt x="1961076" y="174906"/>
                  </a:cubicBezTo>
                  <a:cubicBezTo>
                    <a:pt x="1961684" y="174381"/>
                    <a:pt x="1961933" y="173966"/>
                    <a:pt x="1962763" y="173938"/>
                  </a:cubicBezTo>
                  <a:cubicBezTo>
                    <a:pt x="1964062" y="173883"/>
                    <a:pt x="1965252" y="174436"/>
                    <a:pt x="1966579" y="174298"/>
                  </a:cubicBezTo>
                  <a:cubicBezTo>
                    <a:pt x="1968266" y="174132"/>
                    <a:pt x="1969870" y="173800"/>
                    <a:pt x="1971418" y="174657"/>
                  </a:cubicBezTo>
                  <a:lnTo>
                    <a:pt x="1971418" y="171422"/>
                  </a:lnTo>
                  <a:lnTo>
                    <a:pt x="1972248" y="171422"/>
                  </a:lnTo>
                  <a:lnTo>
                    <a:pt x="1972248" y="196420"/>
                  </a:lnTo>
                  <a:lnTo>
                    <a:pt x="1975207" y="197997"/>
                  </a:lnTo>
                  <a:lnTo>
                    <a:pt x="1975207" y="199407"/>
                  </a:lnTo>
                  <a:lnTo>
                    <a:pt x="1980323" y="203361"/>
                  </a:lnTo>
                  <a:lnTo>
                    <a:pt x="1980323" y="225595"/>
                  </a:lnTo>
                  <a:lnTo>
                    <a:pt x="1980986" y="226258"/>
                  </a:lnTo>
                  <a:lnTo>
                    <a:pt x="1986019" y="226258"/>
                  </a:lnTo>
                  <a:lnTo>
                    <a:pt x="1989725" y="229715"/>
                  </a:lnTo>
                  <a:lnTo>
                    <a:pt x="1989725" y="234250"/>
                  </a:lnTo>
                  <a:lnTo>
                    <a:pt x="1991577" y="236103"/>
                  </a:lnTo>
                  <a:lnTo>
                    <a:pt x="1991577" y="240223"/>
                  </a:lnTo>
                  <a:lnTo>
                    <a:pt x="1993679" y="242325"/>
                  </a:lnTo>
                  <a:lnTo>
                    <a:pt x="1995117" y="240223"/>
                  </a:lnTo>
                  <a:lnTo>
                    <a:pt x="1996527" y="243237"/>
                  </a:lnTo>
                  <a:lnTo>
                    <a:pt x="1995615" y="244509"/>
                  </a:lnTo>
                  <a:lnTo>
                    <a:pt x="1996970" y="246777"/>
                  </a:lnTo>
                  <a:lnTo>
                    <a:pt x="1996970" y="252474"/>
                  </a:lnTo>
                  <a:lnTo>
                    <a:pt x="2000482" y="257341"/>
                  </a:lnTo>
                  <a:lnTo>
                    <a:pt x="2000482" y="300120"/>
                  </a:lnTo>
                  <a:lnTo>
                    <a:pt x="2004353" y="303549"/>
                  </a:lnTo>
                  <a:lnTo>
                    <a:pt x="2004353" y="301033"/>
                  </a:lnTo>
                  <a:lnTo>
                    <a:pt x="2005625" y="301033"/>
                  </a:lnTo>
                  <a:lnTo>
                    <a:pt x="2005625" y="304655"/>
                  </a:lnTo>
                  <a:lnTo>
                    <a:pt x="2007312" y="306149"/>
                  </a:lnTo>
                  <a:lnTo>
                    <a:pt x="2007312" y="310933"/>
                  </a:lnTo>
                  <a:lnTo>
                    <a:pt x="2008999" y="311513"/>
                  </a:lnTo>
                  <a:lnTo>
                    <a:pt x="2008999" y="312785"/>
                  </a:lnTo>
                  <a:lnTo>
                    <a:pt x="2011930" y="312785"/>
                  </a:lnTo>
                  <a:lnTo>
                    <a:pt x="2018484" y="317238"/>
                  </a:lnTo>
                  <a:lnTo>
                    <a:pt x="2018484" y="324621"/>
                  </a:lnTo>
                  <a:lnTo>
                    <a:pt x="2019480" y="324621"/>
                  </a:lnTo>
                  <a:lnTo>
                    <a:pt x="2021166" y="329405"/>
                  </a:lnTo>
                  <a:lnTo>
                    <a:pt x="2021166" y="335516"/>
                  </a:lnTo>
                  <a:lnTo>
                    <a:pt x="2019480" y="337950"/>
                  </a:lnTo>
                  <a:lnTo>
                    <a:pt x="2019480" y="356312"/>
                  </a:lnTo>
                  <a:lnTo>
                    <a:pt x="2020337" y="356726"/>
                  </a:lnTo>
                  <a:lnTo>
                    <a:pt x="2020337" y="360017"/>
                  </a:lnTo>
                  <a:lnTo>
                    <a:pt x="2021166" y="360681"/>
                  </a:lnTo>
                  <a:lnTo>
                    <a:pt x="2021166" y="362451"/>
                  </a:lnTo>
                  <a:lnTo>
                    <a:pt x="2020752" y="363612"/>
                  </a:lnTo>
                  <a:lnTo>
                    <a:pt x="2020752" y="371659"/>
                  </a:lnTo>
                  <a:lnTo>
                    <a:pt x="2022770" y="371659"/>
                  </a:lnTo>
                  <a:lnTo>
                    <a:pt x="2022770" y="634033"/>
                  </a:lnTo>
                  <a:lnTo>
                    <a:pt x="2086871" y="634033"/>
                  </a:lnTo>
                  <a:lnTo>
                    <a:pt x="2086871" y="663235"/>
                  </a:lnTo>
                  <a:lnTo>
                    <a:pt x="2212057" y="663235"/>
                  </a:lnTo>
                  <a:lnTo>
                    <a:pt x="2212057" y="669264"/>
                  </a:lnTo>
                  <a:lnTo>
                    <a:pt x="2220602" y="668600"/>
                  </a:lnTo>
                  <a:lnTo>
                    <a:pt x="2228206" y="843230"/>
                  </a:lnTo>
                  <a:lnTo>
                    <a:pt x="2237387" y="623027"/>
                  </a:lnTo>
                  <a:lnTo>
                    <a:pt x="2256689" y="623027"/>
                  </a:lnTo>
                  <a:cubicBezTo>
                    <a:pt x="2276295" y="574690"/>
                    <a:pt x="2322504" y="540704"/>
                    <a:pt x="2376428" y="540704"/>
                  </a:cubicBezTo>
                  <a:cubicBezTo>
                    <a:pt x="2430352" y="540704"/>
                    <a:pt x="2476560" y="574662"/>
                    <a:pt x="2496167" y="623027"/>
                  </a:cubicBezTo>
                  <a:lnTo>
                    <a:pt x="2517681" y="623027"/>
                  </a:lnTo>
                  <a:lnTo>
                    <a:pt x="2517681" y="638873"/>
                  </a:lnTo>
                  <a:lnTo>
                    <a:pt x="2400210" y="638873"/>
                  </a:lnTo>
                  <a:lnTo>
                    <a:pt x="2406376" y="840908"/>
                  </a:lnTo>
                  <a:lnTo>
                    <a:pt x="2413483" y="651289"/>
                  </a:lnTo>
                  <a:lnTo>
                    <a:pt x="2854525" y="651289"/>
                  </a:lnTo>
                  <a:lnTo>
                    <a:pt x="2862849" y="838999"/>
                  </a:lnTo>
                  <a:lnTo>
                    <a:pt x="2868435" y="637380"/>
                  </a:lnTo>
                  <a:lnTo>
                    <a:pt x="2674641" y="637380"/>
                  </a:lnTo>
                  <a:lnTo>
                    <a:pt x="2674806" y="627175"/>
                  </a:lnTo>
                  <a:lnTo>
                    <a:pt x="2580039" y="627175"/>
                  </a:lnTo>
                  <a:cubicBezTo>
                    <a:pt x="2580039" y="627175"/>
                    <a:pt x="2580122" y="636522"/>
                    <a:pt x="2580122" y="636522"/>
                  </a:cubicBezTo>
                  <a:lnTo>
                    <a:pt x="2580039" y="636522"/>
                  </a:lnTo>
                  <a:lnTo>
                    <a:pt x="2580039" y="637352"/>
                  </a:lnTo>
                  <a:lnTo>
                    <a:pt x="2531590" y="637352"/>
                  </a:lnTo>
                  <a:lnTo>
                    <a:pt x="2531590" y="609090"/>
                  </a:lnTo>
                  <a:lnTo>
                    <a:pt x="2505237" y="609090"/>
                  </a:lnTo>
                  <a:cubicBezTo>
                    <a:pt x="2494286" y="586276"/>
                    <a:pt x="2477805" y="566753"/>
                    <a:pt x="2457175" y="552318"/>
                  </a:cubicBezTo>
                  <a:cubicBezTo>
                    <a:pt x="2433338" y="535615"/>
                    <a:pt x="2405409" y="526766"/>
                    <a:pt x="2376456" y="526766"/>
                  </a:cubicBezTo>
                  <a:cubicBezTo>
                    <a:pt x="2357264" y="526766"/>
                    <a:pt x="2334865" y="532546"/>
                    <a:pt x="2317471" y="540040"/>
                  </a:cubicBezTo>
                  <a:lnTo>
                    <a:pt x="2321121" y="160112"/>
                  </a:lnTo>
                  <a:lnTo>
                    <a:pt x="2407925" y="160112"/>
                  </a:lnTo>
                  <a:lnTo>
                    <a:pt x="2407925" y="146257"/>
                  </a:lnTo>
                  <a:lnTo>
                    <a:pt x="2488258" y="146257"/>
                  </a:lnTo>
                  <a:lnTo>
                    <a:pt x="2488258" y="160112"/>
                  </a:lnTo>
                  <a:lnTo>
                    <a:pt x="2526143" y="160112"/>
                  </a:lnTo>
                  <a:close/>
                  <a:moveTo>
                    <a:pt x="2169913" y="0"/>
                  </a:moveTo>
                  <a:lnTo>
                    <a:pt x="2174974" y="0"/>
                  </a:lnTo>
                  <a:lnTo>
                    <a:pt x="2174974" y="37000"/>
                  </a:lnTo>
                  <a:lnTo>
                    <a:pt x="2224971" y="37000"/>
                  </a:lnTo>
                  <a:lnTo>
                    <a:pt x="2224971" y="49610"/>
                  </a:lnTo>
                  <a:lnTo>
                    <a:pt x="2278342" y="49610"/>
                  </a:lnTo>
                  <a:lnTo>
                    <a:pt x="2278342" y="91615"/>
                  </a:lnTo>
                  <a:lnTo>
                    <a:pt x="2302289" y="91615"/>
                  </a:lnTo>
                  <a:lnTo>
                    <a:pt x="2305663" y="545931"/>
                  </a:lnTo>
                  <a:cubicBezTo>
                    <a:pt x="2303423" y="547314"/>
                    <a:pt x="2297809" y="550687"/>
                    <a:pt x="2295625" y="552208"/>
                  </a:cubicBezTo>
                  <a:cubicBezTo>
                    <a:pt x="2275023" y="566643"/>
                    <a:pt x="2258542" y="586139"/>
                    <a:pt x="2247563" y="608980"/>
                  </a:cubicBezTo>
                  <a:lnTo>
                    <a:pt x="2223395" y="608980"/>
                  </a:lnTo>
                  <a:lnTo>
                    <a:pt x="2223395" y="649161"/>
                  </a:lnTo>
                  <a:lnTo>
                    <a:pt x="2100752" y="649161"/>
                  </a:lnTo>
                  <a:lnTo>
                    <a:pt x="2100752" y="619959"/>
                  </a:lnTo>
                  <a:lnTo>
                    <a:pt x="2086843" y="619959"/>
                  </a:lnTo>
                  <a:lnTo>
                    <a:pt x="2040164" y="619599"/>
                  </a:lnTo>
                  <a:lnTo>
                    <a:pt x="2042598" y="91588"/>
                  </a:lnTo>
                  <a:lnTo>
                    <a:pt x="2066545" y="91588"/>
                  </a:lnTo>
                  <a:lnTo>
                    <a:pt x="2066545" y="49582"/>
                  </a:lnTo>
                  <a:lnTo>
                    <a:pt x="2119916" y="49582"/>
                  </a:lnTo>
                  <a:lnTo>
                    <a:pt x="2119916" y="36972"/>
                  </a:lnTo>
                  <a:lnTo>
                    <a:pt x="2169913" y="36972"/>
                  </a:lnTo>
                  <a:close/>
                </a:path>
              </a:pathLst>
            </a:custGeom>
            <a:solidFill>
              <a:schemeClr val="bg1">
                <a:alpha val="17000"/>
              </a:schemeClr>
            </a:solidFill>
            <a:ln w="2761" cap="flat">
              <a:noFill/>
              <a:prstDash val="solid"/>
              <a:miter/>
            </a:ln>
          </p:spPr>
          <p:txBody>
            <a:bodyPr rtlCol="0" anchor="ctr"/>
            <a:lstStyle/>
            <a:p>
              <a:endParaRPr lang="en-US" sz="2419"/>
            </a:p>
          </p:txBody>
        </p:sp>
        <p:sp>
          <p:nvSpPr>
            <p:cNvPr id="24" name="Freeform: Shape 23">
              <a:extLst>
                <a:ext uri="{FF2B5EF4-FFF2-40B4-BE49-F238E27FC236}">
                  <a16:creationId xmlns:a16="http://schemas.microsoft.com/office/drawing/2014/main" id="{E3BD8ECD-2FB5-E9E2-534D-E7D5957F970A}"/>
                </a:ext>
              </a:extLst>
            </p:cNvPr>
            <p:cNvSpPr/>
            <p:nvPr/>
          </p:nvSpPr>
          <p:spPr>
            <a:xfrm flipV="1">
              <a:off x="3600750" y="3446476"/>
              <a:ext cx="4977649" cy="671294"/>
            </a:xfrm>
            <a:custGeom>
              <a:avLst/>
              <a:gdLst>
                <a:gd name="connsiteX0" fmla="*/ 1968135 w 4012966"/>
                <a:gd name="connsiteY0" fmla="*/ 139020 h 541195"/>
                <a:gd name="connsiteX1" fmla="*/ 1968135 w 4012966"/>
                <a:gd name="connsiteY1" fmla="*/ 133183 h 541195"/>
                <a:gd name="connsiteX2" fmla="*/ 1970402 w 4012966"/>
                <a:gd name="connsiteY2" fmla="*/ 133183 h 541195"/>
                <a:gd name="connsiteX3" fmla="*/ 1970402 w 4012966"/>
                <a:gd name="connsiteY3" fmla="*/ 137097 h 541195"/>
                <a:gd name="connsiteX4" fmla="*/ 1969131 w 4012966"/>
                <a:gd name="connsiteY4" fmla="*/ 137097 h 541195"/>
                <a:gd name="connsiteX5" fmla="*/ 1969131 w 4012966"/>
                <a:gd name="connsiteY5" fmla="*/ 138402 h 541195"/>
                <a:gd name="connsiteX6" fmla="*/ 1981961 w 4012966"/>
                <a:gd name="connsiteY6" fmla="*/ 139037 h 541195"/>
                <a:gd name="connsiteX7" fmla="*/ 1980966 w 4012966"/>
                <a:gd name="connsiteY7" fmla="*/ 138419 h 541195"/>
                <a:gd name="connsiteX8" fmla="*/ 1980966 w 4012966"/>
                <a:gd name="connsiteY8" fmla="*/ 137114 h 541195"/>
                <a:gd name="connsiteX9" fmla="*/ 1979694 w 4012966"/>
                <a:gd name="connsiteY9" fmla="*/ 137114 h 541195"/>
                <a:gd name="connsiteX10" fmla="*/ 1979694 w 4012966"/>
                <a:gd name="connsiteY10" fmla="*/ 133217 h 541195"/>
                <a:gd name="connsiteX11" fmla="*/ 1981961 w 4012966"/>
                <a:gd name="connsiteY11" fmla="*/ 133217 h 541195"/>
                <a:gd name="connsiteX12" fmla="*/ 2633305 w 4012966"/>
                <a:gd name="connsiteY12" fmla="*/ 174092 h 541195"/>
                <a:gd name="connsiteX13" fmla="*/ 2633305 w 4012966"/>
                <a:gd name="connsiteY13" fmla="*/ 168084 h 541195"/>
                <a:gd name="connsiteX14" fmla="*/ 2637315 w 4012966"/>
                <a:gd name="connsiteY14" fmla="*/ 168084 h 541195"/>
                <a:gd name="connsiteX15" fmla="*/ 2637315 w 4012966"/>
                <a:gd name="connsiteY15" fmla="*/ 174092 h 541195"/>
                <a:gd name="connsiteX16" fmla="*/ 2626309 w 4012966"/>
                <a:gd name="connsiteY16" fmla="*/ 174092 h 541195"/>
                <a:gd name="connsiteX17" fmla="*/ 2626309 w 4012966"/>
                <a:gd name="connsiteY17" fmla="*/ 168084 h 541195"/>
                <a:gd name="connsiteX18" fmla="*/ 2631673 w 4012966"/>
                <a:gd name="connsiteY18" fmla="*/ 168084 h 541195"/>
                <a:gd name="connsiteX19" fmla="*/ 2631673 w 4012966"/>
                <a:gd name="connsiteY19" fmla="*/ 174092 h 541195"/>
                <a:gd name="connsiteX20" fmla="*/ 2619728 w 4012966"/>
                <a:gd name="connsiteY20" fmla="*/ 174092 h 541195"/>
                <a:gd name="connsiteX21" fmla="*/ 2619728 w 4012966"/>
                <a:gd name="connsiteY21" fmla="*/ 168084 h 541195"/>
                <a:gd name="connsiteX22" fmla="*/ 2624125 w 4012966"/>
                <a:gd name="connsiteY22" fmla="*/ 168084 h 541195"/>
                <a:gd name="connsiteX23" fmla="*/ 2624125 w 4012966"/>
                <a:gd name="connsiteY23" fmla="*/ 174092 h 541195"/>
                <a:gd name="connsiteX24" fmla="*/ 2639472 w 4012966"/>
                <a:gd name="connsiteY24" fmla="*/ 174110 h 541195"/>
                <a:gd name="connsiteX25" fmla="*/ 2639472 w 4012966"/>
                <a:gd name="connsiteY25" fmla="*/ 168101 h 541195"/>
                <a:gd name="connsiteX26" fmla="*/ 2643869 w 4012966"/>
                <a:gd name="connsiteY26" fmla="*/ 168101 h 541195"/>
                <a:gd name="connsiteX27" fmla="*/ 2643869 w 4012966"/>
                <a:gd name="connsiteY27" fmla="*/ 174110 h 541195"/>
                <a:gd name="connsiteX28" fmla="*/ 2626724 w 4012966"/>
                <a:gd name="connsiteY28" fmla="*/ 185818 h 541195"/>
                <a:gd name="connsiteX29" fmla="*/ 2626724 w 4012966"/>
                <a:gd name="connsiteY29" fmla="*/ 184770 h 541195"/>
                <a:gd name="connsiteX30" fmla="*/ 2631785 w 4012966"/>
                <a:gd name="connsiteY30" fmla="*/ 181629 h 541195"/>
                <a:gd name="connsiteX31" fmla="*/ 2636845 w 4012966"/>
                <a:gd name="connsiteY31" fmla="*/ 184770 h 541195"/>
                <a:gd name="connsiteX32" fmla="*/ 2636872 w 4012966"/>
                <a:gd name="connsiteY32" fmla="*/ 184770 h 541195"/>
                <a:gd name="connsiteX33" fmla="*/ 2636872 w 4012966"/>
                <a:gd name="connsiteY33" fmla="*/ 185818 h 541195"/>
                <a:gd name="connsiteX34" fmla="*/ 2626724 w 4012966"/>
                <a:gd name="connsiteY34" fmla="*/ 192118 h 541195"/>
                <a:gd name="connsiteX35" fmla="*/ 2626724 w 4012966"/>
                <a:gd name="connsiteY35" fmla="*/ 188667 h 541195"/>
                <a:gd name="connsiteX36" fmla="*/ 2636872 w 4012966"/>
                <a:gd name="connsiteY36" fmla="*/ 188667 h 541195"/>
                <a:gd name="connsiteX37" fmla="*/ 2636872 w 4012966"/>
                <a:gd name="connsiteY37" fmla="*/ 192118 h 541195"/>
                <a:gd name="connsiteX38" fmla="*/ 2621165 w 4012966"/>
                <a:gd name="connsiteY38" fmla="*/ 235414 h 541195"/>
                <a:gd name="connsiteX39" fmla="*/ 2621165 w 4012966"/>
                <a:gd name="connsiteY39" fmla="*/ 218882 h 541195"/>
                <a:gd name="connsiteX40" fmla="*/ 2625729 w 4012966"/>
                <a:gd name="connsiteY40" fmla="*/ 216049 h 541195"/>
                <a:gd name="connsiteX41" fmla="*/ 2630291 w 4012966"/>
                <a:gd name="connsiteY41" fmla="*/ 218882 h 541195"/>
                <a:gd name="connsiteX42" fmla="*/ 2630319 w 4012966"/>
                <a:gd name="connsiteY42" fmla="*/ 218882 h 541195"/>
                <a:gd name="connsiteX43" fmla="*/ 2630319 w 4012966"/>
                <a:gd name="connsiteY43" fmla="*/ 235414 h 541195"/>
                <a:gd name="connsiteX44" fmla="*/ 2633084 w 4012966"/>
                <a:gd name="connsiteY44" fmla="*/ 235431 h 541195"/>
                <a:gd name="connsiteX45" fmla="*/ 2633084 w 4012966"/>
                <a:gd name="connsiteY45" fmla="*/ 218899 h 541195"/>
                <a:gd name="connsiteX46" fmla="*/ 2637675 w 4012966"/>
                <a:gd name="connsiteY46" fmla="*/ 216066 h 541195"/>
                <a:gd name="connsiteX47" fmla="*/ 2642237 w 4012966"/>
                <a:gd name="connsiteY47" fmla="*/ 218899 h 541195"/>
                <a:gd name="connsiteX48" fmla="*/ 2642237 w 4012966"/>
                <a:gd name="connsiteY48" fmla="*/ 235431 h 541195"/>
                <a:gd name="connsiteX49" fmla="*/ 2600343 w 4012966"/>
                <a:gd name="connsiteY49" fmla="*/ 343396 h 541195"/>
                <a:gd name="connsiteX50" fmla="*/ 2663253 w 4012966"/>
                <a:gd name="connsiteY50" fmla="*/ 343396 h 541195"/>
                <a:gd name="connsiteX51" fmla="*/ 2660433 w 4012966"/>
                <a:gd name="connsiteY51" fmla="*/ 246641 h 541195"/>
                <a:gd name="connsiteX52" fmla="*/ 2663254 w 4012966"/>
                <a:gd name="connsiteY52" fmla="*/ 245353 h 541195"/>
                <a:gd name="connsiteX53" fmla="*/ 2663254 w 4012966"/>
                <a:gd name="connsiteY53" fmla="*/ 241559 h 541195"/>
                <a:gd name="connsiteX54" fmla="*/ 2658332 w 4012966"/>
                <a:gd name="connsiteY54" fmla="*/ 240272 h 541195"/>
                <a:gd name="connsiteX55" fmla="*/ 2658332 w 4012966"/>
                <a:gd name="connsiteY55" fmla="*/ 209543 h 541195"/>
                <a:gd name="connsiteX56" fmla="*/ 2660433 w 4012966"/>
                <a:gd name="connsiteY56" fmla="*/ 208890 h 541195"/>
                <a:gd name="connsiteX57" fmla="*/ 2660793 w 4012966"/>
                <a:gd name="connsiteY57" fmla="*/ 205096 h 541195"/>
                <a:gd name="connsiteX58" fmla="*/ 2657281 w 4012966"/>
                <a:gd name="connsiteY58" fmla="*/ 205096 h 541195"/>
                <a:gd name="connsiteX59" fmla="*/ 2657281 w 4012966"/>
                <a:gd name="connsiteY59" fmla="*/ 198710 h 541195"/>
                <a:gd name="connsiteX60" fmla="*/ 2653852 w 4012966"/>
                <a:gd name="connsiteY60" fmla="*/ 196307 h 541195"/>
                <a:gd name="connsiteX61" fmla="*/ 2655566 w 4012966"/>
                <a:gd name="connsiteY61" fmla="*/ 194264 h 541195"/>
                <a:gd name="connsiteX62" fmla="*/ 2655566 w 4012966"/>
                <a:gd name="connsiteY62" fmla="*/ 191122 h 541195"/>
                <a:gd name="connsiteX63" fmla="*/ 2652192 w 4012966"/>
                <a:gd name="connsiteY63" fmla="*/ 187980 h 541195"/>
                <a:gd name="connsiteX64" fmla="*/ 2652192 w 4012966"/>
                <a:gd name="connsiteY64" fmla="*/ 181680 h 541195"/>
                <a:gd name="connsiteX65" fmla="*/ 2654737 w 4012966"/>
                <a:gd name="connsiteY65" fmla="*/ 180479 h 541195"/>
                <a:gd name="connsiteX66" fmla="*/ 2654737 w 4012966"/>
                <a:gd name="connsiteY66" fmla="*/ 178161 h 541195"/>
                <a:gd name="connsiteX67" fmla="*/ 2652192 w 4012966"/>
                <a:gd name="connsiteY67" fmla="*/ 176221 h 541195"/>
                <a:gd name="connsiteX68" fmla="*/ 2646690 w 4012966"/>
                <a:gd name="connsiteY68" fmla="*/ 176221 h 541195"/>
                <a:gd name="connsiteX69" fmla="*/ 2646690 w 4012966"/>
                <a:gd name="connsiteY69" fmla="*/ 174092 h 541195"/>
                <a:gd name="connsiteX70" fmla="*/ 2645362 w 4012966"/>
                <a:gd name="connsiteY70" fmla="*/ 174092 h 541195"/>
                <a:gd name="connsiteX71" fmla="*/ 2645362 w 4012966"/>
                <a:gd name="connsiteY71" fmla="*/ 168084 h 541195"/>
                <a:gd name="connsiteX72" fmla="*/ 2647906 w 4012966"/>
                <a:gd name="connsiteY72" fmla="*/ 168084 h 541195"/>
                <a:gd name="connsiteX73" fmla="*/ 2647906 w 4012966"/>
                <a:gd name="connsiteY73" fmla="*/ 166333 h 541195"/>
                <a:gd name="connsiteX74" fmla="*/ 2646552 w 4012966"/>
                <a:gd name="connsiteY74" fmla="*/ 166333 h 541195"/>
                <a:gd name="connsiteX75" fmla="*/ 2634025 w 4012966"/>
                <a:gd name="connsiteY75" fmla="*/ 157904 h 541195"/>
                <a:gd name="connsiteX76" fmla="*/ 2634025 w 4012966"/>
                <a:gd name="connsiteY76" fmla="*/ 151895 h 541195"/>
                <a:gd name="connsiteX77" fmla="*/ 2632531 w 4012966"/>
                <a:gd name="connsiteY77" fmla="*/ 151895 h 541195"/>
                <a:gd name="connsiteX78" fmla="*/ 2632531 w 4012966"/>
                <a:gd name="connsiteY78" fmla="*/ 150470 h 541195"/>
                <a:gd name="connsiteX79" fmla="*/ 2633887 w 4012966"/>
                <a:gd name="connsiteY79" fmla="*/ 149200 h 541195"/>
                <a:gd name="connsiteX80" fmla="*/ 2631785 w 4012966"/>
                <a:gd name="connsiteY80" fmla="*/ 147844 h 541195"/>
                <a:gd name="connsiteX81" fmla="*/ 2629711 w 4012966"/>
                <a:gd name="connsiteY81" fmla="*/ 149200 h 541195"/>
                <a:gd name="connsiteX82" fmla="*/ 2630900 w 4012966"/>
                <a:gd name="connsiteY82" fmla="*/ 150419 h 541195"/>
                <a:gd name="connsiteX83" fmla="*/ 2630900 w 4012966"/>
                <a:gd name="connsiteY83" fmla="*/ 151878 h 541195"/>
                <a:gd name="connsiteX84" fmla="*/ 2629572 w 4012966"/>
                <a:gd name="connsiteY84" fmla="*/ 151878 h 541195"/>
                <a:gd name="connsiteX85" fmla="*/ 2629572 w 4012966"/>
                <a:gd name="connsiteY85" fmla="*/ 157886 h 541195"/>
                <a:gd name="connsiteX86" fmla="*/ 2617046 w 4012966"/>
                <a:gd name="connsiteY86" fmla="*/ 166316 h 541195"/>
                <a:gd name="connsiteX87" fmla="*/ 2615718 w 4012966"/>
                <a:gd name="connsiteY87" fmla="*/ 166316 h 541195"/>
                <a:gd name="connsiteX88" fmla="*/ 2615718 w 4012966"/>
                <a:gd name="connsiteY88" fmla="*/ 168067 h 541195"/>
                <a:gd name="connsiteX89" fmla="*/ 2618262 w 4012966"/>
                <a:gd name="connsiteY89" fmla="*/ 168067 h 541195"/>
                <a:gd name="connsiteX90" fmla="*/ 2618262 w 4012966"/>
                <a:gd name="connsiteY90" fmla="*/ 174075 h 541195"/>
                <a:gd name="connsiteX91" fmla="*/ 2616907 w 4012966"/>
                <a:gd name="connsiteY91" fmla="*/ 174075 h 541195"/>
                <a:gd name="connsiteX92" fmla="*/ 2616907 w 4012966"/>
                <a:gd name="connsiteY92" fmla="*/ 176204 h 541195"/>
                <a:gd name="connsiteX93" fmla="*/ 2611404 w 4012966"/>
                <a:gd name="connsiteY93" fmla="*/ 176204 h 541195"/>
                <a:gd name="connsiteX94" fmla="*/ 2608860 w 4012966"/>
                <a:gd name="connsiteY94" fmla="*/ 178144 h 541195"/>
                <a:gd name="connsiteX95" fmla="*/ 2608860 w 4012966"/>
                <a:gd name="connsiteY95" fmla="*/ 180461 h 541195"/>
                <a:gd name="connsiteX96" fmla="*/ 2611404 w 4012966"/>
                <a:gd name="connsiteY96" fmla="*/ 181663 h 541195"/>
                <a:gd name="connsiteX97" fmla="*/ 2611404 w 4012966"/>
                <a:gd name="connsiteY97" fmla="*/ 187964 h 541195"/>
                <a:gd name="connsiteX98" fmla="*/ 2608058 w 4012966"/>
                <a:gd name="connsiteY98" fmla="*/ 191105 h 541195"/>
                <a:gd name="connsiteX99" fmla="*/ 2608058 w 4012966"/>
                <a:gd name="connsiteY99" fmla="*/ 194247 h 541195"/>
                <a:gd name="connsiteX100" fmla="*/ 2609773 w 4012966"/>
                <a:gd name="connsiteY100" fmla="*/ 196290 h 541195"/>
                <a:gd name="connsiteX101" fmla="*/ 2606343 w 4012966"/>
                <a:gd name="connsiteY101" fmla="*/ 198693 h 541195"/>
                <a:gd name="connsiteX102" fmla="*/ 2606343 w 4012966"/>
                <a:gd name="connsiteY102" fmla="*/ 205079 h 541195"/>
                <a:gd name="connsiteX103" fmla="*/ 2602832 w 4012966"/>
                <a:gd name="connsiteY103" fmla="*/ 205079 h 541195"/>
                <a:gd name="connsiteX104" fmla="*/ 2603191 w 4012966"/>
                <a:gd name="connsiteY104" fmla="*/ 208873 h 541195"/>
                <a:gd name="connsiteX105" fmla="*/ 2605265 w 4012966"/>
                <a:gd name="connsiteY105" fmla="*/ 209525 h 541195"/>
                <a:gd name="connsiteX106" fmla="*/ 2605265 w 4012966"/>
                <a:gd name="connsiteY106" fmla="*/ 240255 h 541195"/>
                <a:gd name="connsiteX107" fmla="*/ 2600343 w 4012966"/>
                <a:gd name="connsiteY107" fmla="*/ 241543 h 541195"/>
                <a:gd name="connsiteX108" fmla="*/ 2600343 w 4012966"/>
                <a:gd name="connsiteY108" fmla="*/ 245336 h 541195"/>
                <a:gd name="connsiteX109" fmla="*/ 2603191 w 4012966"/>
                <a:gd name="connsiteY109" fmla="*/ 246624 h 541195"/>
                <a:gd name="connsiteX110" fmla="*/ 2663254 w 4012966"/>
                <a:gd name="connsiteY110" fmla="*/ 343412 h 541195"/>
                <a:gd name="connsiteX111" fmla="*/ 2663281 w 4012966"/>
                <a:gd name="connsiteY111" fmla="*/ 343396 h 541195"/>
                <a:gd name="connsiteX112" fmla="*/ 2663253 w 4012966"/>
                <a:gd name="connsiteY112" fmla="*/ 343396 h 541195"/>
                <a:gd name="connsiteX113" fmla="*/ 3500595 w 4012966"/>
                <a:gd name="connsiteY113" fmla="*/ 354125 h 541195"/>
                <a:gd name="connsiteX114" fmla="*/ 3500595 w 4012966"/>
                <a:gd name="connsiteY114" fmla="*/ 319979 h 541195"/>
                <a:gd name="connsiteX115" fmla="*/ 3506818 w 4012966"/>
                <a:gd name="connsiteY115" fmla="*/ 312099 h 541195"/>
                <a:gd name="connsiteX116" fmla="*/ 3513040 w 4012966"/>
                <a:gd name="connsiteY116" fmla="*/ 319979 h 541195"/>
                <a:gd name="connsiteX117" fmla="*/ 3513040 w 4012966"/>
                <a:gd name="connsiteY117" fmla="*/ 354125 h 541195"/>
                <a:gd name="connsiteX118" fmla="*/ 3478445 w 4012966"/>
                <a:gd name="connsiteY118" fmla="*/ 354125 h 541195"/>
                <a:gd name="connsiteX119" fmla="*/ 3478445 w 4012966"/>
                <a:gd name="connsiteY119" fmla="*/ 319979 h 541195"/>
                <a:gd name="connsiteX120" fmla="*/ 3484308 w 4012966"/>
                <a:gd name="connsiteY120" fmla="*/ 312099 h 541195"/>
                <a:gd name="connsiteX121" fmla="*/ 3490170 w 4012966"/>
                <a:gd name="connsiteY121" fmla="*/ 319979 h 541195"/>
                <a:gd name="connsiteX122" fmla="*/ 3490170 w 4012966"/>
                <a:gd name="connsiteY122" fmla="*/ 354125 h 541195"/>
                <a:gd name="connsiteX123" fmla="*/ 3490142 w 4012966"/>
                <a:gd name="connsiteY123" fmla="*/ 354125 h 541195"/>
                <a:gd name="connsiteX124" fmla="*/ 3444598 w 4012966"/>
                <a:gd name="connsiteY124" fmla="*/ 355361 h 541195"/>
                <a:gd name="connsiteX125" fmla="*/ 3444598 w 4012966"/>
                <a:gd name="connsiteY125" fmla="*/ 349661 h 541195"/>
                <a:gd name="connsiteX126" fmla="*/ 3448082 w 4012966"/>
                <a:gd name="connsiteY126" fmla="*/ 349661 h 541195"/>
                <a:gd name="connsiteX127" fmla="*/ 3448082 w 4012966"/>
                <a:gd name="connsiteY127" fmla="*/ 314983 h 541195"/>
                <a:gd name="connsiteX128" fmla="*/ 3386387 w 4012966"/>
                <a:gd name="connsiteY128" fmla="*/ 319241 h 541195"/>
                <a:gd name="connsiteX129" fmla="*/ 3253126 w 4012966"/>
                <a:gd name="connsiteY129" fmla="*/ 363876 h 541195"/>
                <a:gd name="connsiteX130" fmla="*/ 3288771 w 4012966"/>
                <a:gd name="connsiteY130" fmla="*/ 339893 h 541195"/>
                <a:gd name="connsiteX131" fmla="*/ 3288771 w 4012966"/>
                <a:gd name="connsiteY131" fmla="*/ 331687 h 541195"/>
                <a:gd name="connsiteX132" fmla="*/ 3241290 w 4012966"/>
                <a:gd name="connsiteY132" fmla="*/ 340116 h 541195"/>
                <a:gd name="connsiteX133" fmla="*/ 3248508 w 4012966"/>
                <a:gd name="connsiteY133" fmla="*/ 341971 h 541195"/>
                <a:gd name="connsiteX134" fmla="*/ 3243779 w 4012966"/>
                <a:gd name="connsiteY134" fmla="*/ 346674 h 541195"/>
                <a:gd name="connsiteX135" fmla="*/ 3243752 w 4012966"/>
                <a:gd name="connsiteY135" fmla="*/ 346674 h 541195"/>
                <a:gd name="connsiteX136" fmla="*/ 3247457 w 4012966"/>
                <a:gd name="connsiteY136" fmla="*/ 352614 h 541195"/>
                <a:gd name="connsiteX137" fmla="*/ 3249393 w 4012966"/>
                <a:gd name="connsiteY137" fmla="*/ 355704 h 541195"/>
                <a:gd name="connsiteX138" fmla="*/ 3251356 w 4012966"/>
                <a:gd name="connsiteY138" fmla="*/ 356116 h 541195"/>
                <a:gd name="connsiteX139" fmla="*/ 3251356 w 4012966"/>
                <a:gd name="connsiteY139" fmla="*/ 360734 h 541195"/>
                <a:gd name="connsiteX140" fmla="*/ 3253126 w 4012966"/>
                <a:gd name="connsiteY140" fmla="*/ 361284 h 541195"/>
                <a:gd name="connsiteX141" fmla="*/ 2638616 w 4012966"/>
                <a:gd name="connsiteY141" fmla="*/ 367154 h 541195"/>
                <a:gd name="connsiteX142" fmla="*/ 2636320 w 4012966"/>
                <a:gd name="connsiteY142" fmla="*/ 362073 h 541195"/>
                <a:gd name="connsiteX143" fmla="*/ 2640911 w 4012966"/>
                <a:gd name="connsiteY143" fmla="*/ 362073 h 541195"/>
                <a:gd name="connsiteX144" fmla="*/ 2671219 w 4012966"/>
                <a:gd name="connsiteY144" fmla="*/ 367738 h 541195"/>
                <a:gd name="connsiteX145" fmla="*/ 2668205 w 4012966"/>
                <a:gd name="connsiteY145" fmla="*/ 362073 h 541195"/>
                <a:gd name="connsiteX146" fmla="*/ 2674233 w 4012966"/>
                <a:gd name="connsiteY146" fmla="*/ 362073 h 541195"/>
                <a:gd name="connsiteX147" fmla="*/ 2606704 w 4012966"/>
                <a:gd name="connsiteY147" fmla="*/ 368081 h 541195"/>
                <a:gd name="connsiteX148" fmla="*/ 2603137 w 4012966"/>
                <a:gd name="connsiteY148" fmla="*/ 362073 h 541195"/>
                <a:gd name="connsiteX149" fmla="*/ 2610244 w 4012966"/>
                <a:gd name="connsiteY149" fmla="*/ 362073 h 541195"/>
                <a:gd name="connsiteX150" fmla="*/ 2590582 w 4012966"/>
                <a:gd name="connsiteY150" fmla="*/ 368820 h 541195"/>
                <a:gd name="connsiteX151" fmla="*/ 2585273 w 4012966"/>
                <a:gd name="connsiteY151" fmla="*/ 362073 h 541195"/>
                <a:gd name="connsiteX152" fmla="*/ 2595891 w 4012966"/>
                <a:gd name="connsiteY152" fmla="*/ 362073 h 541195"/>
                <a:gd name="connsiteX153" fmla="*/ 2623545 w 4012966"/>
                <a:gd name="connsiteY153" fmla="*/ 368940 h 541195"/>
                <a:gd name="connsiteX154" fmla="*/ 2617793 w 4012966"/>
                <a:gd name="connsiteY154" fmla="*/ 362073 h 541195"/>
                <a:gd name="connsiteX155" fmla="*/ 2629297 w 4012966"/>
                <a:gd name="connsiteY155" fmla="*/ 362073 h 541195"/>
                <a:gd name="connsiteX156" fmla="*/ 2654544 w 4012966"/>
                <a:gd name="connsiteY156" fmla="*/ 369077 h 541195"/>
                <a:gd name="connsiteX157" fmla="*/ 2648267 w 4012966"/>
                <a:gd name="connsiteY157" fmla="*/ 362073 h 541195"/>
                <a:gd name="connsiteX158" fmla="*/ 2660822 w 4012966"/>
                <a:gd name="connsiteY158" fmla="*/ 362073 h 541195"/>
                <a:gd name="connsiteX159" fmla="*/ 2583171 w 4012966"/>
                <a:gd name="connsiteY159" fmla="*/ 378193 h 541195"/>
                <a:gd name="connsiteX160" fmla="*/ 2583171 w 4012966"/>
                <a:gd name="connsiteY160" fmla="*/ 364802 h 541195"/>
                <a:gd name="connsiteX161" fmla="*/ 2588452 w 4012966"/>
                <a:gd name="connsiteY161" fmla="*/ 371497 h 541195"/>
                <a:gd name="connsiteX162" fmla="*/ 2676888 w 4012966"/>
                <a:gd name="connsiteY162" fmla="*/ 378331 h 541195"/>
                <a:gd name="connsiteX163" fmla="*/ 2673237 w 4012966"/>
                <a:gd name="connsiteY163" fmla="*/ 371497 h 541195"/>
                <a:gd name="connsiteX164" fmla="*/ 2676888 w 4012966"/>
                <a:gd name="connsiteY164" fmla="*/ 364665 h 541195"/>
                <a:gd name="connsiteX165" fmla="*/ 2632780 w 4012966"/>
                <a:gd name="connsiteY165" fmla="*/ 379978 h 541195"/>
                <a:gd name="connsiteX166" fmla="*/ 2625674 w 4012966"/>
                <a:gd name="connsiteY166" fmla="*/ 371497 h 541195"/>
                <a:gd name="connsiteX167" fmla="*/ 2632780 w 4012966"/>
                <a:gd name="connsiteY167" fmla="*/ 363017 h 541195"/>
                <a:gd name="connsiteX168" fmla="*/ 2636625 w 4012966"/>
                <a:gd name="connsiteY168" fmla="*/ 371497 h 541195"/>
                <a:gd name="connsiteX169" fmla="*/ 2599541 w 4012966"/>
                <a:gd name="connsiteY169" fmla="*/ 380167 h 541195"/>
                <a:gd name="connsiteX170" fmla="*/ 2592683 w 4012966"/>
                <a:gd name="connsiteY170" fmla="*/ 371497 h 541195"/>
                <a:gd name="connsiteX171" fmla="*/ 2599541 w 4012966"/>
                <a:gd name="connsiteY171" fmla="*/ 362828 h 541195"/>
                <a:gd name="connsiteX172" fmla="*/ 2604685 w 4012966"/>
                <a:gd name="connsiteY172" fmla="*/ 371497 h 541195"/>
                <a:gd name="connsiteX173" fmla="*/ 2644534 w 4012966"/>
                <a:gd name="connsiteY173" fmla="*/ 380201 h 541195"/>
                <a:gd name="connsiteX174" fmla="*/ 2640579 w 4012966"/>
                <a:gd name="connsiteY174" fmla="*/ 371497 h 541195"/>
                <a:gd name="connsiteX175" fmla="*/ 2644534 w 4012966"/>
                <a:gd name="connsiteY175" fmla="*/ 362794 h 541195"/>
                <a:gd name="connsiteX176" fmla="*/ 2652360 w 4012966"/>
                <a:gd name="connsiteY176" fmla="*/ 371497 h 541195"/>
                <a:gd name="connsiteX177" fmla="*/ 2664555 w 4012966"/>
                <a:gd name="connsiteY177" fmla="*/ 380236 h 541195"/>
                <a:gd name="connsiteX178" fmla="*/ 2656701 w 4012966"/>
                <a:gd name="connsiteY178" fmla="*/ 371497 h 541195"/>
                <a:gd name="connsiteX179" fmla="*/ 2664555 w 4012966"/>
                <a:gd name="connsiteY179" fmla="*/ 362742 h 541195"/>
                <a:gd name="connsiteX180" fmla="*/ 2669228 w 4012966"/>
                <a:gd name="connsiteY180" fmla="*/ 371497 h 541195"/>
                <a:gd name="connsiteX181" fmla="*/ 2613950 w 4012966"/>
                <a:gd name="connsiteY181" fmla="*/ 380356 h 541195"/>
                <a:gd name="connsiteX182" fmla="*/ 2608695 w 4012966"/>
                <a:gd name="connsiteY182" fmla="*/ 371497 h 541195"/>
                <a:gd name="connsiteX183" fmla="*/ 2613950 w 4012966"/>
                <a:gd name="connsiteY183" fmla="*/ 362622 h 541195"/>
                <a:gd name="connsiteX184" fmla="*/ 2621388 w 4012966"/>
                <a:gd name="connsiteY184" fmla="*/ 371497 h 541195"/>
                <a:gd name="connsiteX185" fmla="*/ 2668205 w 4012966"/>
                <a:gd name="connsiteY185" fmla="*/ 380940 h 541195"/>
                <a:gd name="connsiteX186" fmla="*/ 2671219 w 4012966"/>
                <a:gd name="connsiteY186" fmla="*/ 375257 h 541195"/>
                <a:gd name="connsiteX187" fmla="*/ 2674260 w 4012966"/>
                <a:gd name="connsiteY187" fmla="*/ 380940 h 541195"/>
                <a:gd name="connsiteX188" fmla="*/ 2648239 w 4012966"/>
                <a:gd name="connsiteY188" fmla="*/ 380940 h 541195"/>
                <a:gd name="connsiteX189" fmla="*/ 2654544 w 4012966"/>
                <a:gd name="connsiteY189" fmla="*/ 373918 h 541195"/>
                <a:gd name="connsiteX190" fmla="*/ 2660849 w 4012966"/>
                <a:gd name="connsiteY190" fmla="*/ 380940 h 541195"/>
                <a:gd name="connsiteX191" fmla="*/ 2648267 w 4012966"/>
                <a:gd name="connsiteY191" fmla="*/ 380940 h 541195"/>
                <a:gd name="connsiteX192" fmla="*/ 2636293 w 4012966"/>
                <a:gd name="connsiteY192" fmla="*/ 380940 h 541195"/>
                <a:gd name="connsiteX193" fmla="*/ 2638616 w 4012966"/>
                <a:gd name="connsiteY193" fmla="*/ 375841 h 541195"/>
                <a:gd name="connsiteX194" fmla="*/ 2640911 w 4012966"/>
                <a:gd name="connsiteY194" fmla="*/ 380940 h 541195"/>
                <a:gd name="connsiteX195" fmla="*/ 2617765 w 4012966"/>
                <a:gd name="connsiteY195" fmla="*/ 380940 h 541195"/>
                <a:gd name="connsiteX196" fmla="*/ 2623545 w 4012966"/>
                <a:gd name="connsiteY196" fmla="*/ 374056 h 541195"/>
                <a:gd name="connsiteX197" fmla="*/ 2629324 w 4012966"/>
                <a:gd name="connsiteY197" fmla="*/ 380940 h 541195"/>
                <a:gd name="connsiteX198" fmla="*/ 2617793 w 4012966"/>
                <a:gd name="connsiteY198" fmla="*/ 380940 h 541195"/>
                <a:gd name="connsiteX199" fmla="*/ 2603109 w 4012966"/>
                <a:gd name="connsiteY199" fmla="*/ 380940 h 541195"/>
                <a:gd name="connsiteX200" fmla="*/ 2606677 w 4012966"/>
                <a:gd name="connsiteY200" fmla="*/ 374914 h 541195"/>
                <a:gd name="connsiteX201" fmla="*/ 2610244 w 4012966"/>
                <a:gd name="connsiteY201" fmla="*/ 380940 h 541195"/>
                <a:gd name="connsiteX202" fmla="*/ 2585245 w 4012966"/>
                <a:gd name="connsiteY202" fmla="*/ 380940 h 541195"/>
                <a:gd name="connsiteX203" fmla="*/ 2590582 w 4012966"/>
                <a:gd name="connsiteY203" fmla="*/ 374176 h 541195"/>
                <a:gd name="connsiteX204" fmla="*/ 2595919 w 4012966"/>
                <a:gd name="connsiteY204" fmla="*/ 380940 h 541195"/>
                <a:gd name="connsiteX205" fmla="*/ 1726583 w 4012966"/>
                <a:gd name="connsiteY205" fmla="*/ 402983 h 541195"/>
                <a:gd name="connsiteX206" fmla="*/ 1734962 w 4012966"/>
                <a:gd name="connsiteY206" fmla="*/ 402983 h 541195"/>
                <a:gd name="connsiteX207" fmla="*/ 1846238 w 4012966"/>
                <a:gd name="connsiteY207" fmla="*/ 402983 h 541195"/>
                <a:gd name="connsiteX208" fmla="*/ 1846238 w 4012966"/>
                <a:gd name="connsiteY208" fmla="*/ 393489 h 541195"/>
                <a:gd name="connsiteX209" fmla="*/ 1846238 w 4012966"/>
                <a:gd name="connsiteY209" fmla="*/ 384854 h 541195"/>
                <a:gd name="connsiteX210" fmla="*/ 1860176 w 4012966"/>
                <a:gd name="connsiteY210" fmla="*/ 384854 h 541195"/>
                <a:gd name="connsiteX211" fmla="*/ 1905305 w 4012966"/>
                <a:gd name="connsiteY211" fmla="*/ 384854 h 541195"/>
                <a:gd name="connsiteX212" fmla="*/ 1902900 w 4012966"/>
                <a:gd name="connsiteY212" fmla="*/ 185045 h 541195"/>
                <a:gd name="connsiteX213" fmla="*/ 1869827 w 4012966"/>
                <a:gd name="connsiteY213" fmla="*/ 185045 h 541195"/>
                <a:gd name="connsiteX214" fmla="*/ 1869827 w 4012966"/>
                <a:gd name="connsiteY214" fmla="*/ 190590 h 541195"/>
                <a:gd name="connsiteX215" fmla="*/ 1798371 w 4012966"/>
                <a:gd name="connsiteY215" fmla="*/ 190590 h 541195"/>
                <a:gd name="connsiteX216" fmla="*/ 1798371 w 4012966"/>
                <a:gd name="connsiteY216" fmla="*/ 185045 h 541195"/>
                <a:gd name="connsiteX217" fmla="*/ 1789439 w 4012966"/>
                <a:gd name="connsiteY217" fmla="*/ 185045 h 541195"/>
                <a:gd name="connsiteX218" fmla="*/ 1789439 w 4012966"/>
                <a:gd name="connsiteY218" fmla="*/ 170075 h 541195"/>
                <a:gd name="connsiteX219" fmla="*/ 1779622 w 4012966"/>
                <a:gd name="connsiteY219" fmla="*/ 170075 h 541195"/>
                <a:gd name="connsiteX220" fmla="*/ 1779622 w 4012966"/>
                <a:gd name="connsiteY220" fmla="*/ 164530 h 541195"/>
                <a:gd name="connsiteX221" fmla="*/ 1749231 w 4012966"/>
                <a:gd name="connsiteY221" fmla="*/ 164530 h 541195"/>
                <a:gd name="connsiteX222" fmla="*/ 1694754 w 4012966"/>
                <a:gd name="connsiteY222" fmla="*/ 164530 h 541195"/>
                <a:gd name="connsiteX223" fmla="*/ 1664363 w 4012966"/>
                <a:gd name="connsiteY223" fmla="*/ 164530 h 541195"/>
                <a:gd name="connsiteX224" fmla="*/ 1664363 w 4012966"/>
                <a:gd name="connsiteY224" fmla="*/ 170075 h 541195"/>
                <a:gd name="connsiteX225" fmla="*/ 1654547 w 4012966"/>
                <a:gd name="connsiteY225" fmla="*/ 170075 h 541195"/>
                <a:gd name="connsiteX226" fmla="*/ 1654547 w 4012966"/>
                <a:gd name="connsiteY226" fmla="*/ 185045 h 541195"/>
                <a:gd name="connsiteX227" fmla="*/ 1645615 w 4012966"/>
                <a:gd name="connsiteY227" fmla="*/ 185045 h 541195"/>
                <a:gd name="connsiteX228" fmla="*/ 1645615 w 4012966"/>
                <a:gd name="connsiteY228" fmla="*/ 190590 h 541195"/>
                <a:gd name="connsiteX229" fmla="*/ 1574131 w 4012966"/>
                <a:gd name="connsiteY229" fmla="*/ 190590 h 541195"/>
                <a:gd name="connsiteX230" fmla="*/ 1574131 w 4012966"/>
                <a:gd name="connsiteY230" fmla="*/ 185045 h 541195"/>
                <a:gd name="connsiteX231" fmla="*/ 1541085 w 4012966"/>
                <a:gd name="connsiteY231" fmla="*/ 185045 h 541195"/>
                <a:gd name="connsiteX232" fmla="*/ 1541085 w 4012966"/>
                <a:gd name="connsiteY232" fmla="*/ 218126 h 541195"/>
                <a:gd name="connsiteX233" fmla="*/ 1546007 w 4012966"/>
                <a:gd name="connsiteY233" fmla="*/ 218126 h 541195"/>
                <a:gd name="connsiteX234" fmla="*/ 1546007 w 4012966"/>
                <a:gd name="connsiteY234" fmla="*/ 217903 h 541195"/>
                <a:gd name="connsiteX235" fmla="*/ 1561216 w 4012966"/>
                <a:gd name="connsiteY235" fmla="*/ 217903 h 541195"/>
                <a:gd name="connsiteX236" fmla="*/ 1566470 w 4012966"/>
                <a:gd name="connsiteY236" fmla="*/ 217903 h 541195"/>
                <a:gd name="connsiteX237" fmla="*/ 1573605 w 4012966"/>
                <a:gd name="connsiteY237" fmla="*/ 217903 h 541195"/>
                <a:gd name="connsiteX238" fmla="*/ 1578167 w 4012966"/>
                <a:gd name="connsiteY238" fmla="*/ 221303 h 541195"/>
                <a:gd name="connsiteX239" fmla="*/ 1581099 w 4012966"/>
                <a:gd name="connsiteY239" fmla="*/ 223517 h 541195"/>
                <a:gd name="connsiteX240" fmla="*/ 1592548 w 4012966"/>
                <a:gd name="connsiteY240" fmla="*/ 232083 h 541195"/>
                <a:gd name="connsiteX241" fmla="*/ 1593764 w 4012966"/>
                <a:gd name="connsiteY241" fmla="*/ 232083 h 541195"/>
                <a:gd name="connsiteX242" fmla="*/ 1594981 w 4012966"/>
                <a:gd name="connsiteY242" fmla="*/ 232083 h 541195"/>
                <a:gd name="connsiteX243" fmla="*/ 1596751 w 4012966"/>
                <a:gd name="connsiteY243" fmla="*/ 232461 h 541195"/>
                <a:gd name="connsiteX244" fmla="*/ 1596862 w 4012966"/>
                <a:gd name="connsiteY244" fmla="*/ 232409 h 541195"/>
                <a:gd name="connsiteX245" fmla="*/ 1604826 w 4012966"/>
                <a:gd name="connsiteY245" fmla="*/ 233680 h 541195"/>
                <a:gd name="connsiteX246" fmla="*/ 1609029 w 4012966"/>
                <a:gd name="connsiteY246" fmla="*/ 234332 h 541195"/>
                <a:gd name="connsiteX247" fmla="*/ 1610107 w 4012966"/>
                <a:gd name="connsiteY247" fmla="*/ 233834 h 541195"/>
                <a:gd name="connsiteX248" fmla="*/ 1618210 w 4012966"/>
                <a:gd name="connsiteY248" fmla="*/ 235929 h 541195"/>
                <a:gd name="connsiteX249" fmla="*/ 1621999 w 4012966"/>
                <a:gd name="connsiteY249" fmla="*/ 236924 h 541195"/>
                <a:gd name="connsiteX250" fmla="*/ 1625787 w 4012966"/>
                <a:gd name="connsiteY250" fmla="*/ 237903 h 541195"/>
                <a:gd name="connsiteX251" fmla="*/ 1628276 w 4012966"/>
                <a:gd name="connsiteY251" fmla="*/ 239963 h 541195"/>
                <a:gd name="connsiteX252" fmla="*/ 1631566 w 4012966"/>
                <a:gd name="connsiteY252" fmla="*/ 242693 h 541195"/>
                <a:gd name="connsiteX253" fmla="*/ 1638535 w 4012966"/>
                <a:gd name="connsiteY253" fmla="*/ 248461 h 541195"/>
                <a:gd name="connsiteX254" fmla="*/ 1632894 w 4012966"/>
                <a:gd name="connsiteY254" fmla="*/ 252958 h 541195"/>
                <a:gd name="connsiteX255" fmla="*/ 1632894 w 4012966"/>
                <a:gd name="connsiteY255" fmla="*/ 255259 h 541195"/>
                <a:gd name="connsiteX256" fmla="*/ 1639475 w 4012966"/>
                <a:gd name="connsiteY256" fmla="*/ 255259 h 541195"/>
                <a:gd name="connsiteX257" fmla="*/ 1654657 w 4012966"/>
                <a:gd name="connsiteY257" fmla="*/ 255259 h 541195"/>
                <a:gd name="connsiteX258" fmla="*/ 1668705 w 4012966"/>
                <a:gd name="connsiteY258" fmla="*/ 255259 h 541195"/>
                <a:gd name="connsiteX259" fmla="*/ 1683858 w 4012966"/>
                <a:gd name="connsiteY259" fmla="*/ 255259 h 541195"/>
                <a:gd name="connsiteX260" fmla="*/ 1698709 w 4012966"/>
                <a:gd name="connsiteY260" fmla="*/ 255259 h 541195"/>
                <a:gd name="connsiteX261" fmla="*/ 1699317 w 4012966"/>
                <a:gd name="connsiteY261" fmla="*/ 255259 h 541195"/>
                <a:gd name="connsiteX262" fmla="*/ 1714526 w 4012966"/>
                <a:gd name="connsiteY262" fmla="*/ 255259 h 541195"/>
                <a:gd name="connsiteX263" fmla="*/ 1718370 w 4012966"/>
                <a:gd name="connsiteY263" fmla="*/ 255259 h 541195"/>
                <a:gd name="connsiteX264" fmla="*/ 1722933 w 4012966"/>
                <a:gd name="connsiteY264" fmla="*/ 258555 h 541195"/>
                <a:gd name="connsiteX265" fmla="*/ 1726832 w 4012966"/>
                <a:gd name="connsiteY265" fmla="*/ 261388 h 541195"/>
                <a:gd name="connsiteX266" fmla="*/ 1735266 w 4012966"/>
                <a:gd name="connsiteY266" fmla="*/ 267482 h 541195"/>
                <a:gd name="connsiteX267" fmla="*/ 1731090 w 4012966"/>
                <a:gd name="connsiteY267" fmla="*/ 270538 h 541195"/>
                <a:gd name="connsiteX268" fmla="*/ 1740244 w 4012966"/>
                <a:gd name="connsiteY268" fmla="*/ 273577 h 541195"/>
                <a:gd name="connsiteX269" fmla="*/ 1727745 w 4012966"/>
                <a:gd name="connsiteY269" fmla="*/ 282503 h 541195"/>
                <a:gd name="connsiteX270" fmla="*/ 1726583 w 4012966"/>
                <a:gd name="connsiteY270" fmla="*/ 283344 h 541195"/>
                <a:gd name="connsiteX271" fmla="*/ 2103884 w 4012966"/>
                <a:gd name="connsiteY271" fmla="*/ 403000 h 541195"/>
                <a:gd name="connsiteX272" fmla="*/ 2226526 w 4012966"/>
                <a:gd name="connsiteY272" fmla="*/ 403000 h 541195"/>
                <a:gd name="connsiteX273" fmla="*/ 2226526 w 4012966"/>
                <a:gd name="connsiteY273" fmla="*/ 378056 h 541195"/>
                <a:gd name="connsiteX274" fmla="*/ 2250695 w 4012966"/>
                <a:gd name="connsiteY274" fmla="*/ 378056 h 541195"/>
                <a:gd name="connsiteX275" fmla="*/ 2298756 w 4012966"/>
                <a:gd name="connsiteY275" fmla="*/ 342812 h 541195"/>
                <a:gd name="connsiteX276" fmla="*/ 2308795 w 4012966"/>
                <a:gd name="connsiteY276" fmla="*/ 338915 h 541195"/>
                <a:gd name="connsiteX277" fmla="*/ 2305421 w 4012966"/>
                <a:gd name="connsiteY277" fmla="*/ 56875 h 541195"/>
                <a:gd name="connsiteX278" fmla="*/ 2281474 w 4012966"/>
                <a:gd name="connsiteY278" fmla="*/ 56875 h 541195"/>
                <a:gd name="connsiteX279" fmla="*/ 2281474 w 4012966"/>
                <a:gd name="connsiteY279" fmla="*/ 30798 h 541195"/>
                <a:gd name="connsiteX280" fmla="*/ 2228102 w 4012966"/>
                <a:gd name="connsiteY280" fmla="*/ 30798 h 541195"/>
                <a:gd name="connsiteX281" fmla="*/ 2228102 w 4012966"/>
                <a:gd name="connsiteY281" fmla="*/ 22970 h 541195"/>
                <a:gd name="connsiteX282" fmla="*/ 2178105 w 4012966"/>
                <a:gd name="connsiteY282" fmla="*/ 22970 h 541195"/>
                <a:gd name="connsiteX283" fmla="*/ 2178105 w 4012966"/>
                <a:gd name="connsiteY283" fmla="*/ 0 h 541195"/>
                <a:gd name="connsiteX284" fmla="*/ 2173044 w 4012966"/>
                <a:gd name="connsiteY284" fmla="*/ 0 h 541195"/>
                <a:gd name="connsiteX285" fmla="*/ 2173044 w 4012966"/>
                <a:gd name="connsiteY285" fmla="*/ 22953 h 541195"/>
                <a:gd name="connsiteX286" fmla="*/ 2123047 w 4012966"/>
                <a:gd name="connsiteY286" fmla="*/ 22953 h 541195"/>
                <a:gd name="connsiteX287" fmla="*/ 2123047 w 4012966"/>
                <a:gd name="connsiteY287" fmla="*/ 30781 h 541195"/>
                <a:gd name="connsiteX288" fmla="*/ 2069677 w 4012966"/>
                <a:gd name="connsiteY288" fmla="*/ 30781 h 541195"/>
                <a:gd name="connsiteX289" fmla="*/ 2069677 w 4012966"/>
                <a:gd name="connsiteY289" fmla="*/ 56858 h 541195"/>
                <a:gd name="connsiteX290" fmla="*/ 2045729 w 4012966"/>
                <a:gd name="connsiteY290" fmla="*/ 56858 h 541195"/>
                <a:gd name="connsiteX291" fmla="*/ 2043296 w 4012966"/>
                <a:gd name="connsiteY291" fmla="*/ 384648 h 541195"/>
                <a:gd name="connsiteX292" fmla="*/ 2089974 w 4012966"/>
                <a:gd name="connsiteY292" fmla="*/ 384871 h 541195"/>
                <a:gd name="connsiteX293" fmla="*/ 2103884 w 4012966"/>
                <a:gd name="connsiteY293" fmla="*/ 384871 h 541195"/>
                <a:gd name="connsiteX294" fmla="*/ 758305 w 4012966"/>
                <a:gd name="connsiteY294" fmla="*/ 434484 h 541195"/>
                <a:gd name="connsiteX295" fmla="*/ 758111 w 4012966"/>
                <a:gd name="connsiteY295" fmla="*/ 421557 h 541195"/>
                <a:gd name="connsiteX296" fmla="*/ 777081 w 4012966"/>
                <a:gd name="connsiteY296" fmla="*/ 418793 h 541195"/>
                <a:gd name="connsiteX297" fmla="*/ 926768 w 4012966"/>
                <a:gd name="connsiteY297" fmla="*/ 434519 h 541195"/>
                <a:gd name="connsiteX298" fmla="*/ 926768 w 4012966"/>
                <a:gd name="connsiteY298" fmla="*/ 434501 h 541195"/>
                <a:gd name="connsiteX299" fmla="*/ 907992 w 4012966"/>
                <a:gd name="connsiteY299" fmla="*/ 418810 h 541195"/>
                <a:gd name="connsiteX300" fmla="*/ 926962 w 4012966"/>
                <a:gd name="connsiteY300" fmla="*/ 421575 h 541195"/>
                <a:gd name="connsiteX301" fmla="*/ 158975 w 4012966"/>
                <a:gd name="connsiteY301" fmla="*/ 434519 h 541195"/>
                <a:gd name="connsiteX302" fmla="*/ 158975 w 4012966"/>
                <a:gd name="connsiteY302" fmla="*/ 434501 h 541195"/>
                <a:gd name="connsiteX303" fmla="*/ 140199 w 4012966"/>
                <a:gd name="connsiteY303" fmla="*/ 418810 h 541195"/>
                <a:gd name="connsiteX304" fmla="*/ 159170 w 4012966"/>
                <a:gd name="connsiteY304" fmla="*/ 421575 h 541195"/>
                <a:gd name="connsiteX305" fmla="*/ 812643 w 4012966"/>
                <a:gd name="connsiteY305" fmla="*/ 442655 h 541195"/>
                <a:gd name="connsiteX306" fmla="*/ 783110 w 4012966"/>
                <a:gd name="connsiteY306" fmla="*/ 417815 h 541195"/>
                <a:gd name="connsiteX307" fmla="*/ 811675 w 4012966"/>
                <a:gd name="connsiteY307" fmla="*/ 412150 h 541195"/>
                <a:gd name="connsiteX308" fmla="*/ 44823 w 4012966"/>
                <a:gd name="connsiteY308" fmla="*/ 442655 h 541195"/>
                <a:gd name="connsiteX309" fmla="*/ 15289 w 4012966"/>
                <a:gd name="connsiteY309" fmla="*/ 417815 h 541195"/>
                <a:gd name="connsiteX310" fmla="*/ 43855 w 4012966"/>
                <a:gd name="connsiteY310" fmla="*/ 412150 h 541195"/>
                <a:gd name="connsiteX311" fmla="*/ 872458 w 4012966"/>
                <a:gd name="connsiteY311" fmla="*/ 442673 h 541195"/>
                <a:gd name="connsiteX312" fmla="*/ 873425 w 4012966"/>
                <a:gd name="connsiteY312" fmla="*/ 412166 h 541195"/>
                <a:gd name="connsiteX313" fmla="*/ 901991 w 4012966"/>
                <a:gd name="connsiteY313" fmla="*/ 417832 h 541195"/>
                <a:gd name="connsiteX314" fmla="*/ 104637 w 4012966"/>
                <a:gd name="connsiteY314" fmla="*/ 442673 h 541195"/>
                <a:gd name="connsiteX315" fmla="*/ 105605 w 4012966"/>
                <a:gd name="connsiteY315" fmla="*/ 412166 h 541195"/>
                <a:gd name="connsiteX316" fmla="*/ 134171 w 4012966"/>
                <a:gd name="connsiteY316" fmla="*/ 417832 h 541195"/>
                <a:gd name="connsiteX317" fmla="*/ 870134 w 4012966"/>
                <a:gd name="connsiteY317" fmla="*/ 444184 h 541195"/>
                <a:gd name="connsiteX318" fmla="*/ 846325 w 4012966"/>
                <a:gd name="connsiteY318" fmla="*/ 437591 h 541195"/>
                <a:gd name="connsiteX319" fmla="*/ 846325 w 4012966"/>
                <a:gd name="connsiteY319" fmla="*/ 404115 h 541195"/>
                <a:gd name="connsiteX320" fmla="*/ 871158 w 4012966"/>
                <a:gd name="connsiteY320" fmla="*/ 411617 h 541195"/>
                <a:gd name="connsiteX321" fmla="*/ 814966 w 4012966"/>
                <a:gd name="connsiteY321" fmla="*/ 444184 h 541195"/>
                <a:gd name="connsiteX322" fmla="*/ 813943 w 4012966"/>
                <a:gd name="connsiteY322" fmla="*/ 411617 h 541195"/>
                <a:gd name="connsiteX323" fmla="*/ 838776 w 4012966"/>
                <a:gd name="connsiteY323" fmla="*/ 404115 h 541195"/>
                <a:gd name="connsiteX324" fmla="*/ 838776 w 4012966"/>
                <a:gd name="connsiteY324" fmla="*/ 437591 h 541195"/>
                <a:gd name="connsiteX325" fmla="*/ 102341 w 4012966"/>
                <a:gd name="connsiteY325" fmla="*/ 444184 h 541195"/>
                <a:gd name="connsiteX326" fmla="*/ 78532 w 4012966"/>
                <a:gd name="connsiteY326" fmla="*/ 437591 h 541195"/>
                <a:gd name="connsiteX327" fmla="*/ 78532 w 4012966"/>
                <a:gd name="connsiteY327" fmla="*/ 404115 h 541195"/>
                <a:gd name="connsiteX328" fmla="*/ 103364 w 4012966"/>
                <a:gd name="connsiteY328" fmla="*/ 411617 h 541195"/>
                <a:gd name="connsiteX329" fmla="*/ 47174 w 4012966"/>
                <a:gd name="connsiteY329" fmla="*/ 444184 h 541195"/>
                <a:gd name="connsiteX330" fmla="*/ 46151 w 4012966"/>
                <a:gd name="connsiteY330" fmla="*/ 411617 h 541195"/>
                <a:gd name="connsiteX331" fmla="*/ 71011 w 4012966"/>
                <a:gd name="connsiteY331" fmla="*/ 404115 h 541195"/>
                <a:gd name="connsiteX332" fmla="*/ 71011 w 4012966"/>
                <a:gd name="connsiteY332" fmla="*/ 437591 h 541195"/>
                <a:gd name="connsiteX333" fmla="*/ 70983 w 4012966"/>
                <a:gd name="connsiteY333" fmla="*/ 437591 h 541195"/>
                <a:gd name="connsiteX334" fmla="*/ 1055605 w 4012966"/>
                <a:gd name="connsiteY334" fmla="*/ 461316 h 541195"/>
                <a:gd name="connsiteX335" fmla="*/ 1055605 w 4012966"/>
                <a:gd name="connsiteY335" fmla="*/ 432029 h 541195"/>
                <a:gd name="connsiteX336" fmla="*/ 1079664 w 4012966"/>
                <a:gd name="connsiteY336" fmla="*/ 432974 h 541195"/>
                <a:gd name="connsiteX337" fmla="*/ 287784 w 4012966"/>
                <a:gd name="connsiteY337" fmla="*/ 461316 h 541195"/>
                <a:gd name="connsiteX338" fmla="*/ 287784 w 4012966"/>
                <a:gd name="connsiteY338" fmla="*/ 432029 h 541195"/>
                <a:gd name="connsiteX339" fmla="*/ 311843 w 4012966"/>
                <a:gd name="connsiteY339" fmla="*/ 432974 h 541195"/>
                <a:gd name="connsiteX340" fmla="*/ 629496 w 4012966"/>
                <a:gd name="connsiteY340" fmla="*/ 461334 h 541195"/>
                <a:gd name="connsiteX341" fmla="*/ 605438 w 4012966"/>
                <a:gd name="connsiteY341" fmla="*/ 432990 h 541195"/>
                <a:gd name="connsiteX342" fmla="*/ 629496 w 4012966"/>
                <a:gd name="connsiteY342" fmla="*/ 432046 h 541195"/>
                <a:gd name="connsiteX343" fmla="*/ 1021204 w 4012966"/>
                <a:gd name="connsiteY343" fmla="*/ 461488 h 541195"/>
                <a:gd name="connsiteX344" fmla="*/ 1021176 w 4012966"/>
                <a:gd name="connsiteY344" fmla="*/ 461471 h 541195"/>
                <a:gd name="connsiteX345" fmla="*/ 1021176 w 4012966"/>
                <a:gd name="connsiteY345" fmla="*/ 461449 h 541195"/>
                <a:gd name="connsiteX346" fmla="*/ 997119 w 4012966"/>
                <a:gd name="connsiteY346" fmla="*/ 428613 h 541195"/>
                <a:gd name="connsiteX347" fmla="*/ 1021979 w 4012966"/>
                <a:gd name="connsiteY347" fmla="*/ 430278 h 541195"/>
                <a:gd name="connsiteX348" fmla="*/ 1020845 w 4012966"/>
                <a:gd name="connsiteY348" fmla="*/ 430278 h 541195"/>
                <a:gd name="connsiteX349" fmla="*/ 1021125 w 4012966"/>
                <a:gd name="connsiteY349" fmla="*/ 456597 h 541195"/>
                <a:gd name="connsiteX350" fmla="*/ 1021176 w 4012966"/>
                <a:gd name="connsiteY350" fmla="*/ 461449 h 541195"/>
                <a:gd name="connsiteX351" fmla="*/ 253412 w 4012966"/>
                <a:gd name="connsiteY351" fmla="*/ 461488 h 541195"/>
                <a:gd name="connsiteX352" fmla="*/ 229326 w 4012966"/>
                <a:gd name="connsiteY352" fmla="*/ 428613 h 541195"/>
                <a:gd name="connsiteX353" fmla="*/ 254213 w 4012966"/>
                <a:gd name="connsiteY353" fmla="*/ 430278 h 541195"/>
                <a:gd name="connsiteX354" fmla="*/ 253080 w 4012966"/>
                <a:gd name="connsiteY354" fmla="*/ 430278 h 541195"/>
                <a:gd name="connsiteX355" fmla="*/ 253412 w 4012966"/>
                <a:gd name="connsiteY355" fmla="*/ 461471 h 541195"/>
                <a:gd name="connsiteX356" fmla="*/ 663841 w 4012966"/>
                <a:gd name="connsiteY356" fmla="*/ 461505 h 541195"/>
                <a:gd name="connsiteX357" fmla="*/ 664173 w 4012966"/>
                <a:gd name="connsiteY357" fmla="*/ 430312 h 541195"/>
                <a:gd name="connsiteX358" fmla="*/ 663039 w 4012966"/>
                <a:gd name="connsiteY358" fmla="*/ 430312 h 541195"/>
                <a:gd name="connsiteX359" fmla="*/ 663067 w 4012966"/>
                <a:gd name="connsiteY359" fmla="*/ 430295 h 541195"/>
                <a:gd name="connsiteX360" fmla="*/ 687927 w 4012966"/>
                <a:gd name="connsiteY360" fmla="*/ 428630 h 541195"/>
                <a:gd name="connsiteX361" fmla="*/ 1109473 w 4012966"/>
                <a:gd name="connsiteY361" fmla="*/ 462140 h 541195"/>
                <a:gd name="connsiteX362" fmla="*/ 1084890 w 4012966"/>
                <a:gd name="connsiteY362" fmla="*/ 433145 h 541195"/>
                <a:gd name="connsiteX363" fmla="*/ 1109170 w 4012966"/>
                <a:gd name="connsiteY363" fmla="*/ 433832 h 541195"/>
                <a:gd name="connsiteX364" fmla="*/ 341681 w 4012966"/>
                <a:gd name="connsiteY364" fmla="*/ 462140 h 541195"/>
                <a:gd name="connsiteX365" fmla="*/ 317070 w 4012966"/>
                <a:gd name="connsiteY365" fmla="*/ 433145 h 541195"/>
                <a:gd name="connsiteX366" fmla="*/ 341349 w 4012966"/>
                <a:gd name="connsiteY366" fmla="*/ 433832 h 541195"/>
                <a:gd name="connsiteX367" fmla="*/ 575627 w 4012966"/>
                <a:gd name="connsiteY367" fmla="*/ 462158 h 541195"/>
                <a:gd name="connsiteX368" fmla="*/ 575932 w 4012966"/>
                <a:gd name="connsiteY368" fmla="*/ 433849 h 541195"/>
                <a:gd name="connsiteX369" fmla="*/ 600211 w 4012966"/>
                <a:gd name="connsiteY369" fmla="*/ 433162 h 541195"/>
                <a:gd name="connsiteX370" fmla="*/ 963962 w 4012966"/>
                <a:gd name="connsiteY370" fmla="*/ 462553 h 541195"/>
                <a:gd name="connsiteX371" fmla="*/ 963879 w 4012966"/>
                <a:gd name="connsiteY371" fmla="*/ 425780 h 541195"/>
                <a:gd name="connsiteX372" fmla="*/ 992030 w 4012966"/>
                <a:gd name="connsiteY372" fmla="*/ 428235 h 541195"/>
                <a:gd name="connsiteX373" fmla="*/ 721139 w 4012966"/>
                <a:gd name="connsiteY373" fmla="*/ 462553 h 541195"/>
                <a:gd name="connsiteX374" fmla="*/ 693071 w 4012966"/>
                <a:gd name="connsiteY374" fmla="*/ 428235 h 541195"/>
                <a:gd name="connsiteX375" fmla="*/ 721222 w 4012966"/>
                <a:gd name="connsiteY375" fmla="*/ 425780 h 541195"/>
                <a:gd name="connsiteX376" fmla="*/ 196142 w 4012966"/>
                <a:gd name="connsiteY376" fmla="*/ 462553 h 541195"/>
                <a:gd name="connsiteX377" fmla="*/ 196059 w 4012966"/>
                <a:gd name="connsiteY377" fmla="*/ 425780 h 541195"/>
                <a:gd name="connsiteX378" fmla="*/ 224209 w 4012966"/>
                <a:gd name="connsiteY378" fmla="*/ 428235 h 541195"/>
                <a:gd name="connsiteX379" fmla="*/ 1171582 w 4012966"/>
                <a:gd name="connsiteY379" fmla="*/ 462604 h 541195"/>
                <a:gd name="connsiteX380" fmla="*/ 1170671 w 4012966"/>
                <a:gd name="connsiteY380" fmla="*/ 434741 h 541195"/>
                <a:gd name="connsiteX381" fmla="*/ 1170643 w 4012966"/>
                <a:gd name="connsiteY381" fmla="*/ 434741 h 541195"/>
                <a:gd name="connsiteX382" fmla="*/ 1170671 w 4012966"/>
                <a:gd name="connsiteY382" fmla="*/ 434725 h 541195"/>
                <a:gd name="connsiteX383" fmla="*/ 1170671 w 4012966"/>
                <a:gd name="connsiteY383" fmla="*/ 434741 h 541195"/>
                <a:gd name="connsiteX384" fmla="*/ 1194977 w 4012966"/>
                <a:gd name="connsiteY384" fmla="*/ 434810 h 541195"/>
                <a:gd name="connsiteX385" fmla="*/ 403763 w 4012966"/>
                <a:gd name="connsiteY385" fmla="*/ 462604 h 541195"/>
                <a:gd name="connsiteX386" fmla="*/ 402822 w 4012966"/>
                <a:gd name="connsiteY386" fmla="*/ 434741 h 541195"/>
                <a:gd name="connsiteX387" fmla="*/ 427157 w 4012966"/>
                <a:gd name="connsiteY387" fmla="*/ 434810 h 541195"/>
                <a:gd name="connsiteX388" fmla="*/ 513518 w 4012966"/>
                <a:gd name="connsiteY388" fmla="*/ 462639 h 541195"/>
                <a:gd name="connsiteX389" fmla="*/ 513518 w 4012966"/>
                <a:gd name="connsiteY389" fmla="*/ 462621 h 541195"/>
                <a:gd name="connsiteX390" fmla="*/ 490096 w 4012966"/>
                <a:gd name="connsiteY390" fmla="*/ 434827 h 541195"/>
                <a:gd name="connsiteX391" fmla="*/ 514431 w 4012966"/>
                <a:gd name="connsiteY391" fmla="*/ 434759 h 541195"/>
                <a:gd name="connsiteX392" fmla="*/ 1169315 w 4012966"/>
                <a:gd name="connsiteY392" fmla="*/ 462913 h 541195"/>
                <a:gd name="connsiteX393" fmla="*/ 1143404 w 4012966"/>
                <a:gd name="connsiteY393" fmla="*/ 434467 h 541195"/>
                <a:gd name="connsiteX394" fmla="*/ 1168375 w 4012966"/>
                <a:gd name="connsiteY394" fmla="*/ 434725 h 541195"/>
                <a:gd name="connsiteX395" fmla="*/ 515758 w 4012966"/>
                <a:gd name="connsiteY395" fmla="*/ 462913 h 541195"/>
                <a:gd name="connsiteX396" fmla="*/ 516698 w 4012966"/>
                <a:gd name="connsiteY396" fmla="*/ 434725 h 541195"/>
                <a:gd name="connsiteX397" fmla="*/ 541669 w 4012966"/>
                <a:gd name="connsiteY397" fmla="*/ 434467 h 541195"/>
                <a:gd name="connsiteX398" fmla="*/ 401494 w 4012966"/>
                <a:gd name="connsiteY398" fmla="*/ 462913 h 541195"/>
                <a:gd name="connsiteX399" fmla="*/ 375556 w 4012966"/>
                <a:gd name="connsiteY399" fmla="*/ 434467 h 541195"/>
                <a:gd name="connsiteX400" fmla="*/ 375584 w 4012966"/>
                <a:gd name="connsiteY400" fmla="*/ 434467 h 541195"/>
                <a:gd name="connsiteX401" fmla="*/ 400554 w 4012966"/>
                <a:gd name="connsiteY401" fmla="*/ 434725 h 541195"/>
                <a:gd name="connsiteX402" fmla="*/ 1023500 w 4012966"/>
                <a:gd name="connsiteY402" fmla="*/ 463222 h 541195"/>
                <a:gd name="connsiteX403" fmla="*/ 1023140 w 4012966"/>
                <a:gd name="connsiteY403" fmla="*/ 430347 h 541195"/>
                <a:gd name="connsiteX404" fmla="*/ 1050821 w 4012966"/>
                <a:gd name="connsiteY404" fmla="*/ 431806 h 541195"/>
                <a:gd name="connsiteX405" fmla="*/ 255707 w 4012966"/>
                <a:gd name="connsiteY405" fmla="*/ 463222 h 541195"/>
                <a:gd name="connsiteX406" fmla="*/ 255347 w 4012966"/>
                <a:gd name="connsiteY406" fmla="*/ 430349 h 541195"/>
                <a:gd name="connsiteX407" fmla="*/ 255319 w 4012966"/>
                <a:gd name="connsiteY407" fmla="*/ 430347 h 541195"/>
                <a:gd name="connsiteX408" fmla="*/ 255347 w 4012966"/>
                <a:gd name="connsiteY408" fmla="*/ 430347 h 541195"/>
                <a:gd name="connsiteX409" fmla="*/ 255347 w 4012966"/>
                <a:gd name="connsiteY409" fmla="*/ 430349 h 541195"/>
                <a:gd name="connsiteX410" fmla="*/ 283001 w 4012966"/>
                <a:gd name="connsiteY410" fmla="*/ 431806 h 541195"/>
                <a:gd name="connsiteX411" fmla="*/ 661574 w 4012966"/>
                <a:gd name="connsiteY411" fmla="*/ 463239 h 541195"/>
                <a:gd name="connsiteX412" fmla="*/ 634252 w 4012966"/>
                <a:gd name="connsiteY412" fmla="*/ 431823 h 541195"/>
                <a:gd name="connsiteX413" fmla="*/ 661933 w 4012966"/>
                <a:gd name="connsiteY413" fmla="*/ 430364 h 541195"/>
                <a:gd name="connsiteX414" fmla="*/ 1111769 w 4012966"/>
                <a:gd name="connsiteY414" fmla="*/ 463290 h 541195"/>
                <a:gd name="connsiteX415" fmla="*/ 1111437 w 4012966"/>
                <a:gd name="connsiteY415" fmla="*/ 433883 h 541195"/>
                <a:gd name="connsiteX416" fmla="*/ 1137597 w 4012966"/>
                <a:gd name="connsiteY416" fmla="*/ 434381 h 541195"/>
                <a:gd name="connsiteX417" fmla="*/ 343948 w 4012966"/>
                <a:gd name="connsiteY417" fmla="*/ 463290 h 541195"/>
                <a:gd name="connsiteX418" fmla="*/ 343616 w 4012966"/>
                <a:gd name="connsiteY418" fmla="*/ 433883 h 541195"/>
                <a:gd name="connsiteX419" fmla="*/ 369776 w 4012966"/>
                <a:gd name="connsiteY419" fmla="*/ 434381 h 541195"/>
                <a:gd name="connsiteX420" fmla="*/ 573304 w 4012966"/>
                <a:gd name="connsiteY420" fmla="*/ 463308 h 541195"/>
                <a:gd name="connsiteX421" fmla="*/ 573304 w 4012966"/>
                <a:gd name="connsiteY421" fmla="*/ 463277 h 541195"/>
                <a:gd name="connsiteX422" fmla="*/ 547476 w 4012966"/>
                <a:gd name="connsiteY422" fmla="*/ 434398 h 541195"/>
                <a:gd name="connsiteX423" fmla="*/ 573637 w 4012966"/>
                <a:gd name="connsiteY423" fmla="*/ 433900 h 541195"/>
                <a:gd name="connsiteX424" fmla="*/ 573304 w 4012966"/>
                <a:gd name="connsiteY424" fmla="*/ 463277 h 541195"/>
                <a:gd name="connsiteX425" fmla="*/ 573332 w 4012966"/>
                <a:gd name="connsiteY425" fmla="*/ 463308 h 541195"/>
                <a:gd name="connsiteX426" fmla="*/ 961666 w 4012966"/>
                <a:gd name="connsiteY426" fmla="*/ 463685 h 541195"/>
                <a:gd name="connsiteX427" fmla="*/ 961666 w 4012966"/>
                <a:gd name="connsiteY427" fmla="*/ 463662 h 541195"/>
                <a:gd name="connsiteX428" fmla="*/ 929008 w 4012966"/>
                <a:gd name="connsiteY428" fmla="*/ 436355 h 541195"/>
                <a:gd name="connsiteX429" fmla="*/ 929230 w 4012966"/>
                <a:gd name="connsiteY429" fmla="*/ 421849 h 541195"/>
                <a:gd name="connsiteX430" fmla="*/ 962717 w 4012966"/>
                <a:gd name="connsiteY430" fmla="*/ 425660 h 541195"/>
                <a:gd name="connsiteX431" fmla="*/ 961584 w 4012966"/>
                <a:gd name="connsiteY431" fmla="*/ 425660 h 541195"/>
                <a:gd name="connsiteX432" fmla="*/ 961666 w 4012966"/>
                <a:gd name="connsiteY432" fmla="*/ 463662 h 541195"/>
                <a:gd name="connsiteX433" fmla="*/ 961694 w 4012966"/>
                <a:gd name="connsiteY433" fmla="*/ 463685 h 541195"/>
                <a:gd name="connsiteX434" fmla="*/ 193846 w 4012966"/>
                <a:gd name="connsiteY434" fmla="*/ 463685 h 541195"/>
                <a:gd name="connsiteX435" fmla="*/ 193846 w 4012966"/>
                <a:gd name="connsiteY435" fmla="*/ 463663 h 541195"/>
                <a:gd name="connsiteX436" fmla="*/ 161187 w 4012966"/>
                <a:gd name="connsiteY436" fmla="*/ 436355 h 541195"/>
                <a:gd name="connsiteX437" fmla="*/ 161437 w 4012966"/>
                <a:gd name="connsiteY437" fmla="*/ 421849 h 541195"/>
                <a:gd name="connsiteX438" fmla="*/ 194925 w 4012966"/>
                <a:gd name="connsiteY438" fmla="*/ 425660 h 541195"/>
                <a:gd name="connsiteX439" fmla="*/ 193763 w 4012966"/>
                <a:gd name="connsiteY439" fmla="*/ 425660 h 541195"/>
                <a:gd name="connsiteX440" fmla="*/ 193846 w 4012966"/>
                <a:gd name="connsiteY440" fmla="*/ 463663 h 541195"/>
                <a:gd name="connsiteX441" fmla="*/ 193874 w 4012966"/>
                <a:gd name="connsiteY441" fmla="*/ 463685 h 541195"/>
                <a:gd name="connsiteX442" fmla="*/ 723406 w 4012966"/>
                <a:gd name="connsiteY442" fmla="*/ 463703 h 541195"/>
                <a:gd name="connsiteX443" fmla="*/ 723489 w 4012966"/>
                <a:gd name="connsiteY443" fmla="*/ 425677 h 541195"/>
                <a:gd name="connsiteX444" fmla="*/ 722355 w 4012966"/>
                <a:gd name="connsiteY444" fmla="*/ 425677 h 541195"/>
                <a:gd name="connsiteX445" fmla="*/ 755844 w 4012966"/>
                <a:gd name="connsiteY445" fmla="*/ 421866 h 541195"/>
                <a:gd name="connsiteX446" fmla="*/ 756092 w 4012966"/>
                <a:gd name="connsiteY446" fmla="*/ 436372 h 541195"/>
                <a:gd name="connsiteX447" fmla="*/ 1141220 w 4012966"/>
                <a:gd name="connsiteY447" fmla="*/ 464355 h 541195"/>
                <a:gd name="connsiteX448" fmla="*/ 1141220 w 4012966"/>
                <a:gd name="connsiteY448" fmla="*/ 437900 h 541195"/>
                <a:gd name="connsiteX449" fmla="*/ 1165333 w 4012966"/>
                <a:gd name="connsiteY449" fmla="*/ 464355 h 541195"/>
                <a:gd name="connsiteX450" fmla="*/ 1116110 w 4012966"/>
                <a:gd name="connsiteY450" fmla="*/ 464355 h 541195"/>
                <a:gd name="connsiteX451" fmla="*/ 1138951 w 4012966"/>
                <a:gd name="connsiteY451" fmla="*/ 438810 h 541195"/>
                <a:gd name="connsiteX452" fmla="*/ 1138951 w 4012966"/>
                <a:gd name="connsiteY452" fmla="*/ 464355 h 541195"/>
                <a:gd name="connsiteX453" fmla="*/ 373399 w 4012966"/>
                <a:gd name="connsiteY453" fmla="*/ 464355 h 541195"/>
                <a:gd name="connsiteX454" fmla="*/ 373399 w 4012966"/>
                <a:gd name="connsiteY454" fmla="*/ 437900 h 541195"/>
                <a:gd name="connsiteX455" fmla="*/ 397485 w 4012966"/>
                <a:gd name="connsiteY455" fmla="*/ 464355 h 541195"/>
                <a:gd name="connsiteX456" fmla="*/ 348290 w 4012966"/>
                <a:gd name="connsiteY456" fmla="*/ 464355 h 541195"/>
                <a:gd name="connsiteX457" fmla="*/ 371132 w 4012966"/>
                <a:gd name="connsiteY457" fmla="*/ 438810 h 541195"/>
                <a:gd name="connsiteX458" fmla="*/ 371132 w 4012966"/>
                <a:gd name="connsiteY458" fmla="*/ 464355 h 541195"/>
                <a:gd name="connsiteX459" fmla="*/ 1198102 w 4012966"/>
                <a:gd name="connsiteY459" fmla="*/ 464372 h 541195"/>
                <a:gd name="connsiteX460" fmla="*/ 1197798 w 4012966"/>
                <a:gd name="connsiteY460" fmla="*/ 438330 h 541195"/>
                <a:gd name="connsiteX461" fmla="*/ 1218649 w 4012966"/>
                <a:gd name="connsiteY461" fmla="*/ 464372 h 541195"/>
                <a:gd name="connsiteX462" fmla="*/ 1175315 w 4012966"/>
                <a:gd name="connsiteY462" fmla="*/ 464372 h 541195"/>
                <a:gd name="connsiteX463" fmla="*/ 1195586 w 4012966"/>
                <a:gd name="connsiteY463" fmla="*/ 440304 h 541195"/>
                <a:gd name="connsiteX464" fmla="*/ 1195862 w 4012966"/>
                <a:gd name="connsiteY464" fmla="*/ 464372 h 541195"/>
                <a:gd name="connsiteX465" fmla="*/ 1175344 w 4012966"/>
                <a:gd name="connsiteY465" fmla="*/ 464372 h 541195"/>
                <a:gd name="connsiteX466" fmla="*/ 1082401 w 4012966"/>
                <a:gd name="connsiteY466" fmla="*/ 464372 h 541195"/>
                <a:gd name="connsiteX467" fmla="*/ 1082705 w 4012966"/>
                <a:gd name="connsiteY467" fmla="*/ 436750 h 541195"/>
                <a:gd name="connsiteX468" fmla="*/ 1106127 w 4012966"/>
                <a:gd name="connsiteY468" fmla="*/ 464372 h 541195"/>
                <a:gd name="connsiteX469" fmla="*/ 1058232 w 4012966"/>
                <a:gd name="connsiteY469" fmla="*/ 464372 h 541195"/>
                <a:gd name="connsiteX470" fmla="*/ 1080410 w 4012966"/>
                <a:gd name="connsiteY470" fmla="*/ 438226 h 541195"/>
                <a:gd name="connsiteX471" fmla="*/ 1080133 w 4012966"/>
                <a:gd name="connsiteY471" fmla="*/ 464372 h 541195"/>
                <a:gd name="connsiteX472" fmla="*/ 1027758 w 4012966"/>
                <a:gd name="connsiteY472" fmla="*/ 464372 h 541195"/>
                <a:gd name="connsiteX473" fmla="*/ 1051070 w 4012966"/>
                <a:gd name="connsiteY473" fmla="*/ 437557 h 541195"/>
                <a:gd name="connsiteX474" fmla="*/ 1051070 w 4012966"/>
                <a:gd name="connsiteY474" fmla="*/ 464372 h 541195"/>
                <a:gd name="connsiteX475" fmla="*/ 546149 w 4012966"/>
                <a:gd name="connsiteY475" fmla="*/ 464372 h 541195"/>
                <a:gd name="connsiteX476" fmla="*/ 546149 w 4012966"/>
                <a:gd name="connsiteY476" fmla="*/ 438827 h 541195"/>
                <a:gd name="connsiteX477" fmla="*/ 568991 w 4012966"/>
                <a:gd name="connsiteY477" fmla="*/ 464372 h 541195"/>
                <a:gd name="connsiteX478" fmla="*/ 519768 w 4012966"/>
                <a:gd name="connsiteY478" fmla="*/ 464372 h 541195"/>
                <a:gd name="connsiteX479" fmla="*/ 543881 w 4012966"/>
                <a:gd name="connsiteY479" fmla="*/ 437918 h 541195"/>
                <a:gd name="connsiteX480" fmla="*/ 543881 w 4012966"/>
                <a:gd name="connsiteY480" fmla="*/ 464372 h 541195"/>
                <a:gd name="connsiteX481" fmla="*/ 489238 w 4012966"/>
                <a:gd name="connsiteY481" fmla="*/ 464372 h 541195"/>
                <a:gd name="connsiteX482" fmla="*/ 489515 w 4012966"/>
                <a:gd name="connsiteY482" fmla="*/ 440304 h 541195"/>
                <a:gd name="connsiteX483" fmla="*/ 509785 w 4012966"/>
                <a:gd name="connsiteY483" fmla="*/ 464372 h 541195"/>
                <a:gd name="connsiteX484" fmla="*/ 489266 w 4012966"/>
                <a:gd name="connsiteY484" fmla="*/ 464372 h 541195"/>
                <a:gd name="connsiteX485" fmla="*/ 466425 w 4012966"/>
                <a:gd name="connsiteY485" fmla="*/ 464372 h 541195"/>
                <a:gd name="connsiteX486" fmla="*/ 487275 w 4012966"/>
                <a:gd name="connsiteY486" fmla="*/ 438330 h 541195"/>
                <a:gd name="connsiteX487" fmla="*/ 486971 w 4012966"/>
                <a:gd name="connsiteY487" fmla="*/ 464372 h 541195"/>
                <a:gd name="connsiteX488" fmla="*/ 460921 w 4012966"/>
                <a:gd name="connsiteY488" fmla="*/ 464372 h 541195"/>
                <a:gd name="connsiteX489" fmla="*/ 460921 w 4012966"/>
                <a:gd name="connsiteY489" fmla="*/ 434725 h 541195"/>
                <a:gd name="connsiteX490" fmla="*/ 484925 w 4012966"/>
                <a:gd name="connsiteY490" fmla="*/ 434810 h 541195"/>
                <a:gd name="connsiteX491" fmla="*/ 461281 w 4012966"/>
                <a:gd name="connsiteY491" fmla="*/ 464372 h 541195"/>
                <a:gd name="connsiteX492" fmla="*/ 455972 w 4012966"/>
                <a:gd name="connsiteY492" fmla="*/ 464372 h 541195"/>
                <a:gd name="connsiteX493" fmla="*/ 432328 w 4012966"/>
                <a:gd name="connsiteY493" fmla="*/ 434810 h 541195"/>
                <a:gd name="connsiteX494" fmla="*/ 456331 w 4012966"/>
                <a:gd name="connsiteY494" fmla="*/ 434725 h 541195"/>
                <a:gd name="connsiteX495" fmla="*/ 456331 w 4012966"/>
                <a:gd name="connsiteY495" fmla="*/ 464372 h 541195"/>
                <a:gd name="connsiteX496" fmla="*/ 430282 w 4012966"/>
                <a:gd name="connsiteY496" fmla="*/ 464372 h 541195"/>
                <a:gd name="connsiteX497" fmla="*/ 430005 w 4012966"/>
                <a:gd name="connsiteY497" fmla="*/ 438330 h 541195"/>
                <a:gd name="connsiteX498" fmla="*/ 450856 w 4012966"/>
                <a:gd name="connsiteY498" fmla="*/ 464372 h 541195"/>
                <a:gd name="connsiteX499" fmla="*/ 430309 w 4012966"/>
                <a:gd name="connsiteY499" fmla="*/ 464372 h 541195"/>
                <a:gd name="connsiteX500" fmla="*/ 407496 w 4012966"/>
                <a:gd name="connsiteY500" fmla="*/ 464372 h 541195"/>
                <a:gd name="connsiteX501" fmla="*/ 427765 w 4012966"/>
                <a:gd name="connsiteY501" fmla="*/ 440304 h 541195"/>
                <a:gd name="connsiteX502" fmla="*/ 428042 w 4012966"/>
                <a:gd name="connsiteY502" fmla="*/ 464372 h 541195"/>
                <a:gd name="connsiteX503" fmla="*/ 407523 w 4012966"/>
                <a:gd name="connsiteY503" fmla="*/ 464372 h 541195"/>
                <a:gd name="connsiteX504" fmla="*/ 314608 w 4012966"/>
                <a:gd name="connsiteY504" fmla="*/ 464372 h 541195"/>
                <a:gd name="connsiteX505" fmla="*/ 314913 w 4012966"/>
                <a:gd name="connsiteY505" fmla="*/ 436750 h 541195"/>
                <a:gd name="connsiteX506" fmla="*/ 338334 w 4012966"/>
                <a:gd name="connsiteY506" fmla="*/ 464372 h 541195"/>
                <a:gd name="connsiteX507" fmla="*/ 290439 w 4012966"/>
                <a:gd name="connsiteY507" fmla="*/ 464372 h 541195"/>
                <a:gd name="connsiteX508" fmla="*/ 312617 w 4012966"/>
                <a:gd name="connsiteY508" fmla="*/ 438226 h 541195"/>
                <a:gd name="connsiteX509" fmla="*/ 312341 w 4012966"/>
                <a:gd name="connsiteY509" fmla="*/ 464372 h 541195"/>
                <a:gd name="connsiteX510" fmla="*/ 259938 w 4012966"/>
                <a:gd name="connsiteY510" fmla="*/ 464372 h 541195"/>
                <a:gd name="connsiteX511" fmla="*/ 283249 w 4012966"/>
                <a:gd name="connsiteY511" fmla="*/ 437557 h 541195"/>
                <a:gd name="connsiteX512" fmla="*/ 283249 w 4012966"/>
                <a:gd name="connsiteY512" fmla="*/ 464372 h 541195"/>
                <a:gd name="connsiteX513" fmla="*/ 994574 w 4012966"/>
                <a:gd name="connsiteY513" fmla="*/ 464389 h 541195"/>
                <a:gd name="connsiteX514" fmla="*/ 995183 w 4012966"/>
                <a:gd name="connsiteY514" fmla="*/ 432870 h 541195"/>
                <a:gd name="connsiteX515" fmla="*/ 1018301 w 4012966"/>
                <a:gd name="connsiteY515" fmla="*/ 464389 h 541195"/>
                <a:gd name="connsiteX516" fmla="*/ 967640 w 4012966"/>
                <a:gd name="connsiteY516" fmla="*/ 464389 h 541195"/>
                <a:gd name="connsiteX517" fmla="*/ 992915 w 4012966"/>
                <a:gd name="connsiteY517" fmla="*/ 433489 h 541195"/>
                <a:gd name="connsiteX518" fmla="*/ 992335 w 4012966"/>
                <a:gd name="connsiteY518" fmla="*/ 464389 h 541195"/>
                <a:gd name="connsiteX519" fmla="*/ 928565 w 4012966"/>
                <a:gd name="connsiteY519" fmla="*/ 464389 h 541195"/>
                <a:gd name="connsiteX520" fmla="*/ 928925 w 4012966"/>
                <a:gd name="connsiteY520" fmla="*/ 441179 h 541195"/>
                <a:gd name="connsiteX521" fmla="*/ 956662 w 4012966"/>
                <a:gd name="connsiteY521" fmla="*/ 464389 h 541195"/>
                <a:gd name="connsiteX522" fmla="*/ 904452 w 4012966"/>
                <a:gd name="connsiteY522" fmla="*/ 464389 h 541195"/>
                <a:gd name="connsiteX523" fmla="*/ 905503 w 4012966"/>
                <a:gd name="connsiteY523" fmla="*/ 421591 h 541195"/>
                <a:gd name="connsiteX524" fmla="*/ 926686 w 4012966"/>
                <a:gd name="connsiteY524" fmla="*/ 439308 h 541195"/>
                <a:gd name="connsiteX525" fmla="*/ 926298 w 4012966"/>
                <a:gd name="connsiteY525" fmla="*/ 464372 h 541195"/>
                <a:gd name="connsiteX526" fmla="*/ 926298 w 4012966"/>
                <a:gd name="connsiteY526" fmla="*/ 464389 h 541195"/>
                <a:gd name="connsiteX527" fmla="*/ 894386 w 4012966"/>
                <a:gd name="connsiteY527" fmla="*/ 464389 h 541195"/>
                <a:gd name="connsiteX528" fmla="*/ 875085 w 4012966"/>
                <a:gd name="connsiteY528" fmla="*/ 445677 h 541195"/>
                <a:gd name="connsiteX529" fmla="*/ 874172 w 4012966"/>
                <a:gd name="connsiteY529" fmla="*/ 446124 h 541195"/>
                <a:gd name="connsiteX530" fmla="*/ 903290 w 4012966"/>
                <a:gd name="connsiteY530" fmla="*/ 421643 h 541195"/>
                <a:gd name="connsiteX531" fmla="*/ 902212 w 4012966"/>
                <a:gd name="connsiteY531" fmla="*/ 464389 h 541195"/>
                <a:gd name="connsiteX532" fmla="*/ 902184 w 4012966"/>
                <a:gd name="connsiteY532" fmla="*/ 464389 h 541195"/>
                <a:gd name="connsiteX533" fmla="*/ 852437 w 4012966"/>
                <a:gd name="connsiteY533" fmla="*/ 464389 h 541195"/>
                <a:gd name="connsiteX534" fmla="*/ 869969 w 4012966"/>
                <a:gd name="connsiteY534" fmla="*/ 449643 h 541195"/>
                <a:gd name="connsiteX535" fmla="*/ 869498 w 4012966"/>
                <a:gd name="connsiteY535" fmla="*/ 464389 h 541195"/>
                <a:gd name="connsiteX536" fmla="*/ 846325 w 4012966"/>
                <a:gd name="connsiteY536" fmla="*/ 464389 h 541195"/>
                <a:gd name="connsiteX537" fmla="*/ 846325 w 4012966"/>
                <a:gd name="connsiteY537" fmla="*/ 439256 h 541195"/>
                <a:gd name="connsiteX538" fmla="*/ 869028 w 4012966"/>
                <a:gd name="connsiteY538" fmla="*/ 445540 h 541195"/>
                <a:gd name="connsiteX539" fmla="*/ 846601 w 4012966"/>
                <a:gd name="connsiteY539" fmla="*/ 464389 h 541195"/>
                <a:gd name="connsiteX540" fmla="*/ 838471 w 4012966"/>
                <a:gd name="connsiteY540" fmla="*/ 464389 h 541195"/>
                <a:gd name="connsiteX541" fmla="*/ 816072 w 4012966"/>
                <a:gd name="connsiteY541" fmla="*/ 445540 h 541195"/>
                <a:gd name="connsiteX542" fmla="*/ 838776 w 4012966"/>
                <a:gd name="connsiteY542" fmla="*/ 439256 h 541195"/>
                <a:gd name="connsiteX543" fmla="*/ 838776 w 4012966"/>
                <a:gd name="connsiteY543" fmla="*/ 464389 h 541195"/>
                <a:gd name="connsiteX544" fmla="*/ 815603 w 4012966"/>
                <a:gd name="connsiteY544" fmla="*/ 464389 h 541195"/>
                <a:gd name="connsiteX545" fmla="*/ 815132 w 4012966"/>
                <a:gd name="connsiteY545" fmla="*/ 449643 h 541195"/>
                <a:gd name="connsiteX546" fmla="*/ 832664 w 4012966"/>
                <a:gd name="connsiteY546" fmla="*/ 464389 h 541195"/>
                <a:gd name="connsiteX547" fmla="*/ 793480 w 4012966"/>
                <a:gd name="connsiteY547" fmla="*/ 464389 h 541195"/>
                <a:gd name="connsiteX548" fmla="*/ 811675 w 4012966"/>
                <a:gd name="connsiteY548" fmla="*/ 446759 h 541195"/>
                <a:gd name="connsiteX549" fmla="*/ 812781 w 4012966"/>
                <a:gd name="connsiteY549" fmla="*/ 447685 h 541195"/>
                <a:gd name="connsiteX550" fmla="*/ 813307 w 4012966"/>
                <a:gd name="connsiteY550" fmla="*/ 464389 h 541195"/>
                <a:gd name="connsiteX551" fmla="*/ 782916 w 4012966"/>
                <a:gd name="connsiteY551" fmla="*/ 464389 h 541195"/>
                <a:gd name="connsiteX552" fmla="*/ 781865 w 4012966"/>
                <a:gd name="connsiteY552" fmla="*/ 421643 h 541195"/>
                <a:gd name="connsiteX553" fmla="*/ 810984 w 4012966"/>
                <a:gd name="connsiteY553" fmla="*/ 446124 h 541195"/>
                <a:gd name="connsiteX554" fmla="*/ 810072 w 4012966"/>
                <a:gd name="connsiteY554" fmla="*/ 445677 h 541195"/>
                <a:gd name="connsiteX555" fmla="*/ 790742 w 4012966"/>
                <a:gd name="connsiteY555" fmla="*/ 464389 h 541195"/>
                <a:gd name="connsiteX556" fmla="*/ 782943 w 4012966"/>
                <a:gd name="connsiteY556" fmla="*/ 464389 h 541195"/>
                <a:gd name="connsiteX557" fmla="*/ 728412 w 4012966"/>
                <a:gd name="connsiteY557" fmla="*/ 464389 h 541195"/>
                <a:gd name="connsiteX558" fmla="*/ 756148 w 4012966"/>
                <a:gd name="connsiteY558" fmla="*/ 441179 h 541195"/>
                <a:gd name="connsiteX559" fmla="*/ 756507 w 4012966"/>
                <a:gd name="connsiteY559" fmla="*/ 464389 h 541195"/>
                <a:gd name="connsiteX560" fmla="*/ 692766 w 4012966"/>
                <a:gd name="connsiteY560" fmla="*/ 464389 h 541195"/>
                <a:gd name="connsiteX561" fmla="*/ 692186 w 4012966"/>
                <a:gd name="connsiteY561" fmla="*/ 433489 h 541195"/>
                <a:gd name="connsiteX562" fmla="*/ 717461 w 4012966"/>
                <a:gd name="connsiteY562" fmla="*/ 464389 h 541195"/>
                <a:gd name="connsiteX563" fmla="*/ 666800 w 4012966"/>
                <a:gd name="connsiteY563" fmla="*/ 464389 h 541195"/>
                <a:gd name="connsiteX564" fmla="*/ 689891 w 4012966"/>
                <a:gd name="connsiteY564" fmla="*/ 432870 h 541195"/>
                <a:gd name="connsiteX565" fmla="*/ 690499 w 4012966"/>
                <a:gd name="connsiteY565" fmla="*/ 464389 h 541195"/>
                <a:gd name="connsiteX566" fmla="*/ 634003 w 4012966"/>
                <a:gd name="connsiteY566" fmla="*/ 464389 h 541195"/>
                <a:gd name="connsiteX567" fmla="*/ 634003 w 4012966"/>
                <a:gd name="connsiteY567" fmla="*/ 437574 h 541195"/>
                <a:gd name="connsiteX568" fmla="*/ 657315 w 4012966"/>
                <a:gd name="connsiteY568" fmla="*/ 464389 h 541195"/>
                <a:gd name="connsiteX569" fmla="*/ 604940 w 4012966"/>
                <a:gd name="connsiteY569" fmla="*/ 464389 h 541195"/>
                <a:gd name="connsiteX570" fmla="*/ 604663 w 4012966"/>
                <a:gd name="connsiteY570" fmla="*/ 438244 h 541195"/>
                <a:gd name="connsiteX571" fmla="*/ 626841 w 4012966"/>
                <a:gd name="connsiteY571" fmla="*/ 464389 h 541195"/>
                <a:gd name="connsiteX572" fmla="*/ 578946 w 4012966"/>
                <a:gd name="connsiteY572" fmla="*/ 464389 h 541195"/>
                <a:gd name="connsiteX573" fmla="*/ 602368 w 4012966"/>
                <a:gd name="connsiteY573" fmla="*/ 436767 h 541195"/>
                <a:gd name="connsiteX574" fmla="*/ 602672 w 4012966"/>
                <a:gd name="connsiteY574" fmla="*/ 464389 h 541195"/>
                <a:gd name="connsiteX575" fmla="*/ 226781 w 4012966"/>
                <a:gd name="connsiteY575" fmla="*/ 464389 h 541195"/>
                <a:gd name="connsiteX576" fmla="*/ 227390 w 4012966"/>
                <a:gd name="connsiteY576" fmla="*/ 432870 h 541195"/>
                <a:gd name="connsiteX577" fmla="*/ 250508 w 4012966"/>
                <a:gd name="connsiteY577" fmla="*/ 464389 h 541195"/>
                <a:gd name="connsiteX578" fmla="*/ 226809 w 4012966"/>
                <a:gd name="connsiteY578" fmla="*/ 464389 h 541195"/>
                <a:gd name="connsiteX579" fmla="*/ 199820 w 4012966"/>
                <a:gd name="connsiteY579" fmla="*/ 464389 h 541195"/>
                <a:gd name="connsiteX580" fmla="*/ 225095 w 4012966"/>
                <a:gd name="connsiteY580" fmla="*/ 433489 h 541195"/>
                <a:gd name="connsiteX581" fmla="*/ 224486 w 4012966"/>
                <a:gd name="connsiteY581" fmla="*/ 464389 h 541195"/>
                <a:gd name="connsiteX582" fmla="*/ 160746 w 4012966"/>
                <a:gd name="connsiteY582" fmla="*/ 464389 h 541195"/>
                <a:gd name="connsiteX583" fmla="*/ 161105 w 4012966"/>
                <a:gd name="connsiteY583" fmla="*/ 441179 h 541195"/>
                <a:gd name="connsiteX584" fmla="*/ 188841 w 4012966"/>
                <a:gd name="connsiteY584" fmla="*/ 464389 h 541195"/>
                <a:gd name="connsiteX585" fmla="*/ 136660 w 4012966"/>
                <a:gd name="connsiteY585" fmla="*/ 464389 h 541195"/>
                <a:gd name="connsiteX586" fmla="*/ 137711 w 4012966"/>
                <a:gd name="connsiteY586" fmla="*/ 421591 h 541195"/>
                <a:gd name="connsiteX587" fmla="*/ 158920 w 4012966"/>
                <a:gd name="connsiteY587" fmla="*/ 439308 h 541195"/>
                <a:gd name="connsiteX588" fmla="*/ 158505 w 4012966"/>
                <a:gd name="connsiteY588" fmla="*/ 464372 h 541195"/>
                <a:gd name="connsiteX589" fmla="*/ 158505 w 4012966"/>
                <a:gd name="connsiteY589" fmla="*/ 464389 h 541195"/>
                <a:gd name="connsiteX590" fmla="*/ 126594 w 4012966"/>
                <a:gd name="connsiteY590" fmla="*/ 464389 h 541195"/>
                <a:gd name="connsiteX591" fmla="*/ 107292 w 4012966"/>
                <a:gd name="connsiteY591" fmla="*/ 445677 h 541195"/>
                <a:gd name="connsiteX592" fmla="*/ 106379 w 4012966"/>
                <a:gd name="connsiteY592" fmla="*/ 446124 h 541195"/>
                <a:gd name="connsiteX593" fmla="*/ 135470 w 4012966"/>
                <a:gd name="connsiteY593" fmla="*/ 421643 h 541195"/>
                <a:gd name="connsiteX594" fmla="*/ 134419 w 4012966"/>
                <a:gd name="connsiteY594" fmla="*/ 464389 h 541195"/>
                <a:gd name="connsiteX595" fmla="*/ 134391 w 4012966"/>
                <a:gd name="connsiteY595" fmla="*/ 464389 h 541195"/>
                <a:gd name="connsiteX596" fmla="*/ 84644 w 4012966"/>
                <a:gd name="connsiteY596" fmla="*/ 464389 h 541195"/>
                <a:gd name="connsiteX597" fmla="*/ 102176 w 4012966"/>
                <a:gd name="connsiteY597" fmla="*/ 449643 h 541195"/>
                <a:gd name="connsiteX598" fmla="*/ 101705 w 4012966"/>
                <a:gd name="connsiteY598" fmla="*/ 464389 h 541195"/>
                <a:gd name="connsiteX599" fmla="*/ 78504 w 4012966"/>
                <a:gd name="connsiteY599" fmla="*/ 464389 h 541195"/>
                <a:gd name="connsiteX600" fmla="*/ 78504 w 4012966"/>
                <a:gd name="connsiteY600" fmla="*/ 439256 h 541195"/>
                <a:gd name="connsiteX601" fmla="*/ 101208 w 4012966"/>
                <a:gd name="connsiteY601" fmla="*/ 445540 h 541195"/>
                <a:gd name="connsiteX602" fmla="*/ 78781 w 4012966"/>
                <a:gd name="connsiteY602" fmla="*/ 464389 h 541195"/>
                <a:gd name="connsiteX603" fmla="*/ 70678 w 4012966"/>
                <a:gd name="connsiteY603" fmla="*/ 464389 h 541195"/>
                <a:gd name="connsiteX604" fmla="*/ 48280 w 4012966"/>
                <a:gd name="connsiteY604" fmla="*/ 445540 h 541195"/>
                <a:gd name="connsiteX605" fmla="*/ 70983 w 4012966"/>
                <a:gd name="connsiteY605" fmla="*/ 439256 h 541195"/>
                <a:gd name="connsiteX606" fmla="*/ 70983 w 4012966"/>
                <a:gd name="connsiteY606" fmla="*/ 464389 h 541195"/>
                <a:gd name="connsiteX607" fmla="*/ 47810 w 4012966"/>
                <a:gd name="connsiteY607" fmla="*/ 464389 h 541195"/>
                <a:gd name="connsiteX608" fmla="*/ 47339 w 4012966"/>
                <a:gd name="connsiteY608" fmla="*/ 449643 h 541195"/>
                <a:gd name="connsiteX609" fmla="*/ 64871 w 4012966"/>
                <a:gd name="connsiteY609" fmla="*/ 464389 h 541195"/>
                <a:gd name="connsiteX610" fmla="*/ 25687 w 4012966"/>
                <a:gd name="connsiteY610" fmla="*/ 464389 h 541195"/>
                <a:gd name="connsiteX611" fmla="*/ 43882 w 4012966"/>
                <a:gd name="connsiteY611" fmla="*/ 446759 h 541195"/>
                <a:gd name="connsiteX612" fmla="*/ 44988 w 4012966"/>
                <a:gd name="connsiteY612" fmla="*/ 447685 h 541195"/>
                <a:gd name="connsiteX613" fmla="*/ 45514 w 4012966"/>
                <a:gd name="connsiteY613" fmla="*/ 464389 h 541195"/>
                <a:gd name="connsiteX614" fmla="*/ 15124 w 4012966"/>
                <a:gd name="connsiteY614" fmla="*/ 464389 h 541195"/>
                <a:gd name="connsiteX615" fmla="*/ 14045 w 4012966"/>
                <a:gd name="connsiteY615" fmla="*/ 421643 h 541195"/>
                <a:gd name="connsiteX616" fmla="*/ 43164 w 4012966"/>
                <a:gd name="connsiteY616" fmla="*/ 446124 h 541195"/>
                <a:gd name="connsiteX617" fmla="*/ 42251 w 4012966"/>
                <a:gd name="connsiteY617" fmla="*/ 445677 h 541195"/>
                <a:gd name="connsiteX618" fmla="*/ 22949 w 4012966"/>
                <a:gd name="connsiteY618" fmla="*/ 464389 h 541195"/>
                <a:gd name="connsiteX619" fmla="*/ 15151 w 4012966"/>
                <a:gd name="connsiteY619" fmla="*/ 464389 h 541195"/>
                <a:gd name="connsiteX620" fmla="*/ 871738 w 4012966"/>
                <a:gd name="connsiteY620" fmla="*/ 464406 h 541195"/>
                <a:gd name="connsiteX621" fmla="*/ 871766 w 4012966"/>
                <a:gd name="connsiteY621" fmla="*/ 464389 h 541195"/>
                <a:gd name="connsiteX622" fmla="*/ 872291 w 4012966"/>
                <a:gd name="connsiteY622" fmla="*/ 447685 h 541195"/>
                <a:gd name="connsiteX623" fmla="*/ 873397 w 4012966"/>
                <a:gd name="connsiteY623" fmla="*/ 446759 h 541195"/>
                <a:gd name="connsiteX624" fmla="*/ 891593 w 4012966"/>
                <a:gd name="connsiteY624" fmla="*/ 464406 h 541195"/>
                <a:gd name="connsiteX625" fmla="*/ 758803 w 4012966"/>
                <a:gd name="connsiteY625" fmla="*/ 464406 h 541195"/>
                <a:gd name="connsiteX626" fmla="*/ 758803 w 4012966"/>
                <a:gd name="connsiteY626" fmla="*/ 464389 h 541195"/>
                <a:gd name="connsiteX627" fmla="*/ 758415 w 4012966"/>
                <a:gd name="connsiteY627" fmla="*/ 439325 h 541195"/>
                <a:gd name="connsiteX628" fmla="*/ 779625 w 4012966"/>
                <a:gd name="connsiteY628" fmla="*/ 421609 h 541195"/>
                <a:gd name="connsiteX629" fmla="*/ 780676 w 4012966"/>
                <a:gd name="connsiteY629" fmla="*/ 464406 h 541195"/>
                <a:gd name="connsiteX630" fmla="*/ 103973 w 4012966"/>
                <a:gd name="connsiteY630" fmla="*/ 464406 h 541195"/>
                <a:gd name="connsiteX631" fmla="*/ 103973 w 4012966"/>
                <a:gd name="connsiteY631" fmla="*/ 464389 h 541195"/>
                <a:gd name="connsiteX632" fmla="*/ 104499 w 4012966"/>
                <a:gd name="connsiteY632" fmla="*/ 447685 h 541195"/>
                <a:gd name="connsiteX633" fmla="*/ 105633 w 4012966"/>
                <a:gd name="connsiteY633" fmla="*/ 446759 h 541195"/>
                <a:gd name="connsiteX634" fmla="*/ 123828 w 4012966"/>
                <a:gd name="connsiteY634" fmla="*/ 464406 h 541195"/>
                <a:gd name="connsiteX635" fmla="*/ 1236291 w 4012966"/>
                <a:gd name="connsiteY635" fmla="*/ 465780 h 541195"/>
                <a:gd name="connsiteX636" fmla="*/ 1227801 w 4012966"/>
                <a:gd name="connsiteY636" fmla="*/ 340580 h 541195"/>
                <a:gd name="connsiteX637" fmla="*/ 1227801 w 4012966"/>
                <a:gd name="connsiteY637" fmla="*/ 339532 h 541195"/>
                <a:gd name="connsiteX638" fmla="*/ 1228714 w 4012966"/>
                <a:gd name="connsiteY638" fmla="*/ 338897 h 541195"/>
                <a:gd name="connsiteX639" fmla="*/ 1227801 w 4012966"/>
                <a:gd name="connsiteY639" fmla="*/ 338005 h 541195"/>
                <a:gd name="connsiteX640" fmla="*/ 1227801 w 4012966"/>
                <a:gd name="connsiteY640" fmla="*/ 335378 h 541195"/>
                <a:gd name="connsiteX641" fmla="*/ 1226585 w 4012966"/>
                <a:gd name="connsiteY641" fmla="*/ 334777 h 541195"/>
                <a:gd name="connsiteX642" fmla="*/ 1226585 w 4012966"/>
                <a:gd name="connsiteY642" fmla="*/ 328580 h 541195"/>
                <a:gd name="connsiteX643" fmla="*/ 1222409 w 4012966"/>
                <a:gd name="connsiteY643" fmla="*/ 328580 h 541195"/>
                <a:gd name="connsiteX644" fmla="*/ 1222409 w 4012966"/>
                <a:gd name="connsiteY644" fmla="*/ 334777 h 541195"/>
                <a:gd name="connsiteX645" fmla="*/ 1221137 w 4012966"/>
                <a:gd name="connsiteY645" fmla="*/ 335378 h 541195"/>
                <a:gd name="connsiteX646" fmla="*/ 1221137 w 4012966"/>
                <a:gd name="connsiteY646" fmla="*/ 338091 h 541195"/>
                <a:gd name="connsiteX647" fmla="*/ 1219920 w 4012966"/>
                <a:gd name="connsiteY647" fmla="*/ 338691 h 541195"/>
                <a:gd name="connsiteX648" fmla="*/ 1220473 w 4012966"/>
                <a:gd name="connsiteY648" fmla="*/ 339361 h 541195"/>
                <a:gd name="connsiteX649" fmla="*/ 1220473 w 4012966"/>
                <a:gd name="connsiteY649" fmla="*/ 340374 h 541195"/>
                <a:gd name="connsiteX650" fmla="*/ 1212178 w 4012966"/>
                <a:gd name="connsiteY650" fmla="*/ 340374 h 541195"/>
                <a:gd name="connsiteX651" fmla="*/ 1212178 w 4012966"/>
                <a:gd name="connsiteY651" fmla="*/ 291396 h 541195"/>
                <a:gd name="connsiteX652" fmla="*/ 1215441 w 4012966"/>
                <a:gd name="connsiteY652" fmla="*/ 288581 h 541195"/>
                <a:gd name="connsiteX653" fmla="*/ 1212178 w 4012966"/>
                <a:gd name="connsiteY653" fmla="*/ 288581 h 541195"/>
                <a:gd name="connsiteX654" fmla="*/ 1212178 w 4012966"/>
                <a:gd name="connsiteY654" fmla="*/ 287001 h 541195"/>
                <a:gd name="connsiteX655" fmla="*/ 1211956 w 4012966"/>
                <a:gd name="connsiteY655" fmla="*/ 287001 h 541195"/>
                <a:gd name="connsiteX656" fmla="*/ 1213284 w 4012966"/>
                <a:gd name="connsiteY656" fmla="*/ 285868 h 541195"/>
                <a:gd name="connsiteX657" fmla="*/ 1213394 w 4012966"/>
                <a:gd name="connsiteY657" fmla="*/ 279705 h 541195"/>
                <a:gd name="connsiteX658" fmla="*/ 1214473 w 4012966"/>
                <a:gd name="connsiteY658" fmla="*/ 278280 h 541195"/>
                <a:gd name="connsiteX659" fmla="*/ 1212066 w 4012966"/>
                <a:gd name="connsiteY659" fmla="*/ 278280 h 541195"/>
                <a:gd name="connsiteX660" fmla="*/ 1189225 w 4012966"/>
                <a:gd name="connsiteY660" fmla="*/ 244203 h 541195"/>
                <a:gd name="connsiteX661" fmla="*/ 1188976 w 4012966"/>
                <a:gd name="connsiteY661" fmla="*/ 244203 h 541195"/>
                <a:gd name="connsiteX662" fmla="*/ 1188976 w 4012966"/>
                <a:gd name="connsiteY662" fmla="*/ 238658 h 541195"/>
                <a:gd name="connsiteX663" fmla="*/ 1191880 w 4012966"/>
                <a:gd name="connsiteY663" fmla="*/ 238658 h 541195"/>
                <a:gd name="connsiteX664" fmla="*/ 1191880 w 4012966"/>
                <a:gd name="connsiteY664" fmla="*/ 237457 h 541195"/>
                <a:gd name="connsiteX665" fmla="*/ 1188976 w 4012966"/>
                <a:gd name="connsiteY665" fmla="*/ 237457 h 541195"/>
                <a:gd name="connsiteX666" fmla="*/ 1188976 w 4012966"/>
                <a:gd name="connsiteY666" fmla="*/ 234607 h 541195"/>
                <a:gd name="connsiteX667" fmla="*/ 1186930 w 4012966"/>
                <a:gd name="connsiteY667" fmla="*/ 234607 h 541195"/>
                <a:gd name="connsiteX668" fmla="*/ 1186930 w 4012966"/>
                <a:gd name="connsiteY668" fmla="*/ 237457 h 541195"/>
                <a:gd name="connsiteX669" fmla="*/ 1183778 w 4012966"/>
                <a:gd name="connsiteY669" fmla="*/ 237457 h 541195"/>
                <a:gd name="connsiteX670" fmla="*/ 1183778 w 4012966"/>
                <a:gd name="connsiteY670" fmla="*/ 238658 h 541195"/>
                <a:gd name="connsiteX671" fmla="*/ 1186930 w 4012966"/>
                <a:gd name="connsiteY671" fmla="*/ 238658 h 541195"/>
                <a:gd name="connsiteX672" fmla="*/ 1186930 w 4012966"/>
                <a:gd name="connsiteY672" fmla="*/ 244203 h 541195"/>
                <a:gd name="connsiteX673" fmla="*/ 1186681 w 4012966"/>
                <a:gd name="connsiteY673" fmla="*/ 244203 h 541195"/>
                <a:gd name="connsiteX674" fmla="*/ 1164199 w 4012966"/>
                <a:gd name="connsiteY674" fmla="*/ 278280 h 541195"/>
                <a:gd name="connsiteX675" fmla="*/ 1160687 w 4012966"/>
                <a:gd name="connsiteY675" fmla="*/ 278280 h 541195"/>
                <a:gd name="connsiteX676" fmla="*/ 1162374 w 4012966"/>
                <a:gd name="connsiteY676" fmla="*/ 279482 h 541195"/>
                <a:gd name="connsiteX677" fmla="*/ 1162374 w 4012966"/>
                <a:gd name="connsiteY677" fmla="*/ 285937 h 541195"/>
                <a:gd name="connsiteX678" fmla="*/ 1163590 w 4012966"/>
                <a:gd name="connsiteY678" fmla="*/ 287001 h 541195"/>
                <a:gd name="connsiteX679" fmla="*/ 1163590 w 4012966"/>
                <a:gd name="connsiteY679" fmla="*/ 288563 h 541195"/>
                <a:gd name="connsiteX680" fmla="*/ 1160687 w 4012966"/>
                <a:gd name="connsiteY680" fmla="*/ 288563 h 541195"/>
                <a:gd name="connsiteX681" fmla="*/ 1163590 w 4012966"/>
                <a:gd name="connsiteY681" fmla="*/ 291344 h 541195"/>
                <a:gd name="connsiteX682" fmla="*/ 1163590 w 4012966"/>
                <a:gd name="connsiteY682" fmla="*/ 340116 h 541195"/>
                <a:gd name="connsiteX683" fmla="*/ 1132038 w 4012966"/>
                <a:gd name="connsiteY683" fmla="*/ 340116 h 541195"/>
                <a:gd name="connsiteX684" fmla="*/ 1161793 w 4012966"/>
                <a:gd name="connsiteY684" fmla="*/ 380871 h 541195"/>
                <a:gd name="connsiteX685" fmla="*/ 1120839 w 4012966"/>
                <a:gd name="connsiteY685" fmla="*/ 338468 h 541195"/>
                <a:gd name="connsiteX686" fmla="*/ 1121696 w 4012966"/>
                <a:gd name="connsiteY686" fmla="*/ 337472 h 541195"/>
                <a:gd name="connsiteX687" fmla="*/ 1120424 w 4012966"/>
                <a:gd name="connsiteY687" fmla="*/ 336460 h 541195"/>
                <a:gd name="connsiteX688" fmla="*/ 1120424 w 4012966"/>
                <a:gd name="connsiteY688" fmla="*/ 334881 h 541195"/>
                <a:gd name="connsiteX689" fmla="*/ 1119511 w 4012966"/>
                <a:gd name="connsiteY689" fmla="*/ 334211 h 541195"/>
                <a:gd name="connsiteX690" fmla="*/ 1119511 w 4012966"/>
                <a:gd name="connsiteY690" fmla="*/ 330486 h 541195"/>
                <a:gd name="connsiteX691" fmla="*/ 1121696 w 4012966"/>
                <a:gd name="connsiteY691" fmla="*/ 330486 h 541195"/>
                <a:gd name="connsiteX692" fmla="*/ 1121696 w 4012966"/>
                <a:gd name="connsiteY692" fmla="*/ 329644 h 541195"/>
                <a:gd name="connsiteX693" fmla="*/ 1119511 w 4012966"/>
                <a:gd name="connsiteY693" fmla="*/ 329644 h 541195"/>
                <a:gd name="connsiteX694" fmla="*/ 1119511 w 4012966"/>
                <a:gd name="connsiteY694" fmla="*/ 328134 h 541195"/>
                <a:gd name="connsiteX695" fmla="*/ 1118157 w 4012966"/>
                <a:gd name="connsiteY695" fmla="*/ 328134 h 541195"/>
                <a:gd name="connsiteX696" fmla="*/ 1118157 w 4012966"/>
                <a:gd name="connsiteY696" fmla="*/ 329644 h 541195"/>
                <a:gd name="connsiteX697" fmla="*/ 1115889 w 4012966"/>
                <a:gd name="connsiteY697" fmla="*/ 329644 h 541195"/>
                <a:gd name="connsiteX698" fmla="*/ 1115889 w 4012966"/>
                <a:gd name="connsiteY698" fmla="*/ 330486 h 541195"/>
                <a:gd name="connsiteX699" fmla="*/ 1118157 w 4012966"/>
                <a:gd name="connsiteY699" fmla="*/ 330486 h 541195"/>
                <a:gd name="connsiteX700" fmla="*/ 1118157 w 4012966"/>
                <a:gd name="connsiteY700" fmla="*/ 334262 h 541195"/>
                <a:gd name="connsiteX701" fmla="*/ 1117437 w 4012966"/>
                <a:gd name="connsiteY701" fmla="*/ 334777 h 541195"/>
                <a:gd name="connsiteX702" fmla="*/ 1117437 w 4012966"/>
                <a:gd name="connsiteY702" fmla="*/ 336185 h 541195"/>
                <a:gd name="connsiteX703" fmla="*/ 1115889 w 4012966"/>
                <a:gd name="connsiteY703" fmla="*/ 337593 h 541195"/>
                <a:gd name="connsiteX704" fmla="*/ 1116691 w 4012966"/>
                <a:gd name="connsiteY704" fmla="*/ 338571 h 541195"/>
                <a:gd name="connsiteX705" fmla="*/ 1044239 w 4012966"/>
                <a:gd name="connsiteY705" fmla="*/ 415326 h 541195"/>
                <a:gd name="connsiteX706" fmla="*/ 1107731 w 4012966"/>
                <a:gd name="connsiteY706" fmla="*/ 339893 h 541195"/>
                <a:gd name="connsiteX707" fmla="*/ 1017029 w 4012966"/>
                <a:gd name="connsiteY707" fmla="*/ 339670 h 541195"/>
                <a:gd name="connsiteX708" fmla="*/ 1017029 w 4012966"/>
                <a:gd name="connsiteY708" fmla="*/ 337644 h 541195"/>
                <a:gd name="connsiteX709" fmla="*/ 1015839 w 4012966"/>
                <a:gd name="connsiteY709" fmla="*/ 336683 h 541195"/>
                <a:gd name="connsiteX710" fmla="*/ 1015839 w 4012966"/>
                <a:gd name="connsiteY710" fmla="*/ 334486 h 541195"/>
                <a:gd name="connsiteX711" fmla="*/ 1014843 w 4012966"/>
                <a:gd name="connsiteY711" fmla="*/ 333696 h 541195"/>
                <a:gd name="connsiteX712" fmla="*/ 1014843 w 4012966"/>
                <a:gd name="connsiteY712" fmla="*/ 327670 h 541195"/>
                <a:gd name="connsiteX713" fmla="*/ 1010668 w 4012966"/>
                <a:gd name="connsiteY713" fmla="*/ 327670 h 541195"/>
                <a:gd name="connsiteX714" fmla="*/ 1010668 w 4012966"/>
                <a:gd name="connsiteY714" fmla="*/ 333919 h 541195"/>
                <a:gd name="connsiteX715" fmla="*/ 1009756 w 4012966"/>
                <a:gd name="connsiteY715" fmla="*/ 334537 h 541195"/>
                <a:gd name="connsiteX716" fmla="*/ 1009756 w 4012966"/>
                <a:gd name="connsiteY716" fmla="*/ 336906 h 541195"/>
                <a:gd name="connsiteX717" fmla="*/ 1008290 w 4012966"/>
                <a:gd name="connsiteY717" fmla="*/ 337644 h 541195"/>
                <a:gd name="connsiteX718" fmla="*/ 1008290 w 4012966"/>
                <a:gd name="connsiteY718" fmla="*/ 417592 h 541195"/>
                <a:gd name="connsiteX719" fmla="*/ 1197742 w 4012966"/>
                <a:gd name="connsiteY719" fmla="*/ 423343 h 541195"/>
                <a:gd name="connsiteX720" fmla="*/ 1206370 w 4012966"/>
                <a:gd name="connsiteY720" fmla="*/ 423343 h 541195"/>
                <a:gd name="connsiteX721" fmla="*/ 1210214 w 4012966"/>
                <a:gd name="connsiteY721" fmla="*/ 428133 h 541195"/>
                <a:gd name="connsiteX722" fmla="*/ 50520 w 4012966"/>
                <a:gd name="connsiteY722" fmla="*/ 541195 h 541195"/>
                <a:gd name="connsiteX723" fmla="*/ 97087 w 4012966"/>
                <a:gd name="connsiteY723" fmla="*/ 541195 h 541195"/>
                <a:gd name="connsiteX724" fmla="*/ 97087 w 4012966"/>
                <a:gd name="connsiteY724" fmla="*/ 529624 h 541195"/>
                <a:gd name="connsiteX725" fmla="*/ 84616 w 4012966"/>
                <a:gd name="connsiteY725" fmla="*/ 529624 h 541195"/>
                <a:gd name="connsiteX726" fmla="*/ 81325 w 4012966"/>
                <a:gd name="connsiteY726" fmla="*/ 477076 h 541195"/>
                <a:gd name="connsiteX727" fmla="*/ 82376 w 4012966"/>
                <a:gd name="connsiteY727" fmla="*/ 477076 h 541195"/>
                <a:gd name="connsiteX728" fmla="*/ 82376 w 4012966"/>
                <a:gd name="connsiteY728" fmla="*/ 474501 h 541195"/>
                <a:gd name="connsiteX729" fmla="*/ 80108 w 4012966"/>
                <a:gd name="connsiteY729" fmla="*/ 474501 h 541195"/>
                <a:gd name="connsiteX730" fmla="*/ 80108 w 4012966"/>
                <a:gd name="connsiteY730" fmla="*/ 470140 h 541195"/>
                <a:gd name="connsiteX731" fmla="*/ 103669 w 4012966"/>
                <a:gd name="connsiteY731" fmla="*/ 470140 h 541195"/>
                <a:gd name="connsiteX732" fmla="*/ 813473 w 4012966"/>
                <a:gd name="connsiteY732" fmla="*/ 470140 h 541195"/>
                <a:gd name="connsiteX733" fmla="*/ 814607 w 4012966"/>
                <a:gd name="connsiteY733" fmla="*/ 470140 h 541195"/>
                <a:gd name="connsiteX734" fmla="*/ 837033 w 4012966"/>
                <a:gd name="connsiteY734" fmla="*/ 470140 h 541195"/>
                <a:gd name="connsiteX735" fmla="*/ 837033 w 4012966"/>
                <a:gd name="connsiteY735" fmla="*/ 474501 h 541195"/>
                <a:gd name="connsiteX736" fmla="*/ 834766 w 4012966"/>
                <a:gd name="connsiteY736" fmla="*/ 474501 h 541195"/>
                <a:gd name="connsiteX737" fmla="*/ 834766 w 4012966"/>
                <a:gd name="connsiteY737" fmla="*/ 477076 h 541195"/>
                <a:gd name="connsiteX738" fmla="*/ 835817 w 4012966"/>
                <a:gd name="connsiteY738" fmla="*/ 477076 h 541195"/>
                <a:gd name="connsiteX739" fmla="*/ 832554 w 4012966"/>
                <a:gd name="connsiteY739" fmla="*/ 529624 h 541195"/>
                <a:gd name="connsiteX740" fmla="*/ 820082 w 4012966"/>
                <a:gd name="connsiteY740" fmla="*/ 529624 h 541195"/>
                <a:gd name="connsiteX741" fmla="*/ 820082 w 4012966"/>
                <a:gd name="connsiteY741" fmla="*/ 541195 h 541195"/>
                <a:gd name="connsiteX742" fmla="*/ 866651 w 4012966"/>
                <a:gd name="connsiteY742" fmla="*/ 541195 h 541195"/>
                <a:gd name="connsiteX743" fmla="*/ 866651 w 4012966"/>
                <a:gd name="connsiteY743" fmla="*/ 529624 h 541195"/>
                <a:gd name="connsiteX744" fmla="*/ 854455 w 4012966"/>
                <a:gd name="connsiteY744" fmla="*/ 529624 h 541195"/>
                <a:gd name="connsiteX745" fmla="*/ 849975 w 4012966"/>
                <a:gd name="connsiteY745" fmla="*/ 477076 h 541195"/>
                <a:gd name="connsiteX746" fmla="*/ 850611 w 4012966"/>
                <a:gd name="connsiteY746" fmla="*/ 477076 h 541195"/>
                <a:gd name="connsiteX747" fmla="*/ 850611 w 4012966"/>
                <a:gd name="connsiteY747" fmla="*/ 474501 h 541195"/>
                <a:gd name="connsiteX748" fmla="*/ 848150 w 4012966"/>
                <a:gd name="connsiteY748" fmla="*/ 474501 h 541195"/>
                <a:gd name="connsiteX749" fmla="*/ 848150 w 4012966"/>
                <a:gd name="connsiteY749" fmla="*/ 470140 h 541195"/>
                <a:gd name="connsiteX750" fmla="*/ 871517 w 4012966"/>
                <a:gd name="connsiteY750" fmla="*/ 470140 h 541195"/>
                <a:gd name="connsiteX751" fmla="*/ 1008263 w 4012966"/>
                <a:gd name="connsiteY751" fmla="*/ 470140 h 541195"/>
                <a:gd name="connsiteX752" fmla="*/ 905862 w 4012966"/>
                <a:gd name="connsiteY752" fmla="*/ 541195 h 541195"/>
                <a:gd name="connsiteX753" fmla="*/ 4012469 w 4012966"/>
                <a:gd name="connsiteY753" fmla="*/ 540417 h 541195"/>
                <a:gd name="connsiteX754" fmla="*/ 4012966 w 4012966"/>
                <a:gd name="connsiteY754" fmla="*/ 530578 h 541195"/>
                <a:gd name="connsiteX755" fmla="*/ 4009693 w 4012966"/>
                <a:gd name="connsiteY755" fmla="*/ 465763 h 541195"/>
                <a:gd name="connsiteX756" fmla="*/ 3987044 w 4012966"/>
                <a:gd name="connsiteY756" fmla="*/ 465763 h 541195"/>
                <a:gd name="connsiteX757" fmla="*/ 3987044 w 4012966"/>
                <a:gd name="connsiteY757" fmla="*/ 465780 h 541195"/>
                <a:gd name="connsiteX758" fmla="*/ 3968351 w 4012966"/>
                <a:gd name="connsiteY758" fmla="*/ 424939 h 541195"/>
                <a:gd name="connsiteX759" fmla="*/ 3996474 w 4012966"/>
                <a:gd name="connsiteY759" fmla="*/ 416596 h 541195"/>
                <a:gd name="connsiteX760" fmla="*/ 4000374 w 4012966"/>
                <a:gd name="connsiteY760" fmla="*/ 412510 h 541195"/>
                <a:gd name="connsiteX761" fmla="*/ 4004991 w 4012966"/>
                <a:gd name="connsiteY761" fmla="*/ 403755 h 541195"/>
                <a:gd name="connsiteX762" fmla="*/ 4006411 w 4012966"/>
                <a:gd name="connsiteY762" fmla="*/ 400766 h 541195"/>
                <a:gd name="connsiteX763" fmla="*/ 4005634 w 4012966"/>
                <a:gd name="connsiteY763" fmla="*/ 385378 h 541195"/>
                <a:gd name="connsiteX764" fmla="*/ 4002032 w 4012966"/>
                <a:gd name="connsiteY764" fmla="*/ 383601 h 541195"/>
                <a:gd name="connsiteX765" fmla="*/ 3996806 w 4012966"/>
                <a:gd name="connsiteY765" fmla="*/ 382313 h 541195"/>
                <a:gd name="connsiteX766" fmla="*/ 3958396 w 4012966"/>
                <a:gd name="connsiteY766" fmla="*/ 372802 h 541195"/>
                <a:gd name="connsiteX767" fmla="*/ 3956100 w 4012966"/>
                <a:gd name="connsiteY767" fmla="*/ 376064 h 541195"/>
                <a:gd name="connsiteX768" fmla="*/ 3546528 w 4012966"/>
                <a:gd name="connsiteY768" fmla="*/ 313816 h 541195"/>
                <a:gd name="connsiteX769" fmla="*/ 3542628 w 4012966"/>
                <a:gd name="connsiteY769" fmla="*/ 313816 h 541195"/>
                <a:gd name="connsiteX770" fmla="*/ 3542628 w 4012966"/>
                <a:gd name="connsiteY770" fmla="*/ 349678 h 541195"/>
                <a:gd name="connsiteX771" fmla="*/ 3544868 w 4012966"/>
                <a:gd name="connsiteY771" fmla="*/ 349678 h 541195"/>
                <a:gd name="connsiteX772" fmla="*/ 3544868 w 4012966"/>
                <a:gd name="connsiteY772" fmla="*/ 360528 h 541195"/>
                <a:gd name="connsiteX773" fmla="*/ 3580348 w 4012966"/>
                <a:gd name="connsiteY773" fmla="*/ 344803 h 541195"/>
                <a:gd name="connsiteX774" fmla="*/ 3588118 w 4012966"/>
                <a:gd name="connsiteY774" fmla="*/ 341352 h 541195"/>
                <a:gd name="connsiteX775" fmla="*/ 3596082 w 4012966"/>
                <a:gd name="connsiteY775" fmla="*/ 344614 h 541195"/>
                <a:gd name="connsiteX776" fmla="*/ 3603853 w 4012966"/>
                <a:gd name="connsiteY776" fmla="*/ 347807 h 541195"/>
                <a:gd name="connsiteX777" fmla="*/ 3603853 w 4012966"/>
                <a:gd name="connsiteY777" fmla="*/ 345661 h 541195"/>
                <a:gd name="connsiteX778" fmla="*/ 3641655 w 4012966"/>
                <a:gd name="connsiteY778" fmla="*/ 345661 h 541195"/>
                <a:gd name="connsiteX779" fmla="*/ 3641655 w 4012966"/>
                <a:gd name="connsiteY779" fmla="*/ 363275 h 541195"/>
                <a:gd name="connsiteX780" fmla="*/ 3642872 w 4012966"/>
                <a:gd name="connsiteY780" fmla="*/ 363772 h 541195"/>
                <a:gd name="connsiteX781" fmla="*/ 3649122 w 4012966"/>
                <a:gd name="connsiteY781" fmla="*/ 366331 h 541195"/>
                <a:gd name="connsiteX782" fmla="*/ 3649122 w 4012966"/>
                <a:gd name="connsiteY782" fmla="*/ 370982 h 541195"/>
                <a:gd name="connsiteX783" fmla="*/ 3642706 w 4012966"/>
                <a:gd name="connsiteY783" fmla="*/ 521161 h 541195"/>
                <a:gd name="connsiteX784" fmla="*/ 3635184 w 4012966"/>
                <a:gd name="connsiteY784" fmla="*/ 370982 h 541195"/>
                <a:gd name="connsiteX785" fmla="*/ 3627718 w 4012966"/>
                <a:gd name="connsiteY785" fmla="*/ 367927 h 541195"/>
                <a:gd name="connsiteX786" fmla="*/ 3627718 w 4012966"/>
                <a:gd name="connsiteY786" fmla="*/ 354296 h 541195"/>
                <a:gd name="connsiteX787" fmla="*/ 3617763 w 4012966"/>
                <a:gd name="connsiteY787" fmla="*/ 354296 h 541195"/>
                <a:gd name="connsiteX788" fmla="*/ 3617763 w 4012966"/>
                <a:gd name="connsiteY788" fmla="*/ 363858 h 541195"/>
                <a:gd name="connsiteX789" fmla="*/ 3588395 w 4012966"/>
                <a:gd name="connsiteY789" fmla="*/ 351841 h 541195"/>
                <a:gd name="connsiteX790" fmla="*/ 3538204 w 4012966"/>
                <a:gd name="connsiteY790" fmla="*/ 374090 h 541195"/>
                <a:gd name="connsiteX791" fmla="*/ 3528636 w 4012966"/>
                <a:gd name="connsiteY791" fmla="*/ 374090 h 541195"/>
                <a:gd name="connsiteX792" fmla="*/ 3528636 w 4012966"/>
                <a:gd name="connsiteY792" fmla="*/ 360339 h 541195"/>
                <a:gd name="connsiteX793" fmla="*/ 3530876 w 4012966"/>
                <a:gd name="connsiteY793" fmla="*/ 360339 h 541195"/>
                <a:gd name="connsiteX794" fmla="*/ 3530876 w 4012966"/>
                <a:gd name="connsiteY794" fmla="*/ 358331 h 541195"/>
                <a:gd name="connsiteX795" fmla="*/ 3528636 w 4012966"/>
                <a:gd name="connsiteY795" fmla="*/ 358331 h 541195"/>
                <a:gd name="connsiteX796" fmla="*/ 3528636 w 4012966"/>
                <a:gd name="connsiteY796" fmla="*/ 301558 h 541195"/>
                <a:gd name="connsiteX797" fmla="*/ 3532618 w 4012966"/>
                <a:gd name="connsiteY797" fmla="*/ 296237 h 541195"/>
                <a:gd name="connsiteX798" fmla="*/ 3528636 w 4012966"/>
                <a:gd name="connsiteY798" fmla="*/ 296237 h 541195"/>
                <a:gd name="connsiteX799" fmla="*/ 3528636 w 4012966"/>
                <a:gd name="connsiteY799" fmla="*/ 282640 h 541195"/>
                <a:gd name="connsiteX800" fmla="*/ 3526893 w 4012966"/>
                <a:gd name="connsiteY800" fmla="*/ 282640 h 541195"/>
                <a:gd name="connsiteX801" fmla="*/ 3526893 w 4012966"/>
                <a:gd name="connsiteY801" fmla="*/ 279396 h 541195"/>
                <a:gd name="connsiteX802" fmla="*/ 3525760 w 4012966"/>
                <a:gd name="connsiteY802" fmla="*/ 279396 h 541195"/>
                <a:gd name="connsiteX803" fmla="*/ 3525760 w 4012966"/>
                <a:gd name="connsiteY803" fmla="*/ 276374 h 541195"/>
                <a:gd name="connsiteX804" fmla="*/ 3524764 w 4012966"/>
                <a:gd name="connsiteY804" fmla="*/ 276374 h 541195"/>
                <a:gd name="connsiteX805" fmla="*/ 3524764 w 4012966"/>
                <a:gd name="connsiteY805" fmla="*/ 272975 h 541195"/>
                <a:gd name="connsiteX806" fmla="*/ 3523631 w 4012966"/>
                <a:gd name="connsiteY806" fmla="*/ 272975 h 541195"/>
                <a:gd name="connsiteX807" fmla="*/ 3523631 w 4012966"/>
                <a:gd name="connsiteY807" fmla="*/ 269885 h 541195"/>
                <a:gd name="connsiteX808" fmla="*/ 3522525 w 4012966"/>
                <a:gd name="connsiteY808" fmla="*/ 269885 h 541195"/>
                <a:gd name="connsiteX809" fmla="*/ 3520340 w 4012966"/>
                <a:gd name="connsiteY809" fmla="*/ 262554 h 541195"/>
                <a:gd name="connsiteX810" fmla="*/ 3518266 w 4012966"/>
                <a:gd name="connsiteY810" fmla="*/ 269885 h 541195"/>
                <a:gd name="connsiteX811" fmla="*/ 3517050 w 4012966"/>
                <a:gd name="connsiteY811" fmla="*/ 269885 h 541195"/>
                <a:gd name="connsiteX812" fmla="*/ 3517050 w 4012966"/>
                <a:gd name="connsiteY812" fmla="*/ 272975 h 541195"/>
                <a:gd name="connsiteX813" fmla="*/ 3515943 w 4012966"/>
                <a:gd name="connsiteY813" fmla="*/ 272975 h 541195"/>
                <a:gd name="connsiteX814" fmla="*/ 3515943 w 4012966"/>
                <a:gd name="connsiteY814" fmla="*/ 276374 h 541195"/>
                <a:gd name="connsiteX815" fmla="*/ 3515196 w 4012966"/>
                <a:gd name="connsiteY815" fmla="*/ 276374 h 541195"/>
                <a:gd name="connsiteX816" fmla="*/ 3515196 w 4012966"/>
                <a:gd name="connsiteY816" fmla="*/ 279396 h 541195"/>
                <a:gd name="connsiteX817" fmla="*/ 3514091 w 4012966"/>
                <a:gd name="connsiteY817" fmla="*/ 279396 h 541195"/>
                <a:gd name="connsiteX818" fmla="*/ 3514091 w 4012966"/>
                <a:gd name="connsiteY818" fmla="*/ 282640 h 541195"/>
                <a:gd name="connsiteX819" fmla="*/ 3512984 w 4012966"/>
                <a:gd name="connsiteY819" fmla="*/ 282640 h 541195"/>
                <a:gd name="connsiteX820" fmla="*/ 3512984 w 4012966"/>
                <a:gd name="connsiteY820" fmla="*/ 284889 h 541195"/>
                <a:gd name="connsiteX821" fmla="*/ 3510108 w 4012966"/>
                <a:gd name="connsiteY821" fmla="*/ 284889 h 541195"/>
                <a:gd name="connsiteX822" fmla="*/ 3510108 w 4012966"/>
                <a:gd name="connsiteY822" fmla="*/ 288752 h 541195"/>
                <a:gd name="connsiteX823" fmla="*/ 3505269 w 4012966"/>
                <a:gd name="connsiteY823" fmla="*/ 288752 h 541195"/>
                <a:gd name="connsiteX824" fmla="*/ 3505269 w 4012966"/>
                <a:gd name="connsiteY824" fmla="*/ 282658 h 541195"/>
                <a:gd name="connsiteX825" fmla="*/ 3497858 w 4012966"/>
                <a:gd name="connsiteY825" fmla="*/ 282658 h 541195"/>
                <a:gd name="connsiteX826" fmla="*/ 3497858 w 4012966"/>
                <a:gd name="connsiteY826" fmla="*/ 278640 h 541195"/>
                <a:gd name="connsiteX827" fmla="*/ 3493682 w 4012966"/>
                <a:gd name="connsiteY827" fmla="*/ 278640 h 541195"/>
                <a:gd name="connsiteX828" fmla="*/ 3493682 w 4012966"/>
                <a:gd name="connsiteY828" fmla="*/ 282658 h 541195"/>
                <a:gd name="connsiteX829" fmla="*/ 3485967 w 4012966"/>
                <a:gd name="connsiteY829" fmla="*/ 282658 h 541195"/>
                <a:gd name="connsiteX830" fmla="*/ 3485967 w 4012966"/>
                <a:gd name="connsiteY830" fmla="*/ 288752 h 541195"/>
                <a:gd name="connsiteX831" fmla="*/ 3481127 w 4012966"/>
                <a:gd name="connsiteY831" fmla="*/ 288752 h 541195"/>
                <a:gd name="connsiteX832" fmla="*/ 3481127 w 4012966"/>
                <a:gd name="connsiteY832" fmla="*/ 284889 h 541195"/>
                <a:gd name="connsiteX833" fmla="*/ 3478390 w 4012966"/>
                <a:gd name="connsiteY833" fmla="*/ 284889 h 541195"/>
                <a:gd name="connsiteX834" fmla="*/ 3478390 w 4012966"/>
                <a:gd name="connsiteY834" fmla="*/ 282640 h 541195"/>
                <a:gd name="connsiteX835" fmla="*/ 3476150 w 4012966"/>
                <a:gd name="connsiteY835" fmla="*/ 282640 h 541195"/>
                <a:gd name="connsiteX836" fmla="*/ 3476150 w 4012966"/>
                <a:gd name="connsiteY836" fmla="*/ 279396 h 541195"/>
                <a:gd name="connsiteX837" fmla="*/ 3475017 w 4012966"/>
                <a:gd name="connsiteY837" fmla="*/ 279396 h 541195"/>
                <a:gd name="connsiteX838" fmla="*/ 3475017 w 4012966"/>
                <a:gd name="connsiteY838" fmla="*/ 276374 h 541195"/>
                <a:gd name="connsiteX839" fmla="*/ 3474021 w 4012966"/>
                <a:gd name="connsiteY839" fmla="*/ 276374 h 541195"/>
                <a:gd name="connsiteX840" fmla="*/ 3474021 w 4012966"/>
                <a:gd name="connsiteY840" fmla="*/ 272975 h 541195"/>
                <a:gd name="connsiteX841" fmla="*/ 3472915 w 4012966"/>
                <a:gd name="connsiteY841" fmla="*/ 272975 h 541195"/>
                <a:gd name="connsiteX842" fmla="*/ 3472915 w 4012966"/>
                <a:gd name="connsiteY842" fmla="*/ 269885 h 541195"/>
                <a:gd name="connsiteX843" fmla="*/ 3471809 w 4012966"/>
                <a:gd name="connsiteY843" fmla="*/ 269885 h 541195"/>
                <a:gd name="connsiteX844" fmla="*/ 3469623 w 4012966"/>
                <a:gd name="connsiteY844" fmla="*/ 262554 h 541195"/>
                <a:gd name="connsiteX845" fmla="*/ 3467550 w 4012966"/>
                <a:gd name="connsiteY845" fmla="*/ 269885 h 541195"/>
                <a:gd name="connsiteX846" fmla="*/ 3466305 w 4012966"/>
                <a:gd name="connsiteY846" fmla="*/ 269885 h 541195"/>
                <a:gd name="connsiteX847" fmla="*/ 3466305 w 4012966"/>
                <a:gd name="connsiteY847" fmla="*/ 272975 h 541195"/>
                <a:gd name="connsiteX848" fmla="*/ 3465199 w 4012966"/>
                <a:gd name="connsiteY848" fmla="*/ 272975 h 541195"/>
                <a:gd name="connsiteX849" fmla="*/ 3465199 w 4012966"/>
                <a:gd name="connsiteY849" fmla="*/ 276374 h 541195"/>
                <a:gd name="connsiteX850" fmla="*/ 3464453 w 4012966"/>
                <a:gd name="connsiteY850" fmla="*/ 276374 h 541195"/>
                <a:gd name="connsiteX851" fmla="*/ 3464453 w 4012966"/>
                <a:gd name="connsiteY851" fmla="*/ 279396 h 541195"/>
                <a:gd name="connsiteX852" fmla="*/ 3463319 w 4012966"/>
                <a:gd name="connsiteY852" fmla="*/ 279396 h 541195"/>
                <a:gd name="connsiteX853" fmla="*/ 3463319 w 4012966"/>
                <a:gd name="connsiteY853" fmla="*/ 282640 h 541195"/>
                <a:gd name="connsiteX854" fmla="*/ 3461964 w 4012966"/>
                <a:gd name="connsiteY854" fmla="*/ 282640 h 541195"/>
                <a:gd name="connsiteX855" fmla="*/ 3461964 w 4012966"/>
                <a:gd name="connsiteY855" fmla="*/ 296237 h 541195"/>
                <a:gd name="connsiteX856" fmla="*/ 3457235 w 4012966"/>
                <a:gd name="connsiteY856" fmla="*/ 296237 h 541195"/>
                <a:gd name="connsiteX857" fmla="*/ 3461964 w 4012966"/>
                <a:gd name="connsiteY857" fmla="*/ 301593 h 541195"/>
                <a:gd name="connsiteX858" fmla="*/ 3461964 w 4012966"/>
                <a:gd name="connsiteY858" fmla="*/ 358347 h 541195"/>
                <a:gd name="connsiteX859" fmla="*/ 3458479 w 4012966"/>
                <a:gd name="connsiteY859" fmla="*/ 358347 h 541195"/>
                <a:gd name="connsiteX860" fmla="*/ 3458479 w 4012966"/>
                <a:gd name="connsiteY860" fmla="*/ 360356 h 541195"/>
                <a:gd name="connsiteX861" fmla="*/ 3461964 w 4012966"/>
                <a:gd name="connsiteY861" fmla="*/ 360356 h 541195"/>
                <a:gd name="connsiteX862" fmla="*/ 3461964 w 4012966"/>
                <a:gd name="connsiteY862" fmla="*/ 374107 h 541195"/>
                <a:gd name="connsiteX863" fmla="*/ 3454995 w 4012966"/>
                <a:gd name="connsiteY863" fmla="*/ 374107 h 541195"/>
                <a:gd name="connsiteX864" fmla="*/ 3351960 w 4012966"/>
                <a:gd name="connsiteY864" fmla="*/ 310159 h 541195"/>
                <a:gd name="connsiteX865" fmla="*/ 3318111 w 4012966"/>
                <a:gd name="connsiteY865" fmla="*/ 332923 h 541195"/>
                <a:gd name="connsiteX866" fmla="*/ 3318111 w 4012966"/>
                <a:gd name="connsiteY866" fmla="*/ 321593 h 541195"/>
                <a:gd name="connsiteX867" fmla="*/ 3302681 w 4012966"/>
                <a:gd name="connsiteY867" fmla="*/ 321593 h 541195"/>
                <a:gd name="connsiteX868" fmla="*/ 3302681 w 4012966"/>
                <a:gd name="connsiteY868" fmla="*/ 343309 h 541195"/>
                <a:gd name="connsiteX869" fmla="*/ 3256887 w 4012966"/>
                <a:gd name="connsiteY869" fmla="*/ 374107 h 541195"/>
                <a:gd name="connsiteX870" fmla="*/ 3252214 w 4012966"/>
                <a:gd name="connsiteY870" fmla="*/ 521590 h 541195"/>
                <a:gd name="connsiteX871" fmla="*/ 3243614 w 4012966"/>
                <a:gd name="connsiteY871" fmla="*/ 413420 h 541195"/>
                <a:gd name="connsiteX872" fmla="*/ 3239189 w 4012966"/>
                <a:gd name="connsiteY872" fmla="*/ 409849 h 541195"/>
                <a:gd name="connsiteX873" fmla="*/ 3239189 w 4012966"/>
                <a:gd name="connsiteY873" fmla="*/ 366691 h 541195"/>
                <a:gd name="connsiteX874" fmla="*/ 3235981 w 4012966"/>
                <a:gd name="connsiteY874" fmla="*/ 365712 h 541195"/>
                <a:gd name="connsiteX875" fmla="*/ 3237419 w 4012966"/>
                <a:gd name="connsiteY875" fmla="*/ 364579 h 541195"/>
                <a:gd name="connsiteX876" fmla="*/ 3237419 w 4012966"/>
                <a:gd name="connsiteY876" fmla="*/ 362382 h 541195"/>
                <a:gd name="connsiteX877" fmla="*/ 3232995 w 4012966"/>
                <a:gd name="connsiteY877" fmla="*/ 361472 h 541195"/>
                <a:gd name="connsiteX878" fmla="*/ 3232995 w 4012966"/>
                <a:gd name="connsiteY878" fmla="*/ 356802 h 541195"/>
                <a:gd name="connsiteX879" fmla="*/ 3234460 w 4012966"/>
                <a:gd name="connsiteY879" fmla="*/ 355807 h 541195"/>
                <a:gd name="connsiteX880" fmla="*/ 3230617 w 4012966"/>
                <a:gd name="connsiteY880" fmla="*/ 349661 h 541195"/>
                <a:gd name="connsiteX881" fmla="*/ 3229290 w 4012966"/>
                <a:gd name="connsiteY881" fmla="*/ 349661 h 541195"/>
                <a:gd name="connsiteX882" fmla="*/ 3227216 w 4012966"/>
                <a:gd name="connsiteY882" fmla="*/ 346811 h 541195"/>
                <a:gd name="connsiteX883" fmla="*/ 3227962 w 4012966"/>
                <a:gd name="connsiteY883" fmla="*/ 346073 h 541195"/>
                <a:gd name="connsiteX884" fmla="*/ 3226192 w 4012966"/>
                <a:gd name="connsiteY884" fmla="*/ 345610 h 541195"/>
                <a:gd name="connsiteX885" fmla="*/ 3227381 w 4012966"/>
                <a:gd name="connsiteY885" fmla="*/ 344322 h 541195"/>
                <a:gd name="connsiteX886" fmla="*/ 3225169 w 4012966"/>
                <a:gd name="connsiteY886" fmla="*/ 341936 h 541195"/>
                <a:gd name="connsiteX887" fmla="*/ 3223261 w 4012966"/>
                <a:gd name="connsiteY887" fmla="*/ 344322 h 541195"/>
                <a:gd name="connsiteX888" fmla="*/ 3224422 w 4012966"/>
                <a:gd name="connsiteY888" fmla="*/ 345421 h 541195"/>
                <a:gd name="connsiteX889" fmla="*/ 3222072 w 4012966"/>
                <a:gd name="connsiteY889" fmla="*/ 345970 h 541195"/>
                <a:gd name="connsiteX890" fmla="*/ 3223399 w 4012966"/>
                <a:gd name="connsiteY890" fmla="*/ 346983 h 541195"/>
                <a:gd name="connsiteX891" fmla="*/ 3217066 w 4012966"/>
                <a:gd name="connsiteY891" fmla="*/ 355790 h 541195"/>
                <a:gd name="connsiteX892" fmla="*/ 3218837 w 4012966"/>
                <a:gd name="connsiteY892" fmla="*/ 357163 h 541195"/>
                <a:gd name="connsiteX893" fmla="*/ 3218587 w 4012966"/>
                <a:gd name="connsiteY893" fmla="*/ 360356 h 541195"/>
                <a:gd name="connsiteX894" fmla="*/ 3175283 w 4012966"/>
                <a:gd name="connsiteY894" fmla="*/ 347052 h 541195"/>
                <a:gd name="connsiteX895" fmla="*/ 3175283 w 4012966"/>
                <a:gd name="connsiteY895" fmla="*/ 336906 h 541195"/>
                <a:gd name="connsiteX896" fmla="*/ 3173209 w 4012966"/>
                <a:gd name="connsiteY896" fmla="*/ 336906 h 541195"/>
                <a:gd name="connsiteX897" fmla="*/ 3171743 w 4012966"/>
                <a:gd name="connsiteY897" fmla="*/ 333421 h 541195"/>
                <a:gd name="connsiteX898" fmla="*/ 3172323 w 4012966"/>
                <a:gd name="connsiteY898" fmla="*/ 333060 h 541195"/>
                <a:gd name="connsiteX899" fmla="*/ 3171439 w 4012966"/>
                <a:gd name="connsiteY899" fmla="*/ 332151 h 541195"/>
                <a:gd name="connsiteX900" fmla="*/ 3172186 w 4012966"/>
                <a:gd name="connsiteY900" fmla="*/ 330966 h 541195"/>
                <a:gd name="connsiteX901" fmla="*/ 3170277 w 4012966"/>
                <a:gd name="connsiteY901" fmla="*/ 329507 h 541195"/>
                <a:gd name="connsiteX902" fmla="*/ 3168507 w 4012966"/>
                <a:gd name="connsiteY902" fmla="*/ 330880 h 541195"/>
                <a:gd name="connsiteX903" fmla="*/ 3169393 w 4012966"/>
                <a:gd name="connsiteY903" fmla="*/ 332065 h 541195"/>
                <a:gd name="connsiteX904" fmla="*/ 3168507 w 4012966"/>
                <a:gd name="connsiteY904" fmla="*/ 332888 h 541195"/>
                <a:gd name="connsiteX905" fmla="*/ 3169254 w 4012966"/>
                <a:gd name="connsiteY905" fmla="*/ 333798 h 541195"/>
                <a:gd name="connsiteX906" fmla="*/ 3167319 w 4012966"/>
                <a:gd name="connsiteY906" fmla="*/ 337283 h 541195"/>
                <a:gd name="connsiteX907" fmla="*/ 3165245 w 4012966"/>
                <a:gd name="connsiteY907" fmla="*/ 337369 h 541195"/>
                <a:gd name="connsiteX908" fmla="*/ 3165245 w 4012966"/>
                <a:gd name="connsiteY908" fmla="*/ 343962 h 541195"/>
                <a:gd name="connsiteX909" fmla="*/ 3151805 w 4012966"/>
                <a:gd name="connsiteY909" fmla="*/ 339842 h 541195"/>
                <a:gd name="connsiteX910" fmla="*/ 3151805 w 4012966"/>
                <a:gd name="connsiteY910" fmla="*/ 331138 h 541195"/>
                <a:gd name="connsiteX911" fmla="*/ 3149150 w 4012966"/>
                <a:gd name="connsiteY911" fmla="*/ 331138 h 541195"/>
                <a:gd name="connsiteX912" fmla="*/ 3146192 w 4012966"/>
                <a:gd name="connsiteY912" fmla="*/ 326091 h 541195"/>
                <a:gd name="connsiteX913" fmla="*/ 3147823 w 4012966"/>
                <a:gd name="connsiteY913" fmla="*/ 326091 h 541195"/>
                <a:gd name="connsiteX914" fmla="*/ 3148985 w 4012966"/>
                <a:gd name="connsiteY914" fmla="*/ 323343 h 541195"/>
                <a:gd name="connsiteX915" fmla="*/ 3140135 w 4012966"/>
                <a:gd name="connsiteY915" fmla="*/ 320133 h 541195"/>
                <a:gd name="connsiteX916" fmla="*/ 3139112 w 4012966"/>
                <a:gd name="connsiteY916" fmla="*/ 279533 h 541195"/>
                <a:gd name="connsiteX917" fmla="*/ 3140744 w 4012966"/>
                <a:gd name="connsiteY917" fmla="*/ 278245 h 541195"/>
                <a:gd name="connsiteX918" fmla="*/ 3140744 w 4012966"/>
                <a:gd name="connsiteY918" fmla="*/ 276494 h 541195"/>
                <a:gd name="connsiteX919" fmla="*/ 3139112 w 4012966"/>
                <a:gd name="connsiteY919" fmla="*/ 275670 h 541195"/>
                <a:gd name="connsiteX920" fmla="*/ 3138531 w 4012966"/>
                <a:gd name="connsiteY920" fmla="*/ 263945 h 541195"/>
                <a:gd name="connsiteX921" fmla="*/ 3140881 w 4012966"/>
                <a:gd name="connsiteY921" fmla="*/ 262658 h 541195"/>
                <a:gd name="connsiteX922" fmla="*/ 3140881 w 4012966"/>
                <a:gd name="connsiteY922" fmla="*/ 261009 h 541195"/>
                <a:gd name="connsiteX923" fmla="*/ 3138531 w 4012966"/>
                <a:gd name="connsiteY923" fmla="*/ 260271 h 541195"/>
                <a:gd name="connsiteX924" fmla="*/ 3138531 w 4012966"/>
                <a:gd name="connsiteY924" fmla="*/ 255688 h 541195"/>
                <a:gd name="connsiteX925" fmla="*/ 3139416 w 4012966"/>
                <a:gd name="connsiteY925" fmla="*/ 254864 h 541195"/>
                <a:gd name="connsiteX926" fmla="*/ 3139555 w 4012966"/>
                <a:gd name="connsiteY926" fmla="*/ 253490 h 541195"/>
                <a:gd name="connsiteX927" fmla="*/ 3135434 w 4012966"/>
                <a:gd name="connsiteY927" fmla="*/ 250040 h 541195"/>
                <a:gd name="connsiteX928" fmla="*/ 3135434 w 4012966"/>
                <a:gd name="connsiteY928" fmla="*/ 246813 h 541195"/>
                <a:gd name="connsiteX929" fmla="*/ 3136595 w 4012966"/>
                <a:gd name="connsiteY929" fmla="*/ 245250 h 541195"/>
                <a:gd name="connsiteX930" fmla="*/ 3130401 w 4012966"/>
                <a:gd name="connsiteY930" fmla="*/ 237731 h 541195"/>
                <a:gd name="connsiteX931" fmla="*/ 3130982 w 4012966"/>
                <a:gd name="connsiteY931" fmla="*/ 235808 h 541195"/>
                <a:gd name="connsiteX932" fmla="*/ 3128908 w 4012966"/>
                <a:gd name="connsiteY932" fmla="*/ 233971 h 541195"/>
                <a:gd name="connsiteX933" fmla="*/ 3127442 w 4012966"/>
                <a:gd name="connsiteY933" fmla="*/ 235619 h 541195"/>
                <a:gd name="connsiteX934" fmla="*/ 3128328 w 4012966"/>
                <a:gd name="connsiteY934" fmla="*/ 237628 h 541195"/>
                <a:gd name="connsiteX935" fmla="*/ 3126557 w 4012966"/>
                <a:gd name="connsiteY935" fmla="*/ 239087 h 541195"/>
                <a:gd name="connsiteX936" fmla="*/ 3107587 w 4012966"/>
                <a:gd name="connsiteY936" fmla="*/ 159775 h 541195"/>
                <a:gd name="connsiteX937" fmla="*/ 3109716 w 4012966"/>
                <a:gd name="connsiteY937" fmla="*/ 157697 h 541195"/>
                <a:gd name="connsiteX938" fmla="*/ 3106674 w 4012966"/>
                <a:gd name="connsiteY938" fmla="*/ 155380 h 541195"/>
                <a:gd name="connsiteX939" fmla="*/ 3106674 w 4012966"/>
                <a:gd name="connsiteY939" fmla="*/ 147380 h 541195"/>
                <a:gd name="connsiteX940" fmla="*/ 3112648 w 4012966"/>
                <a:gd name="connsiteY940" fmla="*/ 147380 h 541195"/>
                <a:gd name="connsiteX941" fmla="*/ 3112648 w 4012966"/>
                <a:gd name="connsiteY941" fmla="*/ 147723 h 541195"/>
                <a:gd name="connsiteX942" fmla="*/ 3113754 w 4012966"/>
                <a:gd name="connsiteY942" fmla="*/ 148410 h 541195"/>
                <a:gd name="connsiteX943" fmla="*/ 3114860 w 4012966"/>
                <a:gd name="connsiteY943" fmla="*/ 147723 h 541195"/>
                <a:gd name="connsiteX944" fmla="*/ 3114860 w 4012966"/>
                <a:gd name="connsiteY944" fmla="*/ 147380 h 541195"/>
                <a:gd name="connsiteX945" fmla="*/ 3116354 w 4012966"/>
                <a:gd name="connsiteY945" fmla="*/ 146401 h 541195"/>
                <a:gd name="connsiteX946" fmla="*/ 3114860 w 4012966"/>
                <a:gd name="connsiteY946" fmla="*/ 145440 h 541195"/>
                <a:gd name="connsiteX947" fmla="*/ 3113754 w 4012966"/>
                <a:gd name="connsiteY947" fmla="*/ 144788 h 541195"/>
                <a:gd name="connsiteX948" fmla="*/ 3112648 w 4012966"/>
                <a:gd name="connsiteY948" fmla="*/ 145440 h 541195"/>
                <a:gd name="connsiteX949" fmla="*/ 3106674 w 4012966"/>
                <a:gd name="connsiteY949" fmla="*/ 145440 h 541195"/>
                <a:gd name="connsiteX950" fmla="*/ 3106674 w 4012966"/>
                <a:gd name="connsiteY950" fmla="*/ 141869 h 541195"/>
                <a:gd name="connsiteX951" fmla="*/ 3107809 w 4012966"/>
                <a:gd name="connsiteY951" fmla="*/ 141166 h 541195"/>
                <a:gd name="connsiteX952" fmla="*/ 3106674 w 4012966"/>
                <a:gd name="connsiteY952" fmla="*/ 140462 h 541195"/>
                <a:gd name="connsiteX953" fmla="*/ 3106674 w 4012966"/>
                <a:gd name="connsiteY953" fmla="*/ 140273 h 541195"/>
                <a:gd name="connsiteX954" fmla="*/ 3105043 w 4012966"/>
                <a:gd name="connsiteY954" fmla="*/ 139260 h 541195"/>
                <a:gd name="connsiteX955" fmla="*/ 3103412 w 4012966"/>
                <a:gd name="connsiteY955" fmla="*/ 140273 h 541195"/>
                <a:gd name="connsiteX956" fmla="*/ 3103412 w 4012966"/>
                <a:gd name="connsiteY956" fmla="*/ 140462 h 541195"/>
                <a:gd name="connsiteX957" fmla="*/ 3103274 w 4012966"/>
                <a:gd name="connsiteY957" fmla="*/ 140462 h 541195"/>
                <a:gd name="connsiteX958" fmla="*/ 3102140 w 4012966"/>
                <a:gd name="connsiteY958" fmla="*/ 141166 h 541195"/>
                <a:gd name="connsiteX959" fmla="*/ 3103274 w 4012966"/>
                <a:gd name="connsiteY959" fmla="*/ 141869 h 541195"/>
                <a:gd name="connsiteX960" fmla="*/ 3103412 w 4012966"/>
                <a:gd name="connsiteY960" fmla="*/ 141869 h 541195"/>
                <a:gd name="connsiteX961" fmla="*/ 3103412 w 4012966"/>
                <a:gd name="connsiteY961" fmla="*/ 145440 h 541195"/>
                <a:gd name="connsiteX962" fmla="*/ 3097549 w 4012966"/>
                <a:gd name="connsiteY962" fmla="*/ 145440 h 541195"/>
                <a:gd name="connsiteX963" fmla="*/ 3096277 w 4012966"/>
                <a:gd name="connsiteY963" fmla="*/ 144788 h 541195"/>
                <a:gd name="connsiteX964" fmla="*/ 3095005 w 4012966"/>
                <a:gd name="connsiteY964" fmla="*/ 145457 h 541195"/>
                <a:gd name="connsiteX965" fmla="*/ 3093706 w 4012966"/>
                <a:gd name="connsiteY965" fmla="*/ 146419 h 541195"/>
                <a:gd name="connsiteX966" fmla="*/ 3094977 w 4012966"/>
                <a:gd name="connsiteY966" fmla="*/ 147380 h 541195"/>
                <a:gd name="connsiteX967" fmla="*/ 3094977 w 4012966"/>
                <a:gd name="connsiteY967" fmla="*/ 147414 h 541195"/>
                <a:gd name="connsiteX968" fmla="*/ 3096277 w 4012966"/>
                <a:gd name="connsiteY968" fmla="*/ 148221 h 541195"/>
                <a:gd name="connsiteX969" fmla="*/ 3097577 w 4012966"/>
                <a:gd name="connsiteY969" fmla="*/ 147414 h 541195"/>
                <a:gd name="connsiteX970" fmla="*/ 3103412 w 4012966"/>
                <a:gd name="connsiteY970" fmla="*/ 147397 h 541195"/>
                <a:gd name="connsiteX971" fmla="*/ 3103412 w 4012966"/>
                <a:gd name="connsiteY971" fmla="*/ 155380 h 541195"/>
                <a:gd name="connsiteX972" fmla="*/ 3100259 w 4012966"/>
                <a:gd name="connsiteY972" fmla="*/ 157732 h 541195"/>
                <a:gd name="connsiteX973" fmla="*/ 3102140 w 4012966"/>
                <a:gd name="connsiteY973" fmla="*/ 159723 h 541195"/>
                <a:gd name="connsiteX974" fmla="*/ 3083142 w 4012966"/>
                <a:gd name="connsiteY974" fmla="*/ 239139 h 541195"/>
                <a:gd name="connsiteX975" fmla="*/ 3081372 w 4012966"/>
                <a:gd name="connsiteY975" fmla="*/ 237679 h 541195"/>
                <a:gd name="connsiteX976" fmla="*/ 3082257 w 4012966"/>
                <a:gd name="connsiteY976" fmla="*/ 235671 h 541195"/>
                <a:gd name="connsiteX977" fmla="*/ 3080791 w 4012966"/>
                <a:gd name="connsiteY977" fmla="*/ 234023 h 541195"/>
                <a:gd name="connsiteX978" fmla="*/ 3078717 w 4012966"/>
                <a:gd name="connsiteY978" fmla="*/ 235860 h 541195"/>
                <a:gd name="connsiteX979" fmla="*/ 3079298 w 4012966"/>
                <a:gd name="connsiteY979" fmla="*/ 237783 h 541195"/>
                <a:gd name="connsiteX980" fmla="*/ 3073104 w 4012966"/>
                <a:gd name="connsiteY980" fmla="*/ 245302 h 541195"/>
                <a:gd name="connsiteX981" fmla="*/ 3074293 w 4012966"/>
                <a:gd name="connsiteY981" fmla="*/ 246864 h 541195"/>
                <a:gd name="connsiteX982" fmla="*/ 3074293 w 4012966"/>
                <a:gd name="connsiteY982" fmla="*/ 250091 h 541195"/>
                <a:gd name="connsiteX983" fmla="*/ 3070145 w 4012966"/>
                <a:gd name="connsiteY983" fmla="*/ 253542 h 541195"/>
                <a:gd name="connsiteX984" fmla="*/ 3070310 w 4012966"/>
                <a:gd name="connsiteY984" fmla="*/ 254915 h 541195"/>
                <a:gd name="connsiteX985" fmla="*/ 3071196 w 4012966"/>
                <a:gd name="connsiteY985" fmla="*/ 255739 h 541195"/>
                <a:gd name="connsiteX986" fmla="*/ 3071196 w 4012966"/>
                <a:gd name="connsiteY986" fmla="*/ 260323 h 541195"/>
                <a:gd name="connsiteX987" fmla="*/ 3068845 w 4012966"/>
                <a:gd name="connsiteY987" fmla="*/ 261061 h 541195"/>
                <a:gd name="connsiteX988" fmla="*/ 3068845 w 4012966"/>
                <a:gd name="connsiteY988" fmla="*/ 262709 h 541195"/>
                <a:gd name="connsiteX989" fmla="*/ 3071196 w 4012966"/>
                <a:gd name="connsiteY989" fmla="*/ 263997 h 541195"/>
                <a:gd name="connsiteX990" fmla="*/ 3070615 w 4012966"/>
                <a:gd name="connsiteY990" fmla="*/ 275722 h 541195"/>
                <a:gd name="connsiteX991" fmla="*/ 3068984 w 4012966"/>
                <a:gd name="connsiteY991" fmla="*/ 276546 h 541195"/>
                <a:gd name="connsiteX992" fmla="*/ 3068984 w 4012966"/>
                <a:gd name="connsiteY992" fmla="*/ 278297 h 541195"/>
                <a:gd name="connsiteX993" fmla="*/ 3070615 w 4012966"/>
                <a:gd name="connsiteY993" fmla="*/ 279584 h 541195"/>
                <a:gd name="connsiteX994" fmla="*/ 3069564 w 4012966"/>
                <a:gd name="connsiteY994" fmla="*/ 320185 h 541195"/>
                <a:gd name="connsiteX995" fmla="*/ 3060715 w 4012966"/>
                <a:gd name="connsiteY995" fmla="*/ 323395 h 541195"/>
                <a:gd name="connsiteX996" fmla="*/ 3061876 w 4012966"/>
                <a:gd name="connsiteY996" fmla="*/ 326142 h 541195"/>
                <a:gd name="connsiteX997" fmla="*/ 3063508 w 4012966"/>
                <a:gd name="connsiteY997" fmla="*/ 326142 h 541195"/>
                <a:gd name="connsiteX998" fmla="*/ 3060550 w 4012966"/>
                <a:gd name="connsiteY998" fmla="*/ 331189 h 541195"/>
                <a:gd name="connsiteX999" fmla="*/ 3057895 w 4012966"/>
                <a:gd name="connsiteY999" fmla="*/ 331189 h 541195"/>
                <a:gd name="connsiteX1000" fmla="*/ 3057895 w 4012966"/>
                <a:gd name="connsiteY1000" fmla="*/ 339893 h 541195"/>
                <a:gd name="connsiteX1001" fmla="*/ 3044455 w 4012966"/>
                <a:gd name="connsiteY1001" fmla="*/ 344013 h 541195"/>
                <a:gd name="connsiteX1002" fmla="*/ 3044455 w 4012966"/>
                <a:gd name="connsiteY1002" fmla="*/ 337421 h 541195"/>
                <a:gd name="connsiteX1003" fmla="*/ 3042381 w 4012966"/>
                <a:gd name="connsiteY1003" fmla="*/ 337335 h 541195"/>
                <a:gd name="connsiteX1004" fmla="*/ 3040473 w 4012966"/>
                <a:gd name="connsiteY1004" fmla="*/ 333850 h 541195"/>
                <a:gd name="connsiteX1005" fmla="*/ 3041220 w 4012966"/>
                <a:gd name="connsiteY1005" fmla="*/ 332940 h 541195"/>
                <a:gd name="connsiteX1006" fmla="*/ 3040334 w 4012966"/>
                <a:gd name="connsiteY1006" fmla="*/ 332116 h 541195"/>
                <a:gd name="connsiteX1007" fmla="*/ 3041220 w 4012966"/>
                <a:gd name="connsiteY1007" fmla="*/ 330932 h 541195"/>
                <a:gd name="connsiteX1008" fmla="*/ 3039450 w 4012966"/>
                <a:gd name="connsiteY1008" fmla="*/ 329558 h 541195"/>
                <a:gd name="connsiteX1009" fmla="*/ 3037542 w 4012966"/>
                <a:gd name="connsiteY1009" fmla="*/ 331017 h 541195"/>
                <a:gd name="connsiteX1010" fmla="*/ 3038288 w 4012966"/>
                <a:gd name="connsiteY1010" fmla="*/ 332202 h 541195"/>
                <a:gd name="connsiteX1011" fmla="*/ 3037404 w 4012966"/>
                <a:gd name="connsiteY1011" fmla="*/ 333112 h 541195"/>
                <a:gd name="connsiteX1012" fmla="*/ 3037984 w 4012966"/>
                <a:gd name="connsiteY1012" fmla="*/ 333472 h 541195"/>
                <a:gd name="connsiteX1013" fmla="*/ 3036518 w 4012966"/>
                <a:gd name="connsiteY1013" fmla="*/ 336957 h 541195"/>
                <a:gd name="connsiteX1014" fmla="*/ 3034444 w 4012966"/>
                <a:gd name="connsiteY1014" fmla="*/ 336957 h 541195"/>
                <a:gd name="connsiteX1015" fmla="*/ 3034444 w 4012966"/>
                <a:gd name="connsiteY1015" fmla="*/ 347103 h 541195"/>
                <a:gd name="connsiteX1016" fmla="*/ 2991140 w 4012966"/>
                <a:gd name="connsiteY1016" fmla="*/ 360407 h 541195"/>
                <a:gd name="connsiteX1017" fmla="*/ 2990890 w 4012966"/>
                <a:gd name="connsiteY1017" fmla="*/ 357215 h 541195"/>
                <a:gd name="connsiteX1018" fmla="*/ 2992661 w 4012966"/>
                <a:gd name="connsiteY1018" fmla="*/ 355841 h 541195"/>
                <a:gd name="connsiteX1019" fmla="*/ 2986300 w 4012966"/>
                <a:gd name="connsiteY1019" fmla="*/ 347034 h 541195"/>
                <a:gd name="connsiteX1020" fmla="*/ 2987628 w 4012966"/>
                <a:gd name="connsiteY1020" fmla="*/ 346022 h 541195"/>
                <a:gd name="connsiteX1021" fmla="*/ 2985277 w 4012966"/>
                <a:gd name="connsiteY1021" fmla="*/ 345472 h 541195"/>
                <a:gd name="connsiteX1022" fmla="*/ 2986466 w 4012966"/>
                <a:gd name="connsiteY1022" fmla="*/ 344373 h 541195"/>
                <a:gd name="connsiteX1023" fmla="*/ 2984558 w 4012966"/>
                <a:gd name="connsiteY1023" fmla="*/ 341987 h 541195"/>
                <a:gd name="connsiteX1024" fmla="*/ 2982346 w 4012966"/>
                <a:gd name="connsiteY1024" fmla="*/ 344373 h 541195"/>
                <a:gd name="connsiteX1025" fmla="*/ 2983534 w 4012966"/>
                <a:gd name="connsiteY1025" fmla="*/ 345661 h 541195"/>
                <a:gd name="connsiteX1026" fmla="*/ 2981765 w 4012966"/>
                <a:gd name="connsiteY1026" fmla="*/ 346125 h 541195"/>
                <a:gd name="connsiteX1027" fmla="*/ 2982484 w 4012966"/>
                <a:gd name="connsiteY1027" fmla="*/ 346863 h 541195"/>
                <a:gd name="connsiteX1028" fmla="*/ 2980410 w 4012966"/>
                <a:gd name="connsiteY1028" fmla="*/ 349712 h 541195"/>
                <a:gd name="connsiteX1029" fmla="*/ 2979083 w 4012966"/>
                <a:gd name="connsiteY1029" fmla="*/ 349712 h 541195"/>
                <a:gd name="connsiteX1030" fmla="*/ 2975239 w 4012966"/>
                <a:gd name="connsiteY1030" fmla="*/ 355858 h 541195"/>
                <a:gd name="connsiteX1031" fmla="*/ 2976732 w 4012966"/>
                <a:gd name="connsiteY1031" fmla="*/ 356854 h 541195"/>
                <a:gd name="connsiteX1032" fmla="*/ 2976732 w 4012966"/>
                <a:gd name="connsiteY1032" fmla="*/ 361523 h 541195"/>
                <a:gd name="connsiteX1033" fmla="*/ 2972308 w 4012966"/>
                <a:gd name="connsiteY1033" fmla="*/ 362433 h 541195"/>
                <a:gd name="connsiteX1034" fmla="*/ 2972308 w 4012966"/>
                <a:gd name="connsiteY1034" fmla="*/ 364631 h 541195"/>
                <a:gd name="connsiteX1035" fmla="*/ 2973746 w 4012966"/>
                <a:gd name="connsiteY1035" fmla="*/ 365764 h 541195"/>
                <a:gd name="connsiteX1036" fmla="*/ 2970538 w 4012966"/>
                <a:gd name="connsiteY1036" fmla="*/ 366742 h 541195"/>
                <a:gd name="connsiteX1037" fmla="*/ 2970538 w 4012966"/>
                <a:gd name="connsiteY1037" fmla="*/ 409901 h 541195"/>
                <a:gd name="connsiteX1038" fmla="*/ 2966113 w 4012966"/>
                <a:gd name="connsiteY1038" fmla="*/ 413471 h 541195"/>
                <a:gd name="connsiteX1039" fmla="*/ 2957375 w 4012966"/>
                <a:gd name="connsiteY1039" fmla="*/ 521642 h 541195"/>
                <a:gd name="connsiteX1040" fmla="*/ 2952176 w 4012966"/>
                <a:gd name="connsiteY1040" fmla="*/ 171019 h 541195"/>
                <a:gd name="connsiteX1041" fmla="*/ 2946645 w 4012966"/>
                <a:gd name="connsiteY1041" fmla="*/ 171019 h 541195"/>
                <a:gd name="connsiteX1042" fmla="*/ 2946645 w 4012966"/>
                <a:gd name="connsiteY1042" fmla="*/ 160135 h 541195"/>
                <a:gd name="connsiteX1043" fmla="*/ 2952176 w 4012966"/>
                <a:gd name="connsiteY1043" fmla="*/ 160135 h 541195"/>
                <a:gd name="connsiteX1044" fmla="*/ 2952176 w 4012966"/>
                <a:gd name="connsiteY1044" fmla="*/ 149818 h 541195"/>
                <a:gd name="connsiteX1045" fmla="*/ 2868138 w 4012966"/>
                <a:gd name="connsiteY1045" fmla="*/ 149818 h 541195"/>
                <a:gd name="connsiteX1046" fmla="*/ 2868138 w 4012966"/>
                <a:gd name="connsiteY1046" fmla="*/ 132633 h 541195"/>
                <a:gd name="connsiteX1047" fmla="*/ 2767508 w 4012966"/>
                <a:gd name="connsiteY1047" fmla="*/ 132633 h 541195"/>
                <a:gd name="connsiteX1048" fmla="*/ 2767508 w 4012966"/>
                <a:gd name="connsiteY1048" fmla="*/ 149818 h 541195"/>
                <a:gd name="connsiteX1049" fmla="*/ 2683469 w 4012966"/>
                <a:gd name="connsiteY1049" fmla="*/ 149818 h 541195"/>
                <a:gd name="connsiteX1050" fmla="*/ 2683469 w 4012966"/>
                <a:gd name="connsiteY1050" fmla="*/ 160135 h 541195"/>
                <a:gd name="connsiteX1051" fmla="*/ 2689940 w 4012966"/>
                <a:gd name="connsiteY1051" fmla="*/ 160135 h 541195"/>
                <a:gd name="connsiteX1052" fmla="*/ 2689940 w 4012966"/>
                <a:gd name="connsiteY1052" fmla="*/ 171019 h 541195"/>
                <a:gd name="connsiteX1053" fmla="*/ 2683469 w 4012966"/>
                <a:gd name="connsiteY1053" fmla="*/ 171019 h 541195"/>
                <a:gd name="connsiteX1054" fmla="*/ 2678851 w 4012966"/>
                <a:gd name="connsiteY1054" fmla="*/ 354399 h 541195"/>
                <a:gd name="connsiteX1055" fmla="*/ 2582728 w 4012966"/>
                <a:gd name="connsiteY1055" fmla="*/ 354399 h 541195"/>
                <a:gd name="connsiteX1056" fmla="*/ 2579133 w 4012966"/>
                <a:gd name="connsiteY1056" fmla="*/ 99398 h 541195"/>
                <a:gd name="connsiteX1057" fmla="*/ 2536658 w 4012966"/>
                <a:gd name="connsiteY1057" fmla="*/ 99398 h 541195"/>
                <a:gd name="connsiteX1058" fmla="*/ 2536658 w 4012966"/>
                <a:gd name="connsiteY1058" fmla="*/ 86213 h 541195"/>
                <a:gd name="connsiteX1059" fmla="*/ 2529275 w 4012966"/>
                <a:gd name="connsiteY1059" fmla="*/ 86213 h 541195"/>
                <a:gd name="connsiteX1060" fmla="*/ 2529275 w 4012966"/>
                <a:gd name="connsiteY1060" fmla="*/ 99398 h 541195"/>
                <a:gd name="connsiteX1061" fmla="*/ 2491390 w 4012966"/>
                <a:gd name="connsiteY1061" fmla="*/ 99398 h 541195"/>
                <a:gd name="connsiteX1062" fmla="*/ 2491390 w 4012966"/>
                <a:gd name="connsiteY1062" fmla="*/ 90797 h 541195"/>
                <a:gd name="connsiteX1063" fmla="*/ 2411057 w 4012966"/>
                <a:gd name="connsiteY1063" fmla="*/ 90797 h 541195"/>
                <a:gd name="connsiteX1064" fmla="*/ 2411057 w 4012966"/>
                <a:gd name="connsiteY1064" fmla="*/ 99398 h 541195"/>
                <a:gd name="connsiteX1065" fmla="*/ 2324254 w 4012966"/>
                <a:gd name="connsiteY1065" fmla="*/ 99398 h 541195"/>
                <a:gd name="connsiteX1066" fmla="*/ 2320603 w 4012966"/>
                <a:gd name="connsiteY1066" fmla="*/ 335258 h 541195"/>
                <a:gd name="connsiteX1067" fmla="*/ 2379588 w 4012966"/>
                <a:gd name="connsiteY1067" fmla="*/ 327017 h 541195"/>
                <a:gd name="connsiteX1068" fmla="*/ 2460307 w 4012966"/>
                <a:gd name="connsiteY1068" fmla="*/ 342880 h 541195"/>
                <a:gd name="connsiteX1069" fmla="*/ 2508369 w 4012966"/>
                <a:gd name="connsiteY1069" fmla="*/ 378124 h 541195"/>
                <a:gd name="connsiteX1070" fmla="*/ 2534723 w 4012966"/>
                <a:gd name="connsiteY1070" fmla="*/ 378124 h 541195"/>
                <a:gd name="connsiteX1071" fmla="*/ 2534723 w 4012966"/>
                <a:gd name="connsiteY1071" fmla="*/ 395669 h 541195"/>
                <a:gd name="connsiteX1072" fmla="*/ 2583171 w 4012966"/>
                <a:gd name="connsiteY1072" fmla="*/ 395669 h 541195"/>
                <a:gd name="connsiteX1073" fmla="*/ 2583171 w 4012966"/>
                <a:gd name="connsiteY1073" fmla="*/ 395154 h 541195"/>
                <a:gd name="connsiteX1074" fmla="*/ 2583254 w 4012966"/>
                <a:gd name="connsiteY1074" fmla="*/ 395154 h 541195"/>
                <a:gd name="connsiteX1075" fmla="*/ 2583171 w 4012966"/>
                <a:gd name="connsiteY1075" fmla="*/ 389351 h 541195"/>
                <a:gd name="connsiteX1076" fmla="*/ 2677938 w 4012966"/>
                <a:gd name="connsiteY1076" fmla="*/ 389351 h 541195"/>
                <a:gd name="connsiteX1077" fmla="*/ 2677773 w 4012966"/>
                <a:gd name="connsiteY1077" fmla="*/ 395686 h 541195"/>
                <a:gd name="connsiteX1078" fmla="*/ 2871566 w 4012966"/>
                <a:gd name="connsiteY1078" fmla="*/ 395686 h 541195"/>
                <a:gd name="connsiteX1079" fmla="*/ 2865981 w 4012966"/>
                <a:gd name="connsiteY1079" fmla="*/ 520852 h 541195"/>
                <a:gd name="connsiteX1080" fmla="*/ 2857657 w 4012966"/>
                <a:gd name="connsiteY1080" fmla="*/ 404321 h 541195"/>
                <a:gd name="connsiteX1081" fmla="*/ 2416615 w 4012966"/>
                <a:gd name="connsiteY1081" fmla="*/ 404321 h 541195"/>
                <a:gd name="connsiteX1082" fmla="*/ 2409509 w 4012966"/>
                <a:gd name="connsiteY1082" fmla="*/ 522037 h 541195"/>
                <a:gd name="connsiteX1083" fmla="*/ 2403342 w 4012966"/>
                <a:gd name="connsiteY1083" fmla="*/ 396613 h 541195"/>
                <a:gd name="connsiteX1084" fmla="*/ 2520813 w 4012966"/>
                <a:gd name="connsiteY1084" fmla="*/ 396613 h 541195"/>
                <a:gd name="connsiteX1085" fmla="*/ 2520813 w 4012966"/>
                <a:gd name="connsiteY1085" fmla="*/ 386776 h 541195"/>
                <a:gd name="connsiteX1086" fmla="*/ 2499299 w 4012966"/>
                <a:gd name="connsiteY1086" fmla="*/ 386776 h 541195"/>
                <a:gd name="connsiteX1087" fmla="*/ 2379560 w 4012966"/>
                <a:gd name="connsiteY1087" fmla="*/ 335670 h 541195"/>
                <a:gd name="connsiteX1088" fmla="*/ 2259821 w 4012966"/>
                <a:gd name="connsiteY1088" fmla="*/ 386776 h 541195"/>
                <a:gd name="connsiteX1089" fmla="*/ 2240520 w 4012966"/>
                <a:gd name="connsiteY1089" fmla="*/ 386776 h 541195"/>
                <a:gd name="connsiteX1090" fmla="*/ 2231338 w 4012966"/>
                <a:gd name="connsiteY1090" fmla="*/ 523479 h 541195"/>
                <a:gd name="connsiteX1091" fmla="*/ 2223734 w 4012966"/>
                <a:gd name="connsiteY1091" fmla="*/ 415068 h 541195"/>
                <a:gd name="connsiteX1092" fmla="*/ 2215189 w 4012966"/>
                <a:gd name="connsiteY1092" fmla="*/ 415480 h 541195"/>
                <a:gd name="connsiteX1093" fmla="*/ 2215189 w 4012966"/>
                <a:gd name="connsiteY1093" fmla="*/ 411737 h 541195"/>
                <a:gd name="connsiteX1094" fmla="*/ 2090002 w 4012966"/>
                <a:gd name="connsiteY1094" fmla="*/ 411737 h 541195"/>
                <a:gd name="connsiteX1095" fmla="*/ 2090002 w 4012966"/>
                <a:gd name="connsiteY1095" fmla="*/ 393609 h 541195"/>
                <a:gd name="connsiteX1096" fmla="*/ 2025903 w 4012966"/>
                <a:gd name="connsiteY1096" fmla="*/ 393609 h 541195"/>
                <a:gd name="connsiteX1097" fmla="*/ 2025903 w 4012966"/>
                <a:gd name="connsiteY1097" fmla="*/ 230727 h 541195"/>
                <a:gd name="connsiteX1098" fmla="*/ 2023884 w 4012966"/>
                <a:gd name="connsiteY1098" fmla="*/ 230727 h 541195"/>
                <a:gd name="connsiteX1099" fmla="*/ 2023884 w 4012966"/>
                <a:gd name="connsiteY1099" fmla="*/ 225731 h 541195"/>
                <a:gd name="connsiteX1100" fmla="*/ 2024299 w 4012966"/>
                <a:gd name="connsiteY1100" fmla="*/ 225010 h 541195"/>
                <a:gd name="connsiteX1101" fmla="*/ 2024299 w 4012966"/>
                <a:gd name="connsiteY1101" fmla="*/ 223911 h 541195"/>
                <a:gd name="connsiteX1102" fmla="*/ 2023469 w 4012966"/>
                <a:gd name="connsiteY1102" fmla="*/ 223499 h 541195"/>
                <a:gd name="connsiteX1103" fmla="*/ 2023469 w 4012966"/>
                <a:gd name="connsiteY1103" fmla="*/ 221456 h 541195"/>
                <a:gd name="connsiteX1104" fmla="*/ 2022611 w 4012966"/>
                <a:gd name="connsiteY1104" fmla="*/ 221199 h 541195"/>
                <a:gd name="connsiteX1105" fmla="*/ 2022611 w 4012966"/>
                <a:gd name="connsiteY1105" fmla="*/ 209800 h 541195"/>
                <a:gd name="connsiteX1106" fmla="*/ 2024299 w 4012966"/>
                <a:gd name="connsiteY1106" fmla="*/ 208289 h 541195"/>
                <a:gd name="connsiteX1107" fmla="*/ 2024299 w 4012966"/>
                <a:gd name="connsiteY1107" fmla="*/ 204495 h 541195"/>
                <a:gd name="connsiteX1108" fmla="*/ 2022611 w 4012966"/>
                <a:gd name="connsiteY1108" fmla="*/ 201525 h 541195"/>
                <a:gd name="connsiteX1109" fmla="*/ 2021616 w 4012966"/>
                <a:gd name="connsiteY1109" fmla="*/ 201525 h 541195"/>
                <a:gd name="connsiteX1110" fmla="*/ 2021616 w 4012966"/>
                <a:gd name="connsiteY1110" fmla="*/ 196942 h 541195"/>
                <a:gd name="connsiteX1111" fmla="*/ 2015062 w 4012966"/>
                <a:gd name="connsiteY1111" fmla="*/ 194178 h 541195"/>
                <a:gd name="connsiteX1112" fmla="*/ 2012131 w 4012966"/>
                <a:gd name="connsiteY1112" fmla="*/ 194178 h 541195"/>
                <a:gd name="connsiteX1113" fmla="*/ 2012131 w 4012966"/>
                <a:gd name="connsiteY1113" fmla="*/ 193388 h 541195"/>
                <a:gd name="connsiteX1114" fmla="*/ 2010444 w 4012966"/>
                <a:gd name="connsiteY1114" fmla="*/ 193028 h 541195"/>
                <a:gd name="connsiteX1115" fmla="*/ 2010444 w 4012966"/>
                <a:gd name="connsiteY1115" fmla="*/ 190058 h 541195"/>
                <a:gd name="connsiteX1116" fmla="*/ 2008758 w 4012966"/>
                <a:gd name="connsiteY1116" fmla="*/ 189131 h 541195"/>
                <a:gd name="connsiteX1117" fmla="*/ 2008758 w 4012966"/>
                <a:gd name="connsiteY1117" fmla="*/ 186882 h 541195"/>
                <a:gd name="connsiteX1118" fmla="*/ 2007486 w 4012966"/>
                <a:gd name="connsiteY1118" fmla="*/ 186882 h 541195"/>
                <a:gd name="connsiteX1119" fmla="*/ 2007486 w 4012966"/>
                <a:gd name="connsiteY1119" fmla="*/ 188444 h 541195"/>
                <a:gd name="connsiteX1120" fmla="*/ 2003614 w 4012966"/>
                <a:gd name="connsiteY1120" fmla="*/ 186315 h 541195"/>
                <a:gd name="connsiteX1121" fmla="*/ 2003614 w 4012966"/>
                <a:gd name="connsiteY1121" fmla="*/ 159757 h 541195"/>
                <a:gd name="connsiteX1122" fmla="*/ 2000102 w 4012966"/>
                <a:gd name="connsiteY1122" fmla="*/ 156736 h 541195"/>
                <a:gd name="connsiteX1123" fmla="*/ 2000102 w 4012966"/>
                <a:gd name="connsiteY1123" fmla="*/ 153200 h 541195"/>
                <a:gd name="connsiteX1124" fmla="*/ 1998747 w 4012966"/>
                <a:gd name="connsiteY1124" fmla="*/ 151792 h 541195"/>
                <a:gd name="connsiteX1125" fmla="*/ 1999660 w 4012966"/>
                <a:gd name="connsiteY1125" fmla="*/ 151002 h 541195"/>
                <a:gd name="connsiteX1126" fmla="*/ 1998249 w 4012966"/>
                <a:gd name="connsiteY1126" fmla="*/ 149131 h 541195"/>
                <a:gd name="connsiteX1127" fmla="*/ 1996811 w 4012966"/>
                <a:gd name="connsiteY1127" fmla="*/ 150436 h 541195"/>
                <a:gd name="connsiteX1128" fmla="*/ 1994709 w 4012966"/>
                <a:gd name="connsiteY1128" fmla="*/ 149131 h 541195"/>
                <a:gd name="connsiteX1129" fmla="*/ 1994709 w 4012966"/>
                <a:gd name="connsiteY1129" fmla="*/ 146573 h 541195"/>
                <a:gd name="connsiteX1130" fmla="*/ 1992857 w 4012966"/>
                <a:gd name="connsiteY1130" fmla="*/ 145423 h 541195"/>
                <a:gd name="connsiteX1131" fmla="*/ 1992857 w 4012966"/>
                <a:gd name="connsiteY1131" fmla="*/ 142607 h 541195"/>
                <a:gd name="connsiteX1132" fmla="*/ 1989152 w 4012966"/>
                <a:gd name="connsiteY1132" fmla="*/ 140462 h 541195"/>
                <a:gd name="connsiteX1133" fmla="*/ 1984118 w 4012966"/>
                <a:gd name="connsiteY1133" fmla="*/ 140462 h 541195"/>
                <a:gd name="connsiteX1134" fmla="*/ 1983455 w 4012966"/>
                <a:gd name="connsiteY1134" fmla="*/ 140050 h 541195"/>
                <a:gd name="connsiteX1135" fmla="*/ 1983455 w 4012966"/>
                <a:gd name="connsiteY1135" fmla="*/ 126247 h 541195"/>
                <a:gd name="connsiteX1136" fmla="*/ 1978339 w 4012966"/>
                <a:gd name="connsiteY1136" fmla="*/ 123792 h 541195"/>
                <a:gd name="connsiteX1137" fmla="*/ 1978339 w 4012966"/>
                <a:gd name="connsiteY1137" fmla="*/ 122917 h 541195"/>
                <a:gd name="connsiteX1138" fmla="*/ 1975380 w 4012966"/>
                <a:gd name="connsiteY1138" fmla="*/ 121938 h 541195"/>
                <a:gd name="connsiteX1139" fmla="*/ 1975380 w 4012966"/>
                <a:gd name="connsiteY1139" fmla="*/ 106419 h 541195"/>
                <a:gd name="connsiteX1140" fmla="*/ 1974550 w 4012966"/>
                <a:gd name="connsiteY1140" fmla="*/ 106419 h 541195"/>
                <a:gd name="connsiteX1141" fmla="*/ 1974550 w 4012966"/>
                <a:gd name="connsiteY1141" fmla="*/ 108428 h 541195"/>
                <a:gd name="connsiteX1142" fmla="*/ 1969711 w 4012966"/>
                <a:gd name="connsiteY1142" fmla="*/ 108204 h 541195"/>
                <a:gd name="connsiteX1143" fmla="*/ 1965895 w 4012966"/>
                <a:gd name="connsiteY1143" fmla="*/ 107982 h 541195"/>
                <a:gd name="connsiteX1144" fmla="*/ 1964208 w 4012966"/>
                <a:gd name="connsiteY1144" fmla="*/ 108582 h 541195"/>
                <a:gd name="connsiteX1145" fmla="*/ 1965314 w 4012966"/>
                <a:gd name="connsiteY1145" fmla="*/ 110728 h 541195"/>
                <a:gd name="connsiteX1146" fmla="*/ 1968163 w 4012966"/>
                <a:gd name="connsiteY1146" fmla="*/ 110882 h 541195"/>
                <a:gd name="connsiteX1147" fmla="*/ 1971426 w 4012966"/>
                <a:gd name="connsiteY1147" fmla="*/ 111535 h 541195"/>
                <a:gd name="connsiteX1148" fmla="*/ 1973527 w 4012966"/>
                <a:gd name="connsiteY1148" fmla="*/ 111827 h 541195"/>
                <a:gd name="connsiteX1149" fmla="*/ 1974523 w 4012966"/>
                <a:gd name="connsiteY1149" fmla="*/ 112290 h 541195"/>
                <a:gd name="connsiteX1150" fmla="*/ 1974523 w 4012966"/>
                <a:gd name="connsiteY1150" fmla="*/ 113080 h 541195"/>
                <a:gd name="connsiteX1151" fmla="*/ 1971370 w 4012966"/>
                <a:gd name="connsiteY1151" fmla="*/ 112599 h 541195"/>
                <a:gd name="connsiteX1152" fmla="*/ 1969296 w 4012966"/>
                <a:gd name="connsiteY1152" fmla="*/ 113475 h 541195"/>
                <a:gd name="connsiteX1153" fmla="*/ 1967250 w 4012966"/>
                <a:gd name="connsiteY1153" fmla="*/ 113887 h 541195"/>
                <a:gd name="connsiteX1154" fmla="*/ 1967637 w 4012966"/>
                <a:gd name="connsiteY1154" fmla="*/ 114677 h 541195"/>
                <a:gd name="connsiteX1155" fmla="*/ 1971619 w 4012966"/>
                <a:gd name="connsiteY1155" fmla="*/ 115054 h 541195"/>
                <a:gd name="connsiteX1156" fmla="*/ 1973748 w 4012966"/>
                <a:gd name="connsiteY1156" fmla="*/ 115295 h 541195"/>
                <a:gd name="connsiteX1157" fmla="*/ 1974523 w 4012966"/>
                <a:gd name="connsiteY1157" fmla="*/ 115157 h 541195"/>
                <a:gd name="connsiteX1158" fmla="*/ 1974523 w 4012966"/>
                <a:gd name="connsiteY1158" fmla="*/ 116513 h 541195"/>
                <a:gd name="connsiteX1159" fmla="*/ 1973195 w 4012966"/>
                <a:gd name="connsiteY1159" fmla="*/ 116136 h 541195"/>
                <a:gd name="connsiteX1160" fmla="*/ 1970928 w 4012966"/>
                <a:gd name="connsiteY1160" fmla="*/ 115724 h 541195"/>
                <a:gd name="connsiteX1161" fmla="*/ 1968245 w 4012966"/>
                <a:gd name="connsiteY1161" fmla="*/ 115466 h 541195"/>
                <a:gd name="connsiteX1162" fmla="*/ 1967858 w 4012966"/>
                <a:gd name="connsiteY1162" fmla="*/ 116393 h 541195"/>
                <a:gd name="connsiteX1163" fmla="*/ 1971121 w 4012966"/>
                <a:gd name="connsiteY1163" fmla="*/ 118471 h 541195"/>
                <a:gd name="connsiteX1164" fmla="*/ 1973720 w 4012966"/>
                <a:gd name="connsiteY1164" fmla="*/ 118882 h 541195"/>
                <a:gd name="connsiteX1165" fmla="*/ 1974495 w 4012966"/>
                <a:gd name="connsiteY1165" fmla="*/ 119329 h 541195"/>
                <a:gd name="connsiteX1166" fmla="*/ 1974495 w 4012966"/>
                <a:gd name="connsiteY1166" fmla="*/ 121956 h 541195"/>
                <a:gd name="connsiteX1167" fmla="*/ 1971702 w 4012966"/>
                <a:gd name="connsiteY1167" fmla="*/ 122882 h 541195"/>
                <a:gd name="connsiteX1168" fmla="*/ 1971702 w 4012966"/>
                <a:gd name="connsiteY1168" fmla="*/ 123775 h 541195"/>
                <a:gd name="connsiteX1169" fmla="*/ 1966586 w 4012966"/>
                <a:gd name="connsiteY1169" fmla="*/ 126213 h 541195"/>
                <a:gd name="connsiteX1170" fmla="*/ 1966586 w 4012966"/>
                <a:gd name="connsiteY1170" fmla="*/ 140016 h 541195"/>
                <a:gd name="connsiteX1171" fmla="*/ 1965923 w 4012966"/>
                <a:gd name="connsiteY1171" fmla="*/ 140427 h 541195"/>
                <a:gd name="connsiteX1172" fmla="*/ 1960890 w 4012966"/>
                <a:gd name="connsiteY1172" fmla="*/ 140427 h 541195"/>
                <a:gd name="connsiteX1173" fmla="*/ 1957212 w 4012966"/>
                <a:gd name="connsiteY1173" fmla="*/ 142556 h 541195"/>
                <a:gd name="connsiteX1174" fmla="*/ 1957212 w 4012966"/>
                <a:gd name="connsiteY1174" fmla="*/ 145371 h 541195"/>
                <a:gd name="connsiteX1175" fmla="*/ 1955359 w 4012966"/>
                <a:gd name="connsiteY1175" fmla="*/ 146522 h 541195"/>
                <a:gd name="connsiteX1176" fmla="*/ 1955359 w 4012966"/>
                <a:gd name="connsiteY1176" fmla="*/ 149062 h 541195"/>
                <a:gd name="connsiteX1177" fmla="*/ 1953257 w 4012966"/>
                <a:gd name="connsiteY1177" fmla="*/ 150367 h 541195"/>
                <a:gd name="connsiteX1178" fmla="*/ 1951820 w 4012966"/>
                <a:gd name="connsiteY1178" fmla="*/ 149062 h 541195"/>
                <a:gd name="connsiteX1179" fmla="*/ 1950409 w 4012966"/>
                <a:gd name="connsiteY1179" fmla="*/ 150934 h 541195"/>
                <a:gd name="connsiteX1180" fmla="*/ 1951322 w 4012966"/>
                <a:gd name="connsiteY1180" fmla="*/ 151706 h 541195"/>
                <a:gd name="connsiteX1181" fmla="*/ 1949966 w 4012966"/>
                <a:gd name="connsiteY1181" fmla="*/ 153114 h 541195"/>
                <a:gd name="connsiteX1182" fmla="*/ 1949966 w 4012966"/>
                <a:gd name="connsiteY1182" fmla="*/ 156651 h 541195"/>
                <a:gd name="connsiteX1183" fmla="*/ 1946455 w 4012966"/>
                <a:gd name="connsiteY1183" fmla="*/ 159672 h 541195"/>
                <a:gd name="connsiteX1184" fmla="*/ 1946455 w 4012966"/>
                <a:gd name="connsiteY1184" fmla="*/ 186230 h 541195"/>
                <a:gd name="connsiteX1185" fmla="*/ 1942583 w 4012966"/>
                <a:gd name="connsiteY1185" fmla="*/ 188358 h 541195"/>
                <a:gd name="connsiteX1186" fmla="*/ 1942583 w 4012966"/>
                <a:gd name="connsiteY1186" fmla="*/ 186813 h 541195"/>
                <a:gd name="connsiteX1187" fmla="*/ 1941339 w 4012966"/>
                <a:gd name="connsiteY1187" fmla="*/ 186813 h 541195"/>
                <a:gd name="connsiteX1188" fmla="*/ 1941339 w 4012966"/>
                <a:gd name="connsiteY1188" fmla="*/ 189062 h 541195"/>
                <a:gd name="connsiteX1189" fmla="*/ 1939652 w 4012966"/>
                <a:gd name="connsiteY1189" fmla="*/ 189989 h 541195"/>
                <a:gd name="connsiteX1190" fmla="*/ 1939652 w 4012966"/>
                <a:gd name="connsiteY1190" fmla="*/ 192959 h 541195"/>
                <a:gd name="connsiteX1191" fmla="*/ 1937965 w 4012966"/>
                <a:gd name="connsiteY1191" fmla="*/ 193336 h 541195"/>
                <a:gd name="connsiteX1192" fmla="*/ 1937965 w 4012966"/>
                <a:gd name="connsiteY1192" fmla="*/ 194109 h 541195"/>
                <a:gd name="connsiteX1193" fmla="*/ 1935034 w 4012966"/>
                <a:gd name="connsiteY1193" fmla="*/ 194109 h 541195"/>
                <a:gd name="connsiteX1194" fmla="*/ 1928480 w 4012966"/>
                <a:gd name="connsiteY1194" fmla="*/ 196873 h 541195"/>
                <a:gd name="connsiteX1195" fmla="*/ 1928480 w 4012966"/>
                <a:gd name="connsiteY1195" fmla="*/ 201456 h 541195"/>
                <a:gd name="connsiteX1196" fmla="*/ 1927484 w 4012966"/>
                <a:gd name="connsiteY1196" fmla="*/ 201456 h 541195"/>
                <a:gd name="connsiteX1197" fmla="*/ 1925797 w 4012966"/>
                <a:gd name="connsiteY1197" fmla="*/ 204426 h 541195"/>
                <a:gd name="connsiteX1198" fmla="*/ 1925797 w 4012966"/>
                <a:gd name="connsiteY1198" fmla="*/ 208238 h 541195"/>
                <a:gd name="connsiteX1199" fmla="*/ 1927484 w 4012966"/>
                <a:gd name="connsiteY1199" fmla="*/ 209749 h 541195"/>
                <a:gd name="connsiteX1200" fmla="*/ 1927484 w 4012966"/>
                <a:gd name="connsiteY1200" fmla="*/ 221148 h 541195"/>
                <a:gd name="connsiteX1201" fmla="*/ 1926655 w 4012966"/>
                <a:gd name="connsiteY1201" fmla="*/ 221405 h 541195"/>
                <a:gd name="connsiteX1202" fmla="*/ 1926655 w 4012966"/>
                <a:gd name="connsiteY1202" fmla="*/ 223430 h 541195"/>
                <a:gd name="connsiteX1203" fmla="*/ 1925825 w 4012966"/>
                <a:gd name="connsiteY1203" fmla="*/ 223843 h 541195"/>
                <a:gd name="connsiteX1204" fmla="*/ 1925825 w 4012966"/>
                <a:gd name="connsiteY1204" fmla="*/ 224941 h 541195"/>
                <a:gd name="connsiteX1205" fmla="*/ 1926240 w 4012966"/>
                <a:gd name="connsiteY1205" fmla="*/ 225662 h 541195"/>
                <a:gd name="connsiteX1206" fmla="*/ 1926240 w 4012966"/>
                <a:gd name="connsiteY1206" fmla="*/ 230658 h 541195"/>
                <a:gd name="connsiteX1207" fmla="*/ 1924221 w 4012966"/>
                <a:gd name="connsiteY1207" fmla="*/ 230658 h 541195"/>
                <a:gd name="connsiteX1208" fmla="*/ 1924221 w 4012966"/>
                <a:gd name="connsiteY1208" fmla="*/ 393541 h 541195"/>
                <a:gd name="connsiteX1209" fmla="*/ 1860121 w 4012966"/>
                <a:gd name="connsiteY1209" fmla="*/ 393541 h 541195"/>
                <a:gd name="connsiteX1210" fmla="*/ 1860121 w 4012966"/>
                <a:gd name="connsiteY1210" fmla="*/ 411669 h 541195"/>
                <a:gd name="connsiteX1211" fmla="*/ 1734934 w 4012966"/>
                <a:gd name="connsiteY1211" fmla="*/ 411669 h 541195"/>
                <a:gd name="connsiteX1212" fmla="*/ 1734934 w 4012966"/>
                <a:gd name="connsiteY1212" fmla="*/ 415411 h 541195"/>
                <a:gd name="connsiteX1213" fmla="*/ 1726141 w 4012966"/>
                <a:gd name="connsiteY1213" fmla="*/ 415531 h 541195"/>
                <a:gd name="connsiteX1214" fmla="*/ 1721966 w 4012966"/>
                <a:gd name="connsiteY1214" fmla="*/ 520011 h 541195"/>
                <a:gd name="connsiteX1215" fmla="*/ 1711347 w 4012966"/>
                <a:gd name="connsiteY1215" fmla="*/ 279859 h 541195"/>
                <a:gd name="connsiteX1216" fmla="*/ 1716241 w 4012966"/>
                <a:gd name="connsiteY1216" fmla="*/ 276357 h 541195"/>
                <a:gd name="connsiteX1217" fmla="*/ 1713780 w 4012966"/>
                <a:gd name="connsiteY1217" fmla="*/ 275550 h 541195"/>
                <a:gd name="connsiteX1218" fmla="*/ 1713449 w 4012966"/>
                <a:gd name="connsiteY1218" fmla="*/ 268872 h 541195"/>
                <a:gd name="connsiteX1219" fmla="*/ 1715246 w 4012966"/>
                <a:gd name="connsiteY1219" fmla="*/ 267550 h 541195"/>
                <a:gd name="connsiteX1220" fmla="*/ 1711319 w 4012966"/>
                <a:gd name="connsiteY1220" fmla="*/ 264718 h 541195"/>
                <a:gd name="connsiteX1221" fmla="*/ 1706424 w 4012966"/>
                <a:gd name="connsiteY1221" fmla="*/ 264718 h 541195"/>
                <a:gd name="connsiteX1222" fmla="*/ 1706424 w 4012966"/>
                <a:gd name="connsiteY1222" fmla="*/ 269576 h 541195"/>
                <a:gd name="connsiteX1223" fmla="*/ 1699263 w 4012966"/>
                <a:gd name="connsiteY1223" fmla="*/ 269576 h 541195"/>
                <a:gd name="connsiteX1224" fmla="*/ 1699263 w 4012966"/>
                <a:gd name="connsiteY1224" fmla="*/ 264718 h 541195"/>
                <a:gd name="connsiteX1225" fmla="*/ 1691104 w 4012966"/>
                <a:gd name="connsiteY1225" fmla="*/ 264718 h 541195"/>
                <a:gd name="connsiteX1226" fmla="*/ 1691104 w 4012966"/>
                <a:gd name="connsiteY1226" fmla="*/ 269576 h 541195"/>
                <a:gd name="connsiteX1227" fmla="*/ 1683445 w 4012966"/>
                <a:gd name="connsiteY1227" fmla="*/ 269576 h 541195"/>
                <a:gd name="connsiteX1228" fmla="*/ 1683445 w 4012966"/>
                <a:gd name="connsiteY1228" fmla="*/ 264718 h 541195"/>
                <a:gd name="connsiteX1229" fmla="*/ 1675287 w 4012966"/>
                <a:gd name="connsiteY1229" fmla="*/ 264718 h 541195"/>
                <a:gd name="connsiteX1230" fmla="*/ 1675287 w 4012966"/>
                <a:gd name="connsiteY1230" fmla="*/ 269576 h 541195"/>
                <a:gd name="connsiteX1231" fmla="*/ 1668594 w 4012966"/>
                <a:gd name="connsiteY1231" fmla="*/ 269576 h 541195"/>
                <a:gd name="connsiteX1232" fmla="*/ 1668594 w 4012966"/>
                <a:gd name="connsiteY1232" fmla="*/ 264718 h 541195"/>
                <a:gd name="connsiteX1233" fmla="*/ 1659774 w 4012966"/>
                <a:gd name="connsiteY1233" fmla="*/ 264718 h 541195"/>
                <a:gd name="connsiteX1234" fmla="*/ 1659774 w 4012966"/>
                <a:gd name="connsiteY1234" fmla="*/ 269576 h 541195"/>
                <a:gd name="connsiteX1235" fmla="*/ 1653413 w 4012966"/>
                <a:gd name="connsiteY1235" fmla="*/ 269576 h 541195"/>
                <a:gd name="connsiteX1236" fmla="*/ 1653413 w 4012966"/>
                <a:gd name="connsiteY1236" fmla="*/ 264718 h 541195"/>
                <a:gd name="connsiteX1237" fmla="*/ 1645090 w 4012966"/>
                <a:gd name="connsiteY1237" fmla="*/ 264718 h 541195"/>
                <a:gd name="connsiteX1238" fmla="*/ 1645090 w 4012966"/>
                <a:gd name="connsiteY1238" fmla="*/ 269576 h 541195"/>
                <a:gd name="connsiteX1239" fmla="*/ 1639393 w 4012966"/>
                <a:gd name="connsiteY1239" fmla="*/ 269576 h 541195"/>
                <a:gd name="connsiteX1240" fmla="*/ 1639393 w 4012966"/>
                <a:gd name="connsiteY1240" fmla="*/ 264718 h 541195"/>
                <a:gd name="connsiteX1241" fmla="*/ 1630904 w 4012966"/>
                <a:gd name="connsiteY1241" fmla="*/ 264718 h 541195"/>
                <a:gd name="connsiteX1242" fmla="*/ 1630904 w 4012966"/>
                <a:gd name="connsiteY1242" fmla="*/ 269576 h 541195"/>
                <a:gd name="connsiteX1243" fmla="*/ 1624544 w 4012966"/>
                <a:gd name="connsiteY1243" fmla="*/ 269576 h 541195"/>
                <a:gd name="connsiteX1244" fmla="*/ 1624544 w 4012966"/>
                <a:gd name="connsiteY1244" fmla="*/ 269473 h 541195"/>
                <a:gd name="connsiteX1245" fmla="*/ 1623714 w 4012966"/>
                <a:gd name="connsiteY1245" fmla="*/ 269473 h 541195"/>
                <a:gd name="connsiteX1246" fmla="*/ 1623714 w 4012966"/>
                <a:gd name="connsiteY1246" fmla="*/ 279189 h 541195"/>
                <a:gd name="connsiteX1247" fmla="*/ 1618515 w 4012966"/>
                <a:gd name="connsiteY1247" fmla="*/ 413609 h 541195"/>
                <a:gd name="connsiteX1248" fmla="*/ 1616385 w 4012966"/>
                <a:gd name="connsiteY1248" fmla="*/ 266160 h 541195"/>
                <a:gd name="connsiteX1249" fmla="*/ 1620782 w 4012966"/>
                <a:gd name="connsiteY1249" fmla="*/ 261508 h 541195"/>
                <a:gd name="connsiteX1250" fmla="*/ 1617602 w 4012966"/>
                <a:gd name="connsiteY1250" fmla="*/ 259310 h 541195"/>
                <a:gd name="connsiteX1251" fmla="*/ 1617602 w 4012966"/>
                <a:gd name="connsiteY1251" fmla="*/ 249748 h 541195"/>
                <a:gd name="connsiteX1252" fmla="*/ 1619317 w 4012966"/>
                <a:gd name="connsiteY1252" fmla="*/ 248374 h 541195"/>
                <a:gd name="connsiteX1253" fmla="*/ 1616026 w 4012966"/>
                <a:gd name="connsiteY1253" fmla="*/ 245645 h 541195"/>
                <a:gd name="connsiteX1254" fmla="*/ 1612237 w 4012966"/>
                <a:gd name="connsiteY1254" fmla="*/ 244666 h 541195"/>
                <a:gd name="connsiteX1255" fmla="*/ 1609195 w 4012966"/>
                <a:gd name="connsiteY1255" fmla="*/ 246109 h 541195"/>
                <a:gd name="connsiteX1256" fmla="*/ 1606735 w 4012966"/>
                <a:gd name="connsiteY1256" fmla="*/ 243757 h 541195"/>
                <a:gd name="connsiteX1257" fmla="*/ 1600983 w 4012966"/>
                <a:gd name="connsiteY1257" fmla="*/ 242847 h 541195"/>
                <a:gd name="connsiteX1258" fmla="*/ 1597941 w 4012966"/>
                <a:gd name="connsiteY1258" fmla="*/ 244598 h 541195"/>
                <a:gd name="connsiteX1259" fmla="*/ 1595369 w 4012966"/>
                <a:gd name="connsiteY1259" fmla="*/ 242177 h 541195"/>
                <a:gd name="connsiteX1260" fmla="*/ 1592438 w 4012966"/>
                <a:gd name="connsiteY1260" fmla="*/ 241576 h 541195"/>
                <a:gd name="connsiteX1261" fmla="*/ 1586686 w 4012966"/>
                <a:gd name="connsiteY1261" fmla="*/ 241576 h 541195"/>
                <a:gd name="connsiteX1262" fmla="*/ 1586686 w 4012966"/>
                <a:gd name="connsiteY1262" fmla="*/ 248169 h 541195"/>
                <a:gd name="connsiteX1263" fmla="*/ 1578500 w 4012966"/>
                <a:gd name="connsiteY1263" fmla="*/ 248014 h 541195"/>
                <a:gd name="connsiteX1264" fmla="*/ 1578500 w 4012966"/>
                <a:gd name="connsiteY1264" fmla="*/ 241559 h 541195"/>
                <a:gd name="connsiteX1265" fmla="*/ 1568352 w 4012966"/>
                <a:gd name="connsiteY1265" fmla="*/ 241559 h 541195"/>
                <a:gd name="connsiteX1266" fmla="*/ 1568213 w 4012966"/>
                <a:gd name="connsiteY1266" fmla="*/ 247619 h 541195"/>
                <a:gd name="connsiteX1267" fmla="*/ 1560388 w 4012966"/>
                <a:gd name="connsiteY1267" fmla="*/ 247465 h 541195"/>
                <a:gd name="connsiteX1268" fmla="*/ 1560388 w 4012966"/>
                <a:gd name="connsiteY1268" fmla="*/ 241542 h 541195"/>
                <a:gd name="connsiteX1269" fmla="*/ 1551815 w 4012966"/>
                <a:gd name="connsiteY1269" fmla="*/ 242074 h 541195"/>
                <a:gd name="connsiteX1270" fmla="*/ 1548773 w 4012966"/>
                <a:gd name="connsiteY1270" fmla="*/ 245182 h 541195"/>
                <a:gd name="connsiteX1271" fmla="*/ 1545593 w 4012966"/>
                <a:gd name="connsiteY1271" fmla="*/ 243207 h 541195"/>
                <a:gd name="connsiteX1272" fmla="*/ 1538486 w 4012966"/>
                <a:gd name="connsiteY1272" fmla="*/ 243963 h 541195"/>
                <a:gd name="connsiteX1273" fmla="*/ 1535804 w 4012966"/>
                <a:gd name="connsiteY1273" fmla="*/ 246915 h 541195"/>
                <a:gd name="connsiteX1274" fmla="*/ 1532513 w 4012966"/>
                <a:gd name="connsiteY1274" fmla="*/ 244941 h 541195"/>
                <a:gd name="connsiteX1275" fmla="*/ 1528338 w 4012966"/>
                <a:gd name="connsiteY1275" fmla="*/ 245405 h 541195"/>
                <a:gd name="connsiteX1276" fmla="*/ 1524908 w 4012966"/>
                <a:gd name="connsiteY1276" fmla="*/ 248443 h 541195"/>
                <a:gd name="connsiteX1277" fmla="*/ 1526125 w 4012966"/>
                <a:gd name="connsiteY1277" fmla="*/ 249439 h 541195"/>
                <a:gd name="connsiteX1278" fmla="*/ 1526319 w 4012966"/>
                <a:gd name="connsiteY1278" fmla="*/ 251859 h 541195"/>
                <a:gd name="connsiteX1279" fmla="*/ 1526319 w 4012966"/>
                <a:gd name="connsiteY1279" fmla="*/ 259448 h 541195"/>
                <a:gd name="connsiteX1280" fmla="*/ 1524908 w 4012966"/>
                <a:gd name="connsiteY1280" fmla="*/ 260374 h 541195"/>
                <a:gd name="connsiteX1281" fmla="*/ 1523084 w 4012966"/>
                <a:gd name="connsiteY1281" fmla="*/ 265834 h 541195"/>
                <a:gd name="connsiteX1282" fmla="*/ 1528338 w 4012966"/>
                <a:gd name="connsiteY1282" fmla="*/ 268340 h 541195"/>
                <a:gd name="connsiteX1283" fmla="*/ 1523637 w 4012966"/>
                <a:gd name="connsiteY1283" fmla="*/ 448080 h 541195"/>
                <a:gd name="connsiteX1284" fmla="*/ 1523084 w 4012966"/>
                <a:gd name="connsiteY1284" fmla="*/ 271602 h 541195"/>
                <a:gd name="connsiteX1285" fmla="*/ 1515893 w 4012966"/>
                <a:gd name="connsiteY1285" fmla="*/ 266949 h 541195"/>
                <a:gd name="connsiteX1286" fmla="*/ 1519046 w 4012966"/>
                <a:gd name="connsiteY1286" fmla="*/ 259464 h 541195"/>
                <a:gd name="connsiteX1287" fmla="*/ 1521728 w 4012966"/>
                <a:gd name="connsiteY1287" fmla="*/ 256958 h 541195"/>
                <a:gd name="connsiteX1288" fmla="*/ 1521645 w 4012966"/>
                <a:gd name="connsiteY1288" fmla="*/ 256684 h 541195"/>
                <a:gd name="connsiteX1289" fmla="*/ 1521645 w 4012966"/>
                <a:gd name="connsiteY1289" fmla="*/ 250349 h 541195"/>
                <a:gd name="connsiteX1290" fmla="*/ 1519571 w 4012966"/>
                <a:gd name="connsiteY1290" fmla="*/ 249061 h 541195"/>
                <a:gd name="connsiteX1291" fmla="*/ 1524548 w 4012966"/>
                <a:gd name="connsiteY1291" fmla="*/ 242915 h 541195"/>
                <a:gd name="connsiteX1292" fmla="*/ 1531766 w 4012966"/>
                <a:gd name="connsiteY1292" fmla="*/ 241748 h 541195"/>
                <a:gd name="connsiteX1293" fmla="*/ 1534448 w 4012966"/>
                <a:gd name="connsiteY1293" fmla="*/ 242864 h 541195"/>
                <a:gd name="connsiteX1294" fmla="*/ 1536661 w 4012966"/>
                <a:gd name="connsiteY1294" fmla="*/ 240890 h 541195"/>
                <a:gd name="connsiteX1295" fmla="*/ 1544487 w 4012966"/>
                <a:gd name="connsiteY1295" fmla="*/ 240031 h 541195"/>
                <a:gd name="connsiteX1296" fmla="*/ 1548164 w 4012966"/>
                <a:gd name="connsiteY1296" fmla="*/ 241044 h 541195"/>
                <a:gd name="connsiteX1297" fmla="*/ 1549630 w 4012966"/>
                <a:gd name="connsiteY1297" fmla="*/ 238744 h 541195"/>
                <a:gd name="connsiteX1298" fmla="*/ 1560498 w 4012966"/>
                <a:gd name="connsiteY1298" fmla="*/ 237903 h 541195"/>
                <a:gd name="connsiteX1299" fmla="*/ 1564425 w 4012966"/>
                <a:gd name="connsiteY1299" fmla="*/ 239808 h 541195"/>
                <a:gd name="connsiteX1300" fmla="*/ 1570039 w 4012966"/>
                <a:gd name="connsiteY1300" fmla="*/ 239722 h 541195"/>
                <a:gd name="connsiteX1301" fmla="*/ 1567356 w 4012966"/>
                <a:gd name="connsiteY1301" fmla="*/ 238366 h 541195"/>
                <a:gd name="connsiteX1302" fmla="*/ 1567356 w 4012966"/>
                <a:gd name="connsiteY1302" fmla="*/ 236770 h 541195"/>
                <a:gd name="connsiteX1303" fmla="*/ 1568573 w 4012966"/>
                <a:gd name="connsiteY1303" fmla="*/ 235482 h 541195"/>
                <a:gd name="connsiteX1304" fmla="*/ 1567964 w 4012966"/>
                <a:gd name="connsiteY1304" fmla="*/ 234504 h 541195"/>
                <a:gd name="connsiteX1305" fmla="*/ 1567854 w 4012966"/>
                <a:gd name="connsiteY1305" fmla="*/ 230023 h 541195"/>
                <a:gd name="connsiteX1306" fmla="*/ 1569320 w 4012966"/>
                <a:gd name="connsiteY1306" fmla="*/ 229559 h 541195"/>
                <a:gd name="connsiteX1307" fmla="*/ 1566388 w 4012966"/>
                <a:gd name="connsiteY1307" fmla="*/ 227362 h 541195"/>
                <a:gd name="connsiteX1308" fmla="*/ 1561134 w 4012966"/>
                <a:gd name="connsiteY1308" fmla="*/ 227362 h 541195"/>
                <a:gd name="connsiteX1309" fmla="*/ 1561134 w 4012966"/>
                <a:gd name="connsiteY1309" fmla="*/ 232238 h 541195"/>
                <a:gd name="connsiteX1310" fmla="*/ 1554276 w 4012966"/>
                <a:gd name="connsiteY1310" fmla="*/ 232238 h 541195"/>
                <a:gd name="connsiteX1311" fmla="*/ 1554276 w 4012966"/>
                <a:gd name="connsiteY1311" fmla="*/ 227585 h 541195"/>
                <a:gd name="connsiteX1312" fmla="*/ 1545234 w 4012966"/>
                <a:gd name="connsiteY1312" fmla="*/ 227585 h 541195"/>
                <a:gd name="connsiteX1313" fmla="*/ 1545234 w 4012966"/>
                <a:gd name="connsiteY1313" fmla="*/ 232238 h 541195"/>
                <a:gd name="connsiteX1314" fmla="*/ 1537740 w 4012966"/>
                <a:gd name="connsiteY1314" fmla="*/ 232238 h 541195"/>
                <a:gd name="connsiteX1315" fmla="*/ 1537740 w 4012966"/>
                <a:gd name="connsiteY1315" fmla="*/ 227585 h 541195"/>
                <a:gd name="connsiteX1316" fmla="*/ 1528836 w 4012966"/>
                <a:gd name="connsiteY1316" fmla="*/ 227585 h 541195"/>
                <a:gd name="connsiteX1317" fmla="*/ 1528836 w 4012966"/>
                <a:gd name="connsiteY1317" fmla="*/ 232238 h 541195"/>
                <a:gd name="connsiteX1318" fmla="*/ 1522171 w 4012966"/>
                <a:gd name="connsiteY1318" fmla="*/ 232238 h 541195"/>
                <a:gd name="connsiteX1319" fmla="*/ 1522171 w 4012966"/>
                <a:gd name="connsiteY1319" fmla="*/ 227585 h 541195"/>
                <a:gd name="connsiteX1320" fmla="*/ 1513599 w 4012966"/>
                <a:gd name="connsiteY1320" fmla="*/ 227585 h 541195"/>
                <a:gd name="connsiteX1321" fmla="*/ 1513599 w 4012966"/>
                <a:gd name="connsiteY1321" fmla="*/ 232238 h 541195"/>
                <a:gd name="connsiteX1322" fmla="*/ 1506602 w 4012966"/>
                <a:gd name="connsiteY1322" fmla="*/ 232238 h 541195"/>
                <a:gd name="connsiteX1323" fmla="*/ 1506602 w 4012966"/>
                <a:gd name="connsiteY1323" fmla="*/ 227362 h 541195"/>
                <a:gd name="connsiteX1324" fmla="*/ 1497394 w 4012966"/>
                <a:gd name="connsiteY1324" fmla="*/ 227362 h 541195"/>
                <a:gd name="connsiteX1325" fmla="*/ 1497394 w 4012966"/>
                <a:gd name="connsiteY1325" fmla="*/ 232238 h 541195"/>
                <a:gd name="connsiteX1326" fmla="*/ 1490314 w 4012966"/>
                <a:gd name="connsiteY1326" fmla="*/ 232238 h 541195"/>
                <a:gd name="connsiteX1327" fmla="*/ 1490314 w 4012966"/>
                <a:gd name="connsiteY1327" fmla="*/ 227362 h 541195"/>
                <a:gd name="connsiteX1328" fmla="*/ 1481686 w 4012966"/>
                <a:gd name="connsiteY1328" fmla="*/ 227362 h 541195"/>
                <a:gd name="connsiteX1329" fmla="*/ 1481686 w 4012966"/>
                <a:gd name="connsiteY1329" fmla="*/ 232238 h 541195"/>
                <a:gd name="connsiteX1330" fmla="*/ 1474358 w 4012966"/>
                <a:gd name="connsiteY1330" fmla="*/ 232238 h 541195"/>
                <a:gd name="connsiteX1331" fmla="*/ 1474358 w 4012966"/>
                <a:gd name="connsiteY1331" fmla="*/ 227362 h 541195"/>
                <a:gd name="connsiteX1332" fmla="*/ 1465703 w 4012966"/>
                <a:gd name="connsiteY1332" fmla="*/ 227362 h 541195"/>
                <a:gd name="connsiteX1333" fmla="*/ 1465703 w 4012966"/>
                <a:gd name="connsiteY1333" fmla="*/ 232238 h 541195"/>
                <a:gd name="connsiteX1334" fmla="*/ 1458596 w 4012966"/>
                <a:gd name="connsiteY1334" fmla="*/ 232238 h 541195"/>
                <a:gd name="connsiteX1335" fmla="*/ 1458596 w 4012966"/>
                <a:gd name="connsiteY1335" fmla="*/ 227362 h 541195"/>
                <a:gd name="connsiteX1336" fmla="*/ 1449388 w 4012966"/>
                <a:gd name="connsiteY1336" fmla="*/ 227362 h 541195"/>
                <a:gd name="connsiteX1337" fmla="*/ 1449388 w 4012966"/>
                <a:gd name="connsiteY1337" fmla="*/ 232238 h 541195"/>
                <a:gd name="connsiteX1338" fmla="*/ 1442363 w 4012966"/>
                <a:gd name="connsiteY1338" fmla="*/ 232238 h 541195"/>
                <a:gd name="connsiteX1339" fmla="*/ 1442363 w 4012966"/>
                <a:gd name="connsiteY1339" fmla="*/ 227585 h 541195"/>
                <a:gd name="connsiteX1340" fmla="*/ 1433819 w 4012966"/>
                <a:gd name="connsiteY1340" fmla="*/ 227585 h 541195"/>
                <a:gd name="connsiteX1341" fmla="*/ 1433819 w 4012966"/>
                <a:gd name="connsiteY1341" fmla="*/ 232238 h 541195"/>
                <a:gd name="connsiteX1342" fmla="*/ 1427126 w 4012966"/>
                <a:gd name="connsiteY1342" fmla="*/ 232238 h 541195"/>
                <a:gd name="connsiteX1343" fmla="*/ 1427126 w 4012966"/>
                <a:gd name="connsiteY1343" fmla="*/ 227585 h 541195"/>
                <a:gd name="connsiteX1344" fmla="*/ 1418249 w 4012966"/>
                <a:gd name="connsiteY1344" fmla="*/ 227585 h 541195"/>
                <a:gd name="connsiteX1345" fmla="*/ 1418249 w 4012966"/>
                <a:gd name="connsiteY1345" fmla="*/ 232238 h 541195"/>
                <a:gd name="connsiteX1346" fmla="*/ 1410756 w 4012966"/>
                <a:gd name="connsiteY1346" fmla="*/ 232238 h 541195"/>
                <a:gd name="connsiteX1347" fmla="*/ 1410756 w 4012966"/>
                <a:gd name="connsiteY1347" fmla="*/ 227585 h 541195"/>
                <a:gd name="connsiteX1348" fmla="*/ 1401686 w 4012966"/>
                <a:gd name="connsiteY1348" fmla="*/ 227585 h 541195"/>
                <a:gd name="connsiteX1349" fmla="*/ 1401686 w 4012966"/>
                <a:gd name="connsiteY1349" fmla="*/ 232238 h 541195"/>
                <a:gd name="connsiteX1350" fmla="*/ 1394828 w 4012966"/>
                <a:gd name="connsiteY1350" fmla="*/ 232238 h 541195"/>
                <a:gd name="connsiteX1351" fmla="*/ 1394828 w 4012966"/>
                <a:gd name="connsiteY1351" fmla="*/ 227362 h 541195"/>
                <a:gd name="connsiteX1352" fmla="*/ 1389573 w 4012966"/>
                <a:gd name="connsiteY1352" fmla="*/ 227362 h 541195"/>
                <a:gd name="connsiteX1353" fmla="*/ 1386642 w 4012966"/>
                <a:gd name="connsiteY1353" fmla="*/ 229559 h 541195"/>
                <a:gd name="connsiteX1354" fmla="*/ 1388108 w 4012966"/>
                <a:gd name="connsiteY1354" fmla="*/ 230023 h 541195"/>
                <a:gd name="connsiteX1355" fmla="*/ 1387997 w 4012966"/>
                <a:gd name="connsiteY1355" fmla="*/ 234504 h 541195"/>
                <a:gd name="connsiteX1356" fmla="*/ 1387389 w 4012966"/>
                <a:gd name="connsiteY1356" fmla="*/ 235482 h 541195"/>
                <a:gd name="connsiteX1357" fmla="*/ 1388605 w 4012966"/>
                <a:gd name="connsiteY1357" fmla="*/ 236770 h 541195"/>
                <a:gd name="connsiteX1358" fmla="*/ 1388605 w 4012966"/>
                <a:gd name="connsiteY1358" fmla="*/ 238366 h 541195"/>
                <a:gd name="connsiteX1359" fmla="*/ 1385923 w 4012966"/>
                <a:gd name="connsiteY1359" fmla="*/ 239722 h 541195"/>
                <a:gd name="connsiteX1360" fmla="*/ 1391537 w 4012966"/>
                <a:gd name="connsiteY1360" fmla="*/ 239808 h 541195"/>
                <a:gd name="connsiteX1361" fmla="*/ 1395436 w 4012966"/>
                <a:gd name="connsiteY1361" fmla="*/ 237903 h 541195"/>
                <a:gd name="connsiteX1362" fmla="*/ 1406331 w 4012966"/>
                <a:gd name="connsiteY1362" fmla="*/ 238744 h 541195"/>
                <a:gd name="connsiteX1363" fmla="*/ 1407796 w 4012966"/>
                <a:gd name="connsiteY1363" fmla="*/ 241044 h 541195"/>
                <a:gd name="connsiteX1364" fmla="*/ 1411474 w 4012966"/>
                <a:gd name="connsiteY1364" fmla="*/ 240031 h 541195"/>
                <a:gd name="connsiteX1365" fmla="*/ 1419300 w 4012966"/>
                <a:gd name="connsiteY1365" fmla="*/ 240890 h 541195"/>
                <a:gd name="connsiteX1366" fmla="*/ 1421513 w 4012966"/>
                <a:gd name="connsiteY1366" fmla="*/ 242864 h 541195"/>
                <a:gd name="connsiteX1367" fmla="*/ 1424196 w 4012966"/>
                <a:gd name="connsiteY1367" fmla="*/ 241748 h 541195"/>
                <a:gd name="connsiteX1368" fmla="*/ 1431412 w 4012966"/>
                <a:gd name="connsiteY1368" fmla="*/ 242915 h 541195"/>
                <a:gd name="connsiteX1369" fmla="*/ 1436390 w 4012966"/>
                <a:gd name="connsiteY1369" fmla="*/ 249061 h 541195"/>
                <a:gd name="connsiteX1370" fmla="*/ 1434316 w 4012966"/>
                <a:gd name="connsiteY1370" fmla="*/ 250349 h 541195"/>
                <a:gd name="connsiteX1371" fmla="*/ 1434316 w 4012966"/>
                <a:gd name="connsiteY1371" fmla="*/ 256684 h 541195"/>
                <a:gd name="connsiteX1372" fmla="*/ 1434234 w 4012966"/>
                <a:gd name="connsiteY1372" fmla="*/ 256958 h 541195"/>
                <a:gd name="connsiteX1373" fmla="*/ 1436916 w 4012966"/>
                <a:gd name="connsiteY1373" fmla="*/ 259464 h 541195"/>
                <a:gd name="connsiteX1374" fmla="*/ 1440068 w 4012966"/>
                <a:gd name="connsiteY1374" fmla="*/ 266949 h 541195"/>
                <a:gd name="connsiteX1375" fmla="*/ 1432878 w 4012966"/>
                <a:gd name="connsiteY1375" fmla="*/ 271602 h 541195"/>
                <a:gd name="connsiteX1376" fmla="*/ 1432325 w 4012966"/>
                <a:gd name="connsiteY1376" fmla="*/ 448080 h 541195"/>
                <a:gd name="connsiteX1377" fmla="*/ 1427624 w 4012966"/>
                <a:gd name="connsiteY1377" fmla="*/ 268340 h 541195"/>
                <a:gd name="connsiteX1378" fmla="*/ 1432878 w 4012966"/>
                <a:gd name="connsiteY1378" fmla="*/ 265834 h 541195"/>
                <a:gd name="connsiteX1379" fmla="*/ 1431053 w 4012966"/>
                <a:gd name="connsiteY1379" fmla="*/ 260374 h 541195"/>
                <a:gd name="connsiteX1380" fmla="*/ 1429643 w 4012966"/>
                <a:gd name="connsiteY1380" fmla="*/ 259448 h 541195"/>
                <a:gd name="connsiteX1381" fmla="*/ 1429643 w 4012966"/>
                <a:gd name="connsiteY1381" fmla="*/ 251859 h 541195"/>
                <a:gd name="connsiteX1382" fmla="*/ 1429809 w 4012966"/>
                <a:gd name="connsiteY1382" fmla="*/ 249439 h 541195"/>
                <a:gd name="connsiteX1383" fmla="*/ 1431026 w 4012966"/>
                <a:gd name="connsiteY1383" fmla="*/ 248443 h 541195"/>
                <a:gd name="connsiteX1384" fmla="*/ 1427596 w 4012966"/>
                <a:gd name="connsiteY1384" fmla="*/ 245405 h 541195"/>
                <a:gd name="connsiteX1385" fmla="*/ 1423448 w 4012966"/>
                <a:gd name="connsiteY1385" fmla="*/ 244941 h 541195"/>
                <a:gd name="connsiteX1386" fmla="*/ 1420158 w 4012966"/>
                <a:gd name="connsiteY1386" fmla="*/ 246915 h 541195"/>
                <a:gd name="connsiteX1387" fmla="*/ 1417476 w 4012966"/>
                <a:gd name="connsiteY1387" fmla="*/ 243963 h 541195"/>
                <a:gd name="connsiteX1388" fmla="*/ 1410368 w 4012966"/>
                <a:gd name="connsiteY1388" fmla="*/ 243207 h 541195"/>
                <a:gd name="connsiteX1389" fmla="*/ 1407188 w 4012966"/>
                <a:gd name="connsiteY1389" fmla="*/ 245182 h 541195"/>
                <a:gd name="connsiteX1390" fmla="*/ 1404147 w 4012966"/>
                <a:gd name="connsiteY1390" fmla="*/ 242074 h 541195"/>
                <a:gd name="connsiteX1391" fmla="*/ 1395574 w 4012966"/>
                <a:gd name="connsiteY1391" fmla="*/ 241542 h 541195"/>
                <a:gd name="connsiteX1392" fmla="*/ 1395574 w 4012966"/>
                <a:gd name="connsiteY1392" fmla="*/ 247465 h 541195"/>
                <a:gd name="connsiteX1393" fmla="*/ 1387748 w 4012966"/>
                <a:gd name="connsiteY1393" fmla="*/ 247619 h 541195"/>
                <a:gd name="connsiteX1394" fmla="*/ 1387610 w 4012966"/>
                <a:gd name="connsiteY1394" fmla="*/ 241559 h 541195"/>
                <a:gd name="connsiteX1395" fmla="*/ 1377461 w 4012966"/>
                <a:gd name="connsiteY1395" fmla="*/ 241559 h 541195"/>
                <a:gd name="connsiteX1396" fmla="*/ 1377461 w 4012966"/>
                <a:gd name="connsiteY1396" fmla="*/ 248014 h 541195"/>
                <a:gd name="connsiteX1397" fmla="*/ 1369276 w 4012966"/>
                <a:gd name="connsiteY1397" fmla="*/ 248169 h 541195"/>
                <a:gd name="connsiteX1398" fmla="*/ 1369276 w 4012966"/>
                <a:gd name="connsiteY1398" fmla="*/ 241576 h 541195"/>
                <a:gd name="connsiteX1399" fmla="*/ 1363524 w 4012966"/>
                <a:gd name="connsiteY1399" fmla="*/ 241576 h 541195"/>
                <a:gd name="connsiteX1400" fmla="*/ 1360593 w 4012966"/>
                <a:gd name="connsiteY1400" fmla="*/ 242177 h 541195"/>
                <a:gd name="connsiteX1401" fmla="*/ 1358021 w 4012966"/>
                <a:gd name="connsiteY1401" fmla="*/ 244598 h 541195"/>
                <a:gd name="connsiteX1402" fmla="*/ 1354979 w 4012966"/>
                <a:gd name="connsiteY1402" fmla="*/ 242847 h 541195"/>
                <a:gd name="connsiteX1403" fmla="*/ 1349227 w 4012966"/>
                <a:gd name="connsiteY1403" fmla="*/ 243757 h 541195"/>
                <a:gd name="connsiteX1404" fmla="*/ 1346794 w 4012966"/>
                <a:gd name="connsiteY1404" fmla="*/ 246109 h 541195"/>
                <a:gd name="connsiteX1405" fmla="*/ 1343725 w 4012966"/>
                <a:gd name="connsiteY1405" fmla="*/ 244666 h 541195"/>
                <a:gd name="connsiteX1406" fmla="*/ 1339935 w 4012966"/>
                <a:gd name="connsiteY1406" fmla="*/ 245645 h 541195"/>
                <a:gd name="connsiteX1407" fmla="*/ 1336645 w 4012966"/>
                <a:gd name="connsiteY1407" fmla="*/ 248374 h 541195"/>
                <a:gd name="connsiteX1408" fmla="*/ 1338359 w 4012966"/>
                <a:gd name="connsiteY1408" fmla="*/ 249748 h 541195"/>
                <a:gd name="connsiteX1409" fmla="*/ 1338359 w 4012966"/>
                <a:gd name="connsiteY1409" fmla="*/ 259310 h 541195"/>
                <a:gd name="connsiteX1410" fmla="*/ 1335179 w 4012966"/>
                <a:gd name="connsiteY1410" fmla="*/ 261508 h 541195"/>
                <a:gd name="connsiteX1411" fmla="*/ 1339549 w 4012966"/>
                <a:gd name="connsiteY1411" fmla="*/ 266160 h 541195"/>
                <a:gd name="connsiteX1412" fmla="*/ 1337447 w 4012966"/>
                <a:gd name="connsiteY1412" fmla="*/ 413609 h 541195"/>
                <a:gd name="connsiteX1413" fmla="*/ 1331446 w 4012966"/>
                <a:gd name="connsiteY1413" fmla="*/ 269576 h 541195"/>
                <a:gd name="connsiteX1414" fmla="*/ 1325086 w 4012966"/>
                <a:gd name="connsiteY1414" fmla="*/ 269576 h 541195"/>
                <a:gd name="connsiteX1415" fmla="*/ 1325086 w 4012966"/>
                <a:gd name="connsiteY1415" fmla="*/ 264718 h 541195"/>
                <a:gd name="connsiteX1416" fmla="*/ 1316596 w 4012966"/>
                <a:gd name="connsiteY1416" fmla="*/ 264718 h 541195"/>
                <a:gd name="connsiteX1417" fmla="*/ 1316596 w 4012966"/>
                <a:gd name="connsiteY1417" fmla="*/ 269576 h 541195"/>
                <a:gd name="connsiteX1418" fmla="*/ 1310900 w 4012966"/>
                <a:gd name="connsiteY1418" fmla="*/ 269576 h 541195"/>
                <a:gd name="connsiteX1419" fmla="*/ 1310900 w 4012966"/>
                <a:gd name="connsiteY1419" fmla="*/ 264718 h 541195"/>
                <a:gd name="connsiteX1420" fmla="*/ 1302576 w 4012966"/>
                <a:gd name="connsiteY1420" fmla="*/ 264718 h 541195"/>
                <a:gd name="connsiteX1421" fmla="*/ 1302576 w 4012966"/>
                <a:gd name="connsiteY1421" fmla="*/ 269576 h 541195"/>
                <a:gd name="connsiteX1422" fmla="*/ 1296216 w 4012966"/>
                <a:gd name="connsiteY1422" fmla="*/ 269576 h 541195"/>
                <a:gd name="connsiteX1423" fmla="*/ 1296216 w 4012966"/>
                <a:gd name="connsiteY1423" fmla="*/ 264718 h 541195"/>
                <a:gd name="connsiteX1424" fmla="*/ 1287395 w 4012966"/>
                <a:gd name="connsiteY1424" fmla="*/ 264718 h 541195"/>
                <a:gd name="connsiteX1425" fmla="*/ 1287395 w 4012966"/>
                <a:gd name="connsiteY1425" fmla="*/ 269576 h 541195"/>
                <a:gd name="connsiteX1426" fmla="*/ 1280703 w 4012966"/>
                <a:gd name="connsiteY1426" fmla="*/ 269576 h 541195"/>
                <a:gd name="connsiteX1427" fmla="*/ 1280703 w 4012966"/>
                <a:gd name="connsiteY1427" fmla="*/ 264718 h 541195"/>
                <a:gd name="connsiteX1428" fmla="*/ 1272544 w 4012966"/>
                <a:gd name="connsiteY1428" fmla="*/ 264718 h 541195"/>
                <a:gd name="connsiteX1429" fmla="*/ 1272544 w 4012966"/>
                <a:gd name="connsiteY1429" fmla="*/ 269576 h 541195"/>
                <a:gd name="connsiteX1430" fmla="*/ 1264885 w 4012966"/>
                <a:gd name="connsiteY1430" fmla="*/ 269576 h 541195"/>
                <a:gd name="connsiteX1431" fmla="*/ 1264885 w 4012966"/>
                <a:gd name="connsiteY1431" fmla="*/ 264718 h 541195"/>
                <a:gd name="connsiteX1432" fmla="*/ 1256727 w 4012966"/>
                <a:gd name="connsiteY1432" fmla="*/ 264718 h 541195"/>
                <a:gd name="connsiteX1433" fmla="*/ 1256727 w 4012966"/>
                <a:gd name="connsiteY1433" fmla="*/ 269576 h 541195"/>
                <a:gd name="connsiteX1434" fmla="*/ 1249538 w 4012966"/>
                <a:gd name="connsiteY1434" fmla="*/ 269576 h 541195"/>
                <a:gd name="connsiteX1435" fmla="*/ 1249538 w 4012966"/>
                <a:gd name="connsiteY1435" fmla="*/ 264718 h 541195"/>
                <a:gd name="connsiteX1436" fmla="*/ 1244642 w 4012966"/>
                <a:gd name="connsiteY1436" fmla="*/ 264718 h 541195"/>
                <a:gd name="connsiteX1437" fmla="*/ 1240744 w 4012966"/>
                <a:gd name="connsiteY1437" fmla="*/ 267550 h 541195"/>
                <a:gd name="connsiteX1438" fmla="*/ 1242541 w 4012966"/>
                <a:gd name="connsiteY1438" fmla="*/ 268872 h 541195"/>
                <a:gd name="connsiteX1439" fmla="*/ 1242209 w 4012966"/>
                <a:gd name="connsiteY1439" fmla="*/ 275550 h 541195"/>
                <a:gd name="connsiteX1440" fmla="*/ 1239776 w 4012966"/>
                <a:gd name="connsiteY1440" fmla="*/ 276357 h 541195"/>
                <a:gd name="connsiteX1441" fmla="*/ 1244670 w 4012966"/>
                <a:gd name="connsiteY1441" fmla="*/ 279859 h 541195"/>
                <a:gd name="connsiteX1442" fmla="*/ 1244477 w 4012966"/>
                <a:gd name="connsiteY1442" fmla="*/ 489763 h 541195"/>
                <a:gd name="connsiteX1443" fmla="*/ 1224871 w 4012966"/>
                <a:gd name="connsiteY1443" fmla="*/ 465797 h 541195"/>
                <a:gd name="connsiteX1444" fmla="*/ 1197715 w 4012966"/>
                <a:gd name="connsiteY1444" fmla="*/ 432012 h 541195"/>
                <a:gd name="connsiteX1445" fmla="*/ 842564 w 4012966"/>
                <a:gd name="connsiteY1445" fmla="*/ 398227 h 541195"/>
                <a:gd name="connsiteX1446" fmla="*/ 489957 w 4012966"/>
                <a:gd name="connsiteY1446" fmla="*/ 431771 h 541195"/>
                <a:gd name="connsiteX1447" fmla="*/ 460783 w 4012966"/>
                <a:gd name="connsiteY1447" fmla="*/ 431669 h 541195"/>
                <a:gd name="connsiteX1448" fmla="*/ 460783 w 4012966"/>
                <a:gd name="connsiteY1448" fmla="*/ 431635 h 541195"/>
                <a:gd name="connsiteX1449" fmla="*/ 458544 w 4012966"/>
                <a:gd name="connsiteY1449" fmla="*/ 431635 h 541195"/>
                <a:gd name="connsiteX1450" fmla="*/ 456303 w 4012966"/>
                <a:gd name="connsiteY1450" fmla="*/ 431635 h 541195"/>
                <a:gd name="connsiteX1451" fmla="*/ 456303 w 4012966"/>
                <a:gd name="connsiteY1451" fmla="*/ 431669 h 541195"/>
                <a:gd name="connsiteX1452" fmla="*/ 427129 w 4012966"/>
                <a:gd name="connsiteY1452" fmla="*/ 431771 h 541195"/>
                <a:gd name="connsiteX1453" fmla="*/ 74523 w 4012966"/>
                <a:gd name="connsiteY1453" fmla="*/ 398227 h 541195"/>
                <a:gd name="connsiteX1454" fmla="*/ 11234 w 4012966"/>
                <a:gd name="connsiteY1454" fmla="*/ 415120 h 541195"/>
                <a:gd name="connsiteX1455" fmla="*/ 2720 w 4012966"/>
                <a:gd name="connsiteY1455" fmla="*/ 416279 h 541195"/>
                <a:gd name="connsiteX1456" fmla="*/ 2543 w 4012966"/>
                <a:gd name="connsiteY1456" fmla="*/ 419776 h 541195"/>
                <a:gd name="connsiteX1457" fmla="*/ 9288 w 4012966"/>
                <a:gd name="connsiteY1457" fmla="*/ 418793 h 541195"/>
                <a:gd name="connsiteX1458" fmla="*/ 2298 w 4012966"/>
                <a:gd name="connsiteY1458" fmla="*/ 424635 h 541195"/>
                <a:gd name="connsiteX1459" fmla="*/ 2039 w 4012966"/>
                <a:gd name="connsiteY1459" fmla="*/ 429753 h 541195"/>
                <a:gd name="connsiteX1460" fmla="*/ 11777 w 4012966"/>
                <a:gd name="connsiteY1460" fmla="*/ 421609 h 541195"/>
                <a:gd name="connsiteX1461" fmla="*/ 12828 w 4012966"/>
                <a:gd name="connsiteY1461" fmla="*/ 464406 h 541195"/>
                <a:gd name="connsiteX1462" fmla="*/ 290 w 4012966"/>
                <a:gd name="connsiteY1462" fmla="*/ 464406 h 541195"/>
                <a:gd name="connsiteX1463" fmla="*/ 0 w 4012966"/>
                <a:gd name="connsiteY1463" fmla="*/ 470140 h 541195"/>
                <a:gd name="connsiteX1464" fmla="*/ 45653 w 4012966"/>
                <a:gd name="connsiteY1464" fmla="*/ 470140 h 541195"/>
                <a:gd name="connsiteX1465" fmla="*/ 46786 w 4012966"/>
                <a:gd name="connsiteY1465" fmla="*/ 470140 h 541195"/>
                <a:gd name="connsiteX1466" fmla="*/ 68992 w 4012966"/>
                <a:gd name="connsiteY1466" fmla="*/ 470140 h 541195"/>
                <a:gd name="connsiteX1467" fmla="*/ 68992 w 4012966"/>
                <a:gd name="connsiteY1467" fmla="*/ 474501 h 541195"/>
                <a:gd name="connsiteX1468" fmla="*/ 66558 w 4012966"/>
                <a:gd name="connsiteY1468" fmla="*/ 474501 h 541195"/>
                <a:gd name="connsiteX1469" fmla="*/ 66558 w 4012966"/>
                <a:gd name="connsiteY1469" fmla="*/ 477076 h 541195"/>
                <a:gd name="connsiteX1470" fmla="*/ 67195 w 4012966"/>
                <a:gd name="connsiteY1470" fmla="*/ 477076 h 541195"/>
                <a:gd name="connsiteX1471" fmla="*/ 62714 w 4012966"/>
                <a:gd name="connsiteY1471" fmla="*/ 529624 h 541195"/>
                <a:gd name="connsiteX1472" fmla="*/ 50520 w 4012966"/>
                <a:gd name="connsiteY1472" fmla="*/ 529624 h 54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Lst>
              <a:rect l="l" t="t" r="r" b="b"/>
              <a:pathLst>
                <a:path w="4012966" h="541195">
                  <a:moveTo>
                    <a:pt x="1968135" y="139020"/>
                  </a:moveTo>
                  <a:lnTo>
                    <a:pt x="1968135" y="133183"/>
                  </a:lnTo>
                  <a:lnTo>
                    <a:pt x="1970402" y="133183"/>
                  </a:lnTo>
                  <a:lnTo>
                    <a:pt x="1970402" y="137097"/>
                  </a:lnTo>
                  <a:lnTo>
                    <a:pt x="1969131" y="137097"/>
                  </a:lnTo>
                  <a:lnTo>
                    <a:pt x="1969131" y="138402"/>
                  </a:lnTo>
                  <a:close/>
                  <a:moveTo>
                    <a:pt x="1981961" y="139037"/>
                  </a:moveTo>
                  <a:lnTo>
                    <a:pt x="1980966" y="138419"/>
                  </a:lnTo>
                  <a:lnTo>
                    <a:pt x="1980966" y="137114"/>
                  </a:lnTo>
                  <a:lnTo>
                    <a:pt x="1979694" y="137114"/>
                  </a:lnTo>
                  <a:lnTo>
                    <a:pt x="1979694" y="133217"/>
                  </a:lnTo>
                  <a:lnTo>
                    <a:pt x="1981961" y="133217"/>
                  </a:lnTo>
                  <a:close/>
                  <a:moveTo>
                    <a:pt x="2633305" y="174092"/>
                  </a:moveTo>
                  <a:lnTo>
                    <a:pt x="2633305" y="168084"/>
                  </a:lnTo>
                  <a:lnTo>
                    <a:pt x="2637315" y="168084"/>
                  </a:lnTo>
                  <a:lnTo>
                    <a:pt x="2637315" y="174092"/>
                  </a:lnTo>
                  <a:close/>
                  <a:moveTo>
                    <a:pt x="2626309" y="174092"/>
                  </a:moveTo>
                  <a:lnTo>
                    <a:pt x="2626309" y="168084"/>
                  </a:lnTo>
                  <a:lnTo>
                    <a:pt x="2631673" y="168084"/>
                  </a:lnTo>
                  <a:lnTo>
                    <a:pt x="2631673" y="174092"/>
                  </a:lnTo>
                  <a:close/>
                  <a:moveTo>
                    <a:pt x="2619728" y="174092"/>
                  </a:moveTo>
                  <a:lnTo>
                    <a:pt x="2619728" y="168084"/>
                  </a:lnTo>
                  <a:lnTo>
                    <a:pt x="2624125" y="168084"/>
                  </a:lnTo>
                  <a:lnTo>
                    <a:pt x="2624125" y="174092"/>
                  </a:lnTo>
                  <a:close/>
                  <a:moveTo>
                    <a:pt x="2639472" y="174110"/>
                  </a:moveTo>
                  <a:lnTo>
                    <a:pt x="2639472" y="168101"/>
                  </a:lnTo>
                  <a:lnTo>
                    <a:pt x="2643869" y="168101"/>
                  </a:lnTo>
                  <a:lnTo>
                    <a:pt x="2643869" y="174110"/>
                  </a:lnTo>
                  <a:close/>
                  <a:moveTo>
                    <a:pt x="2626724" y="185818"/>
                  </a:moveTo>
                  <a:lnTo>
                    <a:pt x="2626724" y="184770"/>
                  </a:lnTo>
                  <a:cubicBezTo>
                    <a:pt x="2626724" y="183036"/>
                    <a:pt x="2628991" y="181629"/>
                    <a:pt x="2631785" y="181629"/>
                  </a:cubicBezTo>
                  <a:cubicBezTo>
                    <a:pt x="2634578" y="181629"/>
                    <a:pt x="2636845" y="183036"/>
                    <a:pt x="2636845" y="184770"/>
                  </a:cubicBezTo>
                  <a:lnTo>
                    <a:pt x="2636872" y="184770"/>
                  </a:lnTo>
                  <a:lnTo>
                    <a:pt x="2636872" y="185818"/>
                  </a:lnTo>
                  <a:close/>
                  <a:moveTo>
                    <a:pt x="2626724" y="192118"/>
                  </a:moveTo>
                  <a:lnTo>
                    <a:pt x="2626724" y="188667"/>
                  </a:lnTo>
                  <a:lnTo>
                    <a:pt x="2636872" y="188667"/>
                  </a:lnTo>
                  <a:lnTo>
                    <a:pt x="2636872" y="192118"/>
                  </a:lnTo>
                  <a:close/>
                  <a:moveTo>
                    <a:pt x="2621165" y="235414"/>
                  </a:moveTo>
                  <a:lnTo>
                    <a:pt x="2621165" y="218882"/>
                  </a:lnTo>
                  <a:cubicBezTo>
                    <a:pt x="2621165" y="217319"/>
                    <a:pt x="2623212" y="216049"/>
                    <a:pt x="2625729" y="216049"/>
                  </a:cubicBezTo>
                  <a:cubicBezTo>
                    <a:pt x="2628245" y="216049"/>
                    <a:pt x="2630291" y="217319"/>
                    <a:pt x="2630291" y="218882"/>
                  </a:cubicBezTo>
                  <a:lnTo>
                    <a:pt x="2630319" y="218882"/>
                  </a:lnTo>
                  <a:lnTo>
                    <a:pt x="2630319" y="235414"/>
                  </a:lnTo>
                  <a:close/>
                  <a:moveTo>
                    <a:pt x="2633084" y="235431"/>
                  </a:moveTo>
                  <a:lnTo>
                    <a:pt x="2633084" y="218899"/>
                  </a:lnTo>
                  <a:cubicBezTo>
                    <a:pt x="2633084" y="217337"/>
                    <a:pt x="2635131" y="216066"/>
                    <a:pt x="2637675" y="216066"/>
                  </a:cubicBezTo>
                  <a:cubicBezTo>
                    <a:pt x="2640219" y="216066"/>
                    <a:pt x="2642237" y="217337"/>
                    <a:pt x="2642237" y="218899"/>
                  </a:cubicBezTo>
                  <a:lnTo>
                    <a:pt x="2642237" y="235431"/>
                  </a:lnTo>
                  <a:close/>
                  <a:moveTo>
                    <a:pt x="2600343" y="343396"/>
                  </a:moveTo>
                  <a:lnTo>
                    <a:pt x="2663253" y="343396"/>
                  </a:lnTo>
                  <a:lnTo>
                    <a:pt x="2660433" y="246641"/>
                  </a:lnTo>
                  <a:lnTo>
                    <a:pt x="2663254" y="245353"/>
                  </a:lnTo>
                  <a:lnTo>
                    <a:pt x="2663254" y="241559"/>
                  </a:lnTo>
                  <a:lnTo>
                    <a:pt x="2658332" y="240272"/>
                  </a:lnTo>
                  <a:lnTo>
                    <a:pt x="2658332" y="209543"/>
                  </a:lnTo>
                  <a:lnTo>
                    <a:pt x="2660433" y="208890"/>
                  </a:lnTo>
                  <a:lnTo>
                    <a:pt x="2660793" y="205096"/>
                  </a:lnTo>
                  <a:lnTo>
                    <a:pt x="2657281" y="205096"/>
                  </a:lnTo>
                  <a:lnTo>
                    <a:pt x="2657281" y="198710"/>
                  </a:lnTo>
                  <a:lnTo>
                    <a:pt x="2653852" y="196307"/>
                  </a:lnTo>
                  <a:lnTo>
                    <a:pt x="2655566" y="194264"/>
                  </a:lnTo>
                  <a:lnTo>
                    <a:pt x="2655566" y="191122"/>
                  </a:lnTo>
                  <a:lnTo>
                    <a:pt x="2652192" y="187980"/>
                  </a:lnTo>
                  <a:lnTo>
                    <a:pt x="2652192" y="181680"/>
                  </a:lnTo>
                  <a:lnTo>
                    <a:pt x="2654737" y="180479"/>
                  </a:lnTo>
                  <a:lnTo>
                    <a:pt x="2654737" y="178161"/>
                  </a:lnTo>
                  <a:lnTo>
                    <a:pt x="2652192" y="176221"/>
                  </a:lnTo>
                  <a:lnTo>
                    <a:pt x="2646690" y="176221"/>
                  </a:lnTo>
                  <a:lnTo>
                    <a:pt x="2646690" y="174092"/>
                  </a:lnTo>
                  <a:lnTo>
                    <a:pt x="2645362" y="174092"/>
                  </a:lnTo>
                  <a:lnTo>
                    <a:pt x="2645362" y="168084"/>
                  </a:lnTo>
                  <a:lnTo>
                    <a:pt x="2647906" y="168084"/>
                  </a:lnTo>
                  <a:lnTo>
                    <a:pt x="2647906" y="166333"/>
                  </a:lnTo>
                  <a:lnTo>
                    <a:pt x="2646552" y="166333"/>
                  </a:lnTo>
                  <a:cubicBezTo>
                    <a:pt x="2646552" y="166333"/>
                    <a:pt x="2645501" y="160032"/>
                    <a:pt x="2634025" y="157904"/>
                  </a:cubicBezTo>
                  <a:lnTo>
                    <a:pt x="2634025" y="151895"/>
                  </a:lnTo>
                  <a:lnTo>
                    <a:pt x="2632531" y="151895"/>
                  </a:lnTo>
                  <a:lnTo>
                    <a:pt x="2632531" y="150470"/>
                  </a:lnTo>
                  <a:cubicBezTo>
                    <a:pt x="2633305" y="150281"/>
                    <a:pt x="2633887" y="149784"/>
                    <a:pt x="2633887" y="149200"/>
                  </a:cubicBezTo>
                  <a:cubicBezTo>
                    <a:pt x="2633887" y="148445"/>
                    <a:pt x="2632946" y="147844"/>
                    <a:pt x="2631785" y="147844"/>
                  </a:cubicBezTo>
                  <a:cubicBezTo>
                    <a:pt x="2630623" y="147844"/>
                    <a:pt x="2629711" y="148462"/>
                    <a:pt x="2629711" y="149200"/>
                  </a:cubicBezTo>
                  <a:cubicBezTo>
                    <a:pt x="2629711" y="149732"/>
                    <a:pt x="2630181" y="150196"/>
                    <a:pt x="2630900" y="150419"/>
                  </a:cubicBezTo>
                  <a:lnTo>
                    <a:pt x="2630900" y="151878"/>
                  </a:lnTo>
                  <a:lnTo>
                    <a:pt x="2629572" y="151878"/>
                  </a:lnTo>
                  <a:lnTo>
                    <a:pt x="2629572" y="157886"/>
                  </a:lnTo>
                  <a:cubicBezTo>
                    <a:pt x="2618097" y="160015"/>
                    <a:pt x="2617046" y="166316"/>
                    <a:pt x="2617046" y="166316"/>
                  </a:cubicBezTo>
                  <a:lnTo>
                    <a:pt x="2615718" y="166316"/>
                  </a:lnTo>
                  <a:lnTo>
                    <a:pt x="2615718" y="168067"/>
                  </a:lnTo>
                  <a:lnTo>
                    <a:pt x="2618262" y="168067"/>
                  </a:lnTo>
                  <a:lnTo>
                    <a:pt x="2618262" y="174075"/>
                  </a:lnTo>
                  <a:lnTo>
                    <a:pt x="2616907" y="174075"/>
                  </a:lnTo>
                  <a:lnTo>
                    <a:pt x="2616907" y="176204"/>
                  </a:lnTo>
                  <a:lnTo>
                    <a:pt x="2611404" y="176204"/>
                  </a:lnTo>
                  <a:lnTo>
                    <a:pt x="2608860" y="178144"/>
                  </a:lnTo>
                  <a:lnTo>
                    <a:pt x="2608860" y="180461"/>
                  </a:lnTo>
                  <a:lnTo>
                    <a:pt x="2611404" y="181663"/>
                  </a:lnTo>
                  <a:lnTo>
                    <a:pt x="2611404" y="187964"/>
                  </a:lnTo>
                  <a:lnTo>
                    <a:pt x="2608058" y="191105"/>
                  </a:lnTo>
                  <a:lnTo>
                    <a:pt x="2608058" y="194247"/>
                  </a:lnTo>
                  <a:lnTo>
                    <a:pt x="2609773" y="196290"/>
                  </a:lnTo>
                  <a:lnTo>
                    <a:pt x="2606343" y="198693"/>
                  </a:lnTo>
                  <a:lnTo>
                    <a:pt x="2606343" y="205079"/>
                  </a:lnTo>
                  <a:lnTo>
                    <a:pt x="2602832" y="205079"/>
                  </a:lnTo>
                  <a:lnTo>
                    <a:pt x="2603191" y="208873"/>
                  </a:lnTo>
                  <a:lnTo>
                    <a:pt x="2605265" y="209525"/>
                  </a:lnTo>
                  <a:lnTo>
                    <a:pt x="2605265" y="240255"/>
                  </a:lnTo>
                  <a:lnTo>
                    <a:pt x="2600343" y="241543"/>
                  </a:lnTo>
                  <a:lnTo>
                    <a:pt x="2600343" y="245336"/>
                  </a:lnTo>
                  <a:lnTo>
                    <a:pt x="2603191" y="246624"/>
                  </a:lnTo>
                  <a:close/>
                  <a:moveTo>
                    <a:pt x="2663254" y="343412"/>
                  </a:moveTo>
                  <a:lnTo>
                    <a:pt x="2663281" y="343396"/>
                  </a:lnTo>
                  <a:lnTo>
                    <a:pt x="2663253" y="343396"/>
                  </a:lnTo>
                  <a:close/>
                  <a:moveTo>
                    <a:pt x="3500595" y="354125"/>
                  </a:moveTo>
                  <a:lnTo>
                    <a:pt x="3500595" y="319979"/>
                  </a:lnTo>
                  <a:cubicBezTo>
                    <a:pt x="3500595" y="315035"/>
                    <a:pt x="3506818" y="312099"/>
                    <a:pt x="3506818" y="312099"/>
                  </a:cubicBezTo>
                  <a:cubicBezTo>
                    <a:pt x="3506818" y="312099"/>
                    <a:pt x="3512791" y="315430"/>
                    <a:pt x="3513040" y="319979"/>
                  </a:cubicBezTo>
                  <a:lnTo>
                    <a:pt x="3513040" y="354125"/>
                  </a:lnTo>
                  <a:close/>
                  <a:moveTo>
                    <a:pt x="3478445" y="354125"/>
                  </a:moveTo>
                  <a:lnTo>
                    <a:pt x="3478445" y="319979"/>
                  </a:lnTo>
                  <a:cubicBezTo>
                    <a:pt x="3479330" y="314262"/>
                    <a:pt x="3484308" y="312099"/>
                    <a:pt x="3484308" y="312099"/>
                  </a:cubicBezTo>
                  <a:cubicBezTo>
                    <a:pt x="3484308" y="312099"/>
                    <a:pt x="3489645" y="314880"/>
                    <a:pt x="3490170" y="319979"/>
                  </a:cubicBezTo>
                  <a:lnTo>
                    <a:pt x="3490170" y="354125"/>
                  </a:lnTo>
                  <a:lnTo>
                    <a:pt x="3490142" y="354125"/>
                  </a:lnTo>
                  <a:close/>
                  <a:moveTo>
                    <a:pt x="3444598" y="355361"/>
                  </a:moveTo>
                  <a:lnTo>
                    <a:pt x="3444598" y="349661"/>
                  </a:lnTo>
                  <a:lnTo>
                    <a:pt x="3448082" y="349661"/>
                  </a:lnTo>
                  <a:lnTo>
                    <a:pt x="3448082" y="314983"/>
                  </a:lnTo>
                  <a:cubicBezTo>
                    <a:pt x="3427038" y="315928"/>
                    <a:pt x="3406435" y="317387"/>
                    <a:pt x="3386387" y="319241"/>
                  </a:cubicBezTo>
                  <a:close/>
                  <a:moveTo>
                    <a:pt x="3253126" y="363876"/>
                  </a:moveTo>
                  <a:lnTo>
                    <a:pt x="3288771" y="339893"/>
                  </a:lnTo>
                  <a:lnTo>
                    <a:pt x="3288771" y="331687"/>
                  </a:lnTo>
                  <a:cubicBezTo>
                    <a:pt x="3272151" y="334366"/>
                    <a:pt x="3256278" y="337215"/>
                    <a:pt x="3241290" y="340116"/>
                  </a:cubicBezTo>
                  <a:lnTo>
                    <a:pt x="3248508" y="341971"/>
                  </a:lnTo>
                  <a:lnTo>
                    <a:pt x="3243779" y="346674"/>
                  </a:lnTo>
                  <a:lnTo>
                    <a:pt x="3243752" y="346674"/>
                  </a:lnTo>
                  <a:lnTo>
                    <a:pt x="3247457" y="352614"/>
                  </a:lnTo>
                  <a:lnTo>
                    <a:pt x="3249393" y="355704"/>
                  </a:lnTo>
                  <a:lnTo>
                    <a:pt x="3251356" y="356116"/>
                  </a:lnTo>
                  <a:lnTo>
                    <a:pt x="3251356" y="360734"/>
                  </a:lnTo>
                  <a:lnTo>
                    <a:pt x="3253126" y="361284"/>
                  </a:lnTo>
                  <a:close/>
                  <a:moveTo>
                    <a:pt x="2638616" y="367154"/>
                  </a:moveTo>
                  <a:lnTo>
                    <a:pt x="2636320" y="362073"/>
                  </a:lnTo>
                  <a:lnTo>
                    <a:pt x="2640911" y="362073"/>
                  </a:lnTo>
                  <a:close/>
                  <a:moveTo>
                    <a:pt x="2671219" y="367738"/>
                  </a:moveTo>
                  <a:lnTo>
                    <a:pt x="2668205" y="362073"/>
                  </a:lnTo>
                  <a:lnTo>
                    <a:pt x="2674233" y="362073"/>
                  </a:lnTo>
                  <a:close/>
                  <a:moveTo>
                    <a:pt x="2606704" y="368081"/>
                  </a:moveTo>
                  <a:lnTo>
                    <a:pt x="2603137" y="362073"/>
                  </a:lnTo>
                  <a:lnTo>
                    <a:pt x="2610244" y="362073"/>
                  </a:lnTo>
                  <a:close/>
                  <a:moveTo>
                    <a:pt x="2590582" y="368820"/>
                  </a:moveTo>
                  <a:lnTo>
                    <a:pt x="2585273" y="362073"/>
                  </a:lnTo>
                  <a:lnTo>
                    <a:pt x="2595891" y="362073"/>
                  </a:lnTo>
                  <a:close/>
                  <a:moveTo>
                    <a:pt x="2623545" y="368940"/>
                  </a:moveTo>
                  <a:lnTo>
                    <a:pt x="2617793" y="362073"/>
                  </a:lnTo>
                  <a:lnTo>
                    <a:pt x="2629297" y="362073"/>
                  </a:lnTo>
                  <a:close/>
                  <a:moveTo>
                    <a:pt x="2654544" y="369077"/>
                  </a:moveTo>
                  <a:lnTo>
                    <a:pt x="2648267" y="362073"/>
                  </a:lnTo>
                  <a:lnTo>
                    <a:pt x="2660822" y="362073"/>
                  </a:lnTo>
                  <a:close/>
                  <a:moveTo>
                    <a:pt x="2583171" y="378193"/>
                  </a:moveTo>
                  <a:lnTo>
                    <a:pt x="2583171" y="364802"/>
                  </a:lnTo>
                  <a:lnTo>
                    <a:pt x="2588452" y="371497"/>
                  </a:lnTo>
                  <a:close/>
                  <a:moveTo>
                    <a:pt x="2676888" y="378331"/>
                  </a:moveTo>
                  <a:lnTo>
                    <a:pt x="2673237" y="371497"/>
                  </a:lnTo>
                  <a:lnTo>
                    <a:pt x="2676888" y="364665"/>
                  </a:lnTo>
                  <a:close/>
                  <a:moveTo>
                    <a:pt x="2632780" y="379978"/>
                  </a:moveTo>
                  <a:lnTo>
                    <a:pt x="2625674" y="371497"/>
                  </a:lnTo>
                  <a:lnTo>
                    <a:pt x="2632780" y="363017"/>
                  </a:lnTo>
                  <a:lnTo>
                    <a:pt x="2636625" y="371497"/>
                  </a:lnTo>
                  <a:close/>
                  <a:moveTo>
                    <a:pt x="2599541" y="380167"/>
                  </a:moveTo>
                  <a:lnTo>
                    <a:pt x="2592683" y="371497"/>
                  </a:lnTo>
                  <a:lnTo>
                    <a:pt x="2599541" y="362828"/>
                  </a:lnTo>
                  <a:lnTo>
                    <a:pt x="2604685" y="371497"/>
                  </a:lnTo>
                  <a:close/>
                  <a:moveTo>
                    <a:pt x="2644534" y="380201"/>
                  </a:moveTo>
                  <a:lnTo>
                    <a:pt x="2640579" y="371497"/>
                  </a:lnTo>
                  <a:lnTo>
                    <a:pt x="2644534" y="362794"/>
                  </a:lnTo>
                  <a:lnTo>
                    <a:pt x="2652360" y="371497"/>
                  </a:lnTo>
                  <a:close/>
                  <a:moveTo>
                    <a:pt x="2664555" y="380236"/>
                  </a:moveTo>
                  <a:lnTo>
                    <a:pt x="2656701" y="371497"/>
                  </a:lnTo>
                  <a:lnTo>
                    <a:pt x="2664555" y="362742"/>
                  </a:lnTo>
                  <a:lnTo>
                    <a:pt x="2669228" y="371497"/>
                  </a:lnTo>
                  <a:close/>
                  <a:moveTo>
                    <a:pt x="2613950" y="380356"/>
                  </a:moveTo>
                  <a:lnTo>
                    <a:pt x="2608695" y="371497"/>
                  </a:lnTo>
                  <a:lnTo>
                    <a:pt x="2613950" y="362622"/>
                  </a:lnTo>
                  <a:lnTo>
                    <a:pt x="2621388" y="371497"/>
                  </a:lnTo>
                  <a:close/>
                  <a:moveTo>
                    <a:pt x="2668205" y="380940"/>
                  </a:moveTo>
                  <a:lnTo>
                    <a:pt x="2671219" y="375257"/>
                  </a:lnTo>
                  <a:lnTo>
                    <a:pt x="2674260" y="380940"/>
                  </a:lnTo>
                  <a:close/>
                  <a:moveTo>
                    <a:pt x="2648239" y="380940"/>
                  </a:moveTo>
                  <a:lnTo>
                    <a:pt x="2654544" y="373918"/>
                  </a:lnTo>
                  <a:lnTo>
                    <a:pt x="2660849" y="380940"/>
                  </a:lnTo>
                  <a:lnTo>
                    <a:pt x="2648267" y="380940"/>
                  </a:lnTo>
                  <a:close/>
                  <a:moveTo>
                    <a:pt x="2636293" y="380940"/>
                  </a:moveTo>
                  <a:lnTo>
                    <a:pt x="2638616" y="375841"/>
                  </a:lnTo>
                  <a:lnTo>
                    <a:pt x="2640911" y="380940"/>
                  </a:lnTo>
                  <a:close/>
                  <a:moveTo>
                    <a:pt x="2617765" y="380940"/>
                  </a:moveTo>
                  <a:lnTo>
                    <a:pt x="2623545" y="374056"/>
                  </a:lnTo>
                  <a:lnTo>
                    <a:pt x="2629324" y="380940"/>
                  </a:lnTo>
                  <a:lnTo>
                    <a:pt x="2617793" y="380940"/>
                  </a:lnTo>
                  <a:close/>
                  <a:moveTo>
                    <a:pt x="2603109" y="380940"/>
                  </a:moveTo>
                  <a:lnTo>
                    <a:pt x="2606677" y="374914"/>
                  </a:lnTo>
                  <a:lnTo>
                    <a:pt x="2610244" y="380940"/>
                  </a:lnTo>
                  <a:close/>
                  <a:moveTo>
                    <a:pt x="2585245" y="380940"/>
                  </a:moveTo>
                  <a:lnTo>
                    <a:pt x="2590582" y="374176"/>
                  </a:lnTo>
                  <a:lnTo>
                    <a:pt x="2595919" y="380940"/>
                  </a:lnTo>
                  <a:close/>
                  <a:moveTo>
                    <a:pt x="1726583" y="402983"/>
                  </a:moveTo>
                  <a:lnTo>
                    <a:pt x="1734962" y="402983"/>
                  </a:lnTo>
                  <a:lnTo>
                    <a:pt x="1846238" y="402983"/>
                  </a:lnTo>
                  <a:lnTo>
                    <a:pt x="1846238" y="393489"/>
                  </a:lnTo>
                  <a:lnTo>
                    <a:pt x="1846238" y="384854"/>
                  </a:lnTo>
                  <a:lnTo>
                    <a:pt x="1860176" y="384854"/>
                  </a:lnTo>
                  <a:lnTo>
                    <a:pt x="1905305" y="384854"/>
                  </a:lnTo>
                  <a:lnTo>
                    <a:pt x="1902900" y="185045"/>
                  </a:lnTo>
                  <a:lnTo>
                    <a:pt x="1869827" y="185045"/>
                  </a:lnTo>
                  <a:lnTo>
                    <a:pt x="1869827" y="190590"/>
                  </a:lnTo>
                  <a:lnTo>
                    <a:pt x="1798371" y="190590"/>
                  </a:lnTo>
                  <a:lnTo>
                    <a:pt x="1798371" y="185045"/>
                  </a:lnTo>
                  <a:lnTo>
                    <a:pt x="1789439" y="185045"/>
                  </a:lnTo>
                  <a:lnTo>
                    <a:pt x="1789439" y="170075"/>
                  </a:lnTo>
                  <a:lnTo>
                    <a:pt x="1779622" y="170075"/>
                  </a:lnTo>
                  <a:lnTo>
                    <a:pt x="1779622" y="164530"/>
                  </a:lnTo>
                  <a:lnTo>
                    <a:pt x="1749231" y="164530"/>
                  </a:lnTo>
                  <a:lnTo>
                    <a:pt x="1694754" y="164530"/>
                  </a:lnTo>
                  <a:lnTo>
                    <a:pt x="1664363" y="164530"/>
                  </a:lnTo>
                  <a:lnTo>
                    <a:pt x="1664363" y="170075"/>
                  </a:lnTo>
                  <a:lnTo>
                    <a:pt x="1654547" y="170075"/>
                  </a:lnTo>
                  <a:lnTo>
                    <a:pt x="1654547" y="185045"/>
                  </a:lnTo>
                  <a:lnTo>
                    <a:pt x="1645615" y="185045"/>
                  </a:lnTo>
                  <a:lnTo>
                    <a:pt x="1645615" y="190590"/>
                  </a:lnTo>
                  <a:lnTo>
                    <a:pt x="1574131" y="190590"/>
                  </a:lnTo>
                  <a:lnTo>
                    <a:pt x="1574131" y="185045"/>
                  </a:lnTo>
                  <a:lnTo>
                    <a:pt x="1541085" y="185045"/>
                  </a:lnTo>
                  <a:lnTo>
                    <a:pt x="1541085" y="218126"/>
                  </a:lnTo>
                  <a:lnTo>
                    <a:pt x="1546007" y="218126"/>
                  </a:lnTo>
                  <a:lnTo>
                    <a:pt x="1546007" y="217903"/>
                  </a:lnTo>
                  <a:lnTo>
                    <a:pt x="1561216" y="217903"/>
                  </a:lnTo>
                  <a:lnTo>
                    <a:pt x="1566470" y="217903"/>
                  </a:lnTo>
                  <a:lnTo>
                    <a:pt x="1573605" y="217903"/>
                  </a:lnTo>
                  <a:lnTo>
                    <a:pt x="1578167" y="221303"/>
                  </a:lnTo>
                  <a:lnTo>
                    <a:pt x="1581099" y="223517"/>
                  </a:lnTo>
                  <a:lnTo>
                    <a:pt x="1592548" y="232083"/>
                  </a:lnTo>
                  <a:lnTo>
                    <a:pt x="1593764" y="232083"/>
                  </a:lnTo>
                  <a:lnTo>
                    <a:pt x="1594981" y="232083"/>
                  </a:lnTo>
                  <a:lnTo>
                    <a:pt x="1596751" y="232461"/>
                  </a:lnTo>
                  <a:lnTo>
                    <a:pt x="1596862" y="232409"/>
                  </a:lnTo>
                  <a:lnTo>
                    <a:pt x="1604826" y="233680"/>
                  </a:lnTo>
                  <a:lnTo>
                    <a:pt x="1609029" y="234332"/>
                  </a:lnTo>
                  <a:lnTo>
                    <a:pt x="1610107" y="233834"/>
                  </a:lnTo>
                  <a:lnTo>
                    <a:pt x="1618210" y="235929"/>
                  </a:lnTo>
                  <a:lnTo>
                    <a:pt x="1621999" y="236924"/>
                  </a:lnTo>
                  <a:lnTo>
                    <a:pt x="1625787" y="237903"/>
                  </a:lnTo>
                  <a:lnTo>
                    <a:pt x="1628276" y="239963"/>
                  </a:lnTo>
                  <a:lnTo>
                    <a:pt x="1631566" y="242693"/>
                  </a:lnTo>
                  <a:lnTo>
                    <a:pt x="1638535" y="248461"/>
                  </a:lnTo>
                  <a:lnTo>
                    <a:pt x="1632894" y="252958"/>
                  </a:lnTo>
                  <a:lnTo>
                    <a:pt x="1632894" y="255259"/>
                  </a:lnTo>
                  <a:lnTo>
                    <a:pt x="1639475" y="255259"/>
                  </a:lnTo>
                  <a:lnTo>
                    <a:pt x="1654657" y="255259"/>
                  </a:lnTo>
                  <a:lnTo>
                    <a:pt x="1668705" y="255259"/>
                  </a:lnTo>
                  <a:lnTo>
                    <a:pt x="1683858" y="255259"/>
                  </a:lnTo>
                  <a:lnTo>
                    <a:pt x="1698709" y="255259"/>
                  </a:lnTo>
                  <a:lnTo>
                    <a:pt x="1699317" y="255259"/>
                  </a:lnTo>
                  <a:lnTo>
                    <a:pt x="1714526" y="255259"/>
                  </a:lnTo>
                  <a:lnTo>
                    <a:pt x="1718370" y="255259"/>
                  </a:lnTo>
                  <a:lnTo>
                    <a:pt x="1722933" y="258555"/>
                  </a:lnTo>
                  <a:lnTo>
                    <a:pt x="1726832" y="261388"/>
                  </a:lnTo>
                  <a:lnTo>
                    <a:pt x="1735266" y="267482"/>
                  </a:lnTo>
                  <a:lnTo>
                    <a:pt x="1731090" y="270538"/>
                  </a:lnTo>
                  <a:lnTo>
                    <a:pt x="1740244" y="273577"/>
                  </a:lnTo>
                  <a:lnTo>
                    <a:pt x="1727745" y="282503"/>
                  </a:lnTo>
                  <a:lnTo>
                    <a:pt x="1726583" y="283344"/>
                  </a:lnTo>
                  <a:close/>
                  <a:moveTo>
                    <a:pt x="2103884" y="403000"/>
                  </a:moveTo>
                  <a:lnTo>
                    <a:pt x="2226526" y="403000"/>
                  </a:lnTo>
                  <a:lnTo>
                    <a:pt x="2226526" y="378056"/>
                  </a:lnTo>
                  <a:lnTo>
                    <a:pt x="2250695" y="378056"/>
                  </a:lnTo>
                  <a:cubicBezTo>
                    <a:pt x="2261674" y="363876"/>
                    <a:pt x="2278155" y="351773"/>
                    <a:pt x="2298756" y="342812"/>
                  </a:cubicBezTo>
                  <a:cubicBezTo>
                    <a:pt x="2300942" y="341867"/>
                    <a:pt x="2306555" y="339773"/>
                    <a:pt x="2308795" y="338915"/>
                  </a:cubicBezTo>
                  <a:lnTo>
                    <a:pt x="2305421" y="56875"/>
                  </a:lnTo>
                  <a:lnTo>
                    <a:pt x="2281474" y="56875"/>
                  </a:lnTo>
                  <a:lnTo>
                    <a:pt x="2281474" y="30798"/>
                  </a:lnTo>
                  <a:lnTo>
                    <a:pt x="2228102" y="30798"/>
                  </a:lnTo>
                  <a:lnTo>
                    <a:pt x="2228102" y="22970"/>
                  </a:lnTo>
                  <a:lnTo>
                    <a:pt x="2178105" y="22970"/>
                  </a:lnTo>
                  <a:lnTo>
                    <a:pt x="2178105" y="0"/>
                  </a:lnTo>
                  <a:lnTo>
                    <a:pt x="2173044" y="0"/>
                  </a:lnTo>
                  <a:lnTo>
                    <a:pt x="2173044" y="22953"/>
                  </a:lnTo>
                  <a:lnTo>
                    <a:pt x="2123047" y="22953"/>
                  </a:lnTo>
                  <a:lnTo>
                    <a:pt x="2123047" y="30781"/>
                  </a:lnTo>
                  <a:lnTo>
                    <a:pt x="2069677" y="30781"/>
                  </a:lnTo>
                  <a:lnTo>
                    <a:pt x="2069677" y="56858"/>
                  </a:lnTo>
                  <a:lnTo>
                    <a:pt x="2045729" y="56858"/>
                  </a:lnTo>
                  <a:lnTo>
                    <a:pt x="2043296" y="384648"/>
                  </a:lnTo>
                  <a:lnTo>
                    <a:pt x="2089974" y="384871"/>
                  </a:lnTo>
                  <a:lnTo>
                    <a:pt x="2103884" y="384871"/>
                  </a:lnTo>
                  <a:close/>
                  <a:moveTo>
                    <a:pt x="758305" y="434484"/>
                  </a:moveTo>
                  <a:lnTo>
                    <a:pt x="758111" y="421557"/>
                  </a:lnTo>
                  <a:lnTo>
                    <a:pt x="777081" y="418793"/>
                  </a:lnTo>
                  <a:close/>
                  <a:moveTo>
                    <a:pt x="926768" y="434519"/>
                  </a:moveTo>
                  <a:lnTo>
                    <a:pt x="926768" y="434501"/>
                  </a:lnTo>
                  <a:lnTo>
                    <a:pt x="907992" y="418810"/>
                  </a:lnTo>
                  <a:cubicBezTo>
                    <a:pt x="913826" y="419737"/>
                    <a:pt x="920159" y="420665"/>
                    <a:pt x="926962" y="421575"/>
                  </a:cubicBezTo>
                  <a:close/>
                  <a:moveTo>
                    <a:pt x="158975" y="434519"/>
                  </a:moveTo>
                  <a:lnTo>
                    <a:pt x="158975" y="434501"/>
                  </a:lnTo>
                  <a:lnTo>
                    <a:pt x="140199" y="418810"/>
                  </a:lnTo>
                  <a:cubicBezTo>
                    <a:pt x="146034" y="419737"/>
                    <a:pt x="152367" y="420665"/>
                    <a:pt x="159170" y="421575"/>
                  </a:cubicBezTo>
                  <a:close/>
                  <a:moveTo>
                    <a:pt x="812643" y="442655"/>
                  </a:moveTo>
                  <a:lnTo>
                    <a:pt x="783110" y="417815"/>
                  </a:lnTo>
                  <a:cubicBezTo>
                    <a:pt x="794447" y="415892"/>
                    <a:pt x="803877" y="413986"/>
                    <a:pt x="811675" y="412150"/>
                  </a:cubicBezTo>
                  <a:close/>
                  <a:moveTo>
                    <a:pt x="44823" y="442655"/>
                  </a:moveTo>
                  <a:lnTo>
                    <a:pt x="15289" y="417815"/>
                  </a:lnTo>
                  <a:cubicBezTo>
                    <a:pt x="26627" y="415892"/>
                    <a:pt x="36056" y="413986"/>
                    <a:pt x="43855" y="412150"/>
                  </a:cubicBezTo>
                  <a:close/>
                  <a:moveTo>
                    <a:pt x="872458" y="442673"/>
                  </a:moveTo>
                  <a:lnTo>
                    <a:pt x="873425" y="412166"/>
                  </a:lnTo>
                  <a:cubicBezTo>
                    <a:pt x="881223" y="413986"/>
                    <a:pt x="890653" y="415909"/>
                    <a:pt x="901991" y="417832"/>
                  </a:cubicBezTo>
                  <a:close/>
                  <a:moveTo>
                    <a:pt x="104637" y="442673"/>
                  </a:moveTo>
                  <a:lnTo>
                    <a:pt x="105605" y="412166"/>
                  </a:lnTo>
                  <a:cubicBezTo>
                    <a:pt x="113403" y="413986"/>
                    <a:pt x="122832" y="415909"/>
                    <a:pt x="134171" y="417832"/>
                  </a:cubicBezTo>
                  <a:close/>
                  <a:moveTo>
                    <a:pt x="870134" y="444184"/>
                  </a:moveTo>
                  <a:lnTo>
                    <a:pt x="846325" y="437591"/>
                  </a:lnTo>
                  <a:lnTo>
                    <a:pt x="846325" y="404115"/>
                  </a:lnTo>
                  <a:cubicBezTo>
                    <a:pt x="851358" y="406106"/>
                    <a:pt x="859239" y="408733"/>
                    <a:pt x="871158" y="411617"/>
                  </a:cubicBezTo>
                  <a:close/>
                  <a:moveTo>
                    <a:pt x="814966" y="444184"/>
                  </a:moveTo>
                  <a:lnTo>
                    <a:pt x="813943" y="411617"/>
                  </a:lnTo>
                  <a:cubicBezTo>
                    <a:pt x="825889" y="408733"/>
                    <a:pt x="833770" y="406106"/>
                    <a:pt x="838776" y="404115"/>
                  </a:cubicBezTo>
                  <a:lnTo>
                    <a:pt x="838776" y="437591"/>
                  </a:lnTo>
                  <a:close/>
                  <a:moveTo>
                    <a:pt x="102341" y="444184"/>
                  </a:moveTo>
                  <a:lnTo>
                    <a:pt x="78532" y="437591"/>
                  </a:lnTo>
                  <a:lnTo>
                    <a:pt x="78532" y="404115"/>
                  </a:lnTo>
                  <a:cubicBezTo>
                    <a:pt x="83565" y="406106"/>
                    <a:pt x="91447" y="408733"/>
                    <a:pt x="103364" y="411617"/>
                  </a:cubicBezTo>
                  <a:close/>
                  <a:moveTo>
                    <a:pt x="47174" y="444184"/>
                  </a:moveTo>
                  <a:lnTo>
                    <a:pt x="46151" y="411617"/>
                  </a:lnTo>
                  <a:cubicBezTo>
                    <a:pt x="58096" y="408733"/>
                    <a:pt x="65977" y="406106"/>
                    <a:pt x="71011" y="404115"/>
                  </a:cubicBezTo>
                  <a:lnTo>
                    <a:pt x="71011" y="437591"/>
                  </a:lnTo>
                  <a:lnTo>
                    <a:pt x="70983" y="437591"/>
                  </a:lnTo>
                  <a:close/>
                  <a:moveTo>
                    <a:pt x="1055605" y="461316"/>
                  </a:moveTo>
                  <a:lnTo>
                    <a:pt x="1055605" y="432029"/>
                  </a:lnTo>
                  <a:cubicBezTo>
                    <a:pt x="1063348" y="432373"/>
                    <a:pt x="1071367" y="432681"/>
                    <a:pt x="1079664" y="432974"/>
                  </a:cubicBezTo>
                  <a:close/>
                  <a:moveTo>
                    <a:pt x="287784" y="461316"/>
                  </a:moveTo>
                  <a:lnTo>
                    <a:pt x="287784" y="432029"/>
                  </a:lnTo>
                  <a:cubicBezTo>
                    <a:pt x="295528" y="432373"/>
                    <a:pt x="303547" y="432681"/>
                    <a:pt x="311843" y="432974"/>
                  </a:cubicBezTo>
                  <a:close/>
                  <a:moveTo>
                    <a:pt x="629496" y="461334"/>
                  </a:moveTo>
                  <a:lnTo>
                    <a:pt x="605438" y="432990"/>
                  </a:lnTo>
                  <a:cubicBezTo>
                    <a:pt x="613734" y="432699"/>
                    <a:pt x="621753" y="432390"/>
                    <a:pt x="629496" y="432046"/>
                  </a:cubicBezTo>
                  <a:close/>
                  <a:moveTo>
                    <a:pt x="1021204" y="461488"/>
                  </a:moveTo>
                  <a:lnTo>
                    <a:pt x="1021176" y="461471"/>
                  </a:lnTo>
                  <a:lnTo>
                    <a:pt x="1021176" y="461449"/>
                  </a:lnTo>
                  <a:lnTo>
                    <a:pt x="997119" y="428613"/>
                  </a:lnTo>
                  <a:cubicBezTo>
                    <a:pt x="1005027" y="429196"/>
                    <a:pt x="1013295" y="429763"/>
                    <a:pt x="1021979" y="430278"/>
                  </a:cubicBezTo>
                  <a:lnTo>
                    <a:pt x="1020845" y="430278"/>
                  </a:lnTo>
                  <a:cubicBezTo>
                    <a:pt x="1020845" y="430278"/>
                    <a:pt x="1021031" y="447824"/>
                    <a:pt x="1021125" y="456597"/>
                  </a:cubicBezTo>
                  <a:lnTo>
                    <a:pt x="1021176" y="461449"/>
                  </a:lnTo>
                  <a:close/>
                  <a:moveTo>
                    <a:pt x="253412" y="461488"/>
                  </a:moveTo>
                  <a:lnTo>
                    <a:pt x="229326" y="428613"/>
                  </a:lnTo>
                  <a:cubicBezTo>
                    <a:pt x="237234" y="429196"/>
                    <a:pt x="245531" y="429763"/>
                    <a:pt x="254213" y="430278"/>
                  </a:cubicBezTo>
                  <a:lnTo>
                    <a:pt x="253080" y="430278"/>
                  </a:lnTo>
                  <a:cubicBezTo>
                    <a:pt x="253080" y="430278"/>
                    <a:pt x="253412" y="461471"/>
                    <a:pt x="253412" y="461471"/>
                  </a:cubicBezTo>
                  <a:close/>
                  <a:moveTo>
                    <a:pt x="663841" y="461505"/>
                  </a:moveTo>
                  <a:lnTo>
                    <a:pt x="664173" y="430312"/>
                  </a:lnTo>
                  <a:lnTo>
                    <a:pt x="663039" y="430312"/>
                  </a:lnTo>
                  <a:lnTo>
                    <a:pt x="663067" y="430295"/>
                  </a:lnTo>
                  <a:cubicBezTo>
                    <a:pt x="671750" y="429763"/>
                    <a:pt x="680046" y="429214"/>
                    <a:pt x="687927" y="428630"/>
                  </a:cubicBezTo>
                  <a:close/>
                  <a:moveTo>
                    <a:pt x="1109473" y="462140"/>
                  </a:moveTo>
                  <a:lnTo>
                    <a:pt x="1084890" y="433145"/>
                  </a:lnTo>
                  <a:cubicBezTo>
                    <a:pt x="1092715" y="433403"/>
                    <a:pt x="1100818" y="433626"/>
                    <a:pt x="1109170" y="433832"/>
                  </a:cubicBezTo>
                  <a:close/>
                  <a:moveTo>
                    <a:pt x="341681" y="462140"/>
                  </a:moveTo>
                  <a:lnTo>
                    <a:pt x="317070" y="433145"/>
                  </a:lnTo>
                  <a:cubicBezTo>
                    <a:pt x="324923" y="433403"/>
                    <a:pt x="332998" y="433626"/>
                    <a:pt x="341349" y="433832"/>
                  </a:cubicBezTo>
                  <a:close/>
                  <a:moveTo>
                    <a:pt x="575627" y="462158"/>
                  </a:moveTo>
                  <a:lnTo>
                    <a:pt x="575932" y="433849"/>
                  </a:lnTo>
                  <a:cubicBezTo>
                    <a:pt x="584283" y="433643"/>
                    <a:pt x="592385" y="433420"/>
                    <a:pt x="600211" y="433162"/>
                  </a:cubicBezTo>
                  <a:close/>
                  <a:moveTo>
                    <a:pt x="963962" y="462553"/>
                  </a:moveTo>
                  <a:lnTo>
                    <a:pt x="963879" y="425780"/>
                  </a:lnTo>
                  <a:cubicBezTo>
                    <a:pt x="972673" y="426639"/>
                    <a:pt x="982020" y="427463"/>
                    <a:pt x="992030" y="428235"/>
                  </a:cubicBezTo>
                  <a:close/>
                  <a:moveTo>
                    <a:pt x="721139" y="462553"/>
                  </a:moveTo>
                  <a:lnTo>
                    <a:pt x="693071" y="428235"/>
                  </a:lnTo>
                  <a:cubicBezTo>
                    <a:pt x="703082" y="427463"/>
                    <a:pt x="712455" y="426639"/>
                    <a:pt x="721222" y="425780"/>
                  </a:cubicBezTo>
                  <a:close/>
                  <a:moveTo>
                    <a:pt x="196142" y="462553"/>
                  </a:moveTo>
                  <a:lnTo>
                    <a:pt x="196059" y="425780"/>
                  </a:lnTo>
                  <a:cubicBezTo>
                    <a:pt x="204852" y="426639"/>
                    <a:pt x="214199" y="427463"/>
                    <a:pt x="224209" y="428235"/>
                  </a:cubicBezTo>
                  <a:close/>
                  <a:moveTo>
                    <a:pt x="1171582" y="462604"/>
                  </a:moveTo>
                  <a:lnTo>
                    <a:pt x="1170671" y="434741"/>
                  </a:lnTo>
                  <a:lnTo>
                    <a:pt x="1170643" y="434741"/>
                  </a:lnTo>
                  <a:lnTo>
                    <a:pt x="1170671" y="434725"/>
                  </a:lnTo>
                  <a:lnTo>
                    <a:pt x="1170671" y="434741"/>
                  </a:lnTo>
                  <a:lnTo>
                    <a:pt x="1194977" y="434810"/>
                  </a:lnTo>
                  <a:close/>
                  <a:moveTo>
                    <a:pt x="403763" y="462604"/>
                  </a:moveTo>
                  <a:lnTo>
                    <a:pt x="402822" y="434741"/>
                  </a:lnTo>
                  <a:lnTo>
                    <a:pt x="427157" y="434810"/>
                  </a:lnTo>
                  <a:close/>
                  <a:moveTo>
                    <a:pt x="513518" y="462639"/>
                  </a:moveTo>
                  <a:lnTo>
                    <a:pt x="513518" y="462621"/>
                  </a:lnTo>
                  <a:lnTo>
                    <a:pt x="490096" y="434827"/>
                  </a:lnTo>
                  <a:cubicBezTo>
                    <a:pt x="498392" y="434827"/>
                    <a:pt x="506494" y="434810"/>
                    <a:pt x="514431" y="434759"/>
                  </a:cubicBezTo>
                  <a:close/>
                  <a:moveTo>
                    <a:pt x="1169315" y="462913"/>
                  </a:moveTo>
                  <a:lnTo>
                    <a:pt x="1143404" y="434467"/>
                  </a:lnTo>
                  <a:cubicBezTo>
                    <a:pt x="1151534" y="434587"/>
                    <a:pt x="1159858" y="434656"/>
                    <a:pt x="1168375" y="434725"/>
                  </a:cubicBezTo>
                  <a:close/>
                  <a:moveTo>
                    <a:pt x="515758" y="462913"/>
                  </a:moveTo>
                  <a:lnTo>
                    <a:pt x="516698" y="434725"/>
                  </a:lnTo>
                  <a:cubicBezTo>
                    <a:pt x="525243" y="434673"/>
                    <a:pt x="533566" y="434587"/>
                    <a:pt x="541669" y="434467"/>
                  </a:cubicBezTo>
                  <a:close/>
                  <a:moveTo>
                    <a:pt x="401494" y="462913"/>
                  </a:moveTo>
                  <a:lnTo>
                    <a:pt x="375556" y="434467"/>
                  </a:lnTo>
                  <a:lnTo>
                    <a:pt x="375584" y="434467"/>
                  </a:lnTo>
                  <a:cubicBezTo>
                    <a:pt x="383713" y="434587"/>
                    <a:pt x="392037" y="434656"/>
                    <a:pt x="400554" y="434725"/>
                  </a:cubicBezTo>
                  <a:close/>
                  <a:moveTo>
                    <a:pt x="1023500" y="463222"/>
                  </a:moveTo>
                  <a:lnTo>
                    <a:pt x="1023140" y="430347"/>
                  </a:lnTo>
                  <a:cubicBezTo>
                    <a:pt x="1031961" y="430879"/>
                    <a:pt x="1041169" y="431360"/>
                    <a:pt x="1050821" y="431806"/>
                  </a:cubicBezTo>
                  <a:close/>
                  <a:moveTo>
                    <a:pt x="255707" y="463222"/>
                  </a:moveTo>
                  <a:lnTo>
                    <a:pt x="255347" y="430349"/>
                  </a:lnTo>
                  <a:lnTo>
                    <a:pt x="255319" y="430347"/>
                  </a:lnTo>
                  <a:lnTo>
                    <a:pt x="255347" y="430347"/>
                  </a:lnTo>
                  <a:lnTo>
                    <a:pt x="255347" y="430349"/>
                  </a:lnTo>
                  <a:lnTo>
                    <a:pt x="283001" y="431806"/>
                  </a:lnTo>
                  <a:close/>
                  <a:moveTo>
                    <a:pt x="661574" y="463239"/>
                  </a:moveTo>
                  <a:lnTo>
                    <a:pt x="634252" y="431823"/>
                  </a:lnTo>
                  <a:cubicBezTo>
                    <a:pt x="643903" y="431377"/>
                    <a:pt x="653112" y="430896"/>
                    <a:pt x="661933" y="430364"/>
                  </a:cubicBezTo>
                  <a:close/>
                  <a:moveTo>
                    <a:pt x="1111769" y="463290"/>
                  </a:moveTo>
                  <a:lnTo>
                    <a:pt x="1111437" y="433883"/>
                  </a:lnTo>
                  <a:cubicBezTo>
                    <a:pt x="1119899" y="434072"/>
                    <a:pt x="1128610" y="434244"/>
                    <a:pt x="1137597" y="434381"/>
                  </a:cubicBezTo>
                  <a:close/>
                  <a:moveTo>
                    <a:pt x="343948" y="463290"/>
                  </a:moveTo>
                  <a:lnTo>
                    <a:pt x="343616" y="433883"/>
                  </a:lnTo>
                  <a:cubicBezTo>
                    <a:pt x="352078" y="434072"/>
                    <a:pt x="360817" y="434244"/>
                    <a:pt x="369776" y="434381"/>
                  </a:cubicBezTo>
                  <a:close/>
                  <a:moveTo>
                    <a:pt x="573304" y="463308"/>
                  </a:moveTo>
                  <a:lnTo>
                    <a:pt x="573304" y="463277"/>
                  </a:lnTo>
                  <a:lnTo>
                    <a:pt x="547476" y="434398"/>
                  </a:lnTo>
                  <a:cubicBezTo>
                    <a:pt x="556464" y="434261"/>
                    <a:pt x="565174" y="434089"/>
                    <a:pt x="573637" y="433900"/>
                  </a:cubicBezTo>
                  <a:lnTo>
                    <a:pt x="573304" y="463277"/>
                  </a:lnTo>
                  <a:lnTo>
                    <a:pt x="573332" y="463308"/>
                  </a:lnTo>
                  <a:close/>
                  <a:moveTo>
                    <a:pt x="961666" y="463685"/>
                  </a:moveTo>
                  <a:lnTo>
                    <a:pt x="961666" y="463662"/>
                  </a:lnTo>
                  <a:lnTo>
                    <a:pt x="929008" y="436355"/>
                  </a:lnTo>
                  <a:lnTo>
                    <a:pt x="929230" y="421849"/>
                  </a:lnTo>
                  <a:cubicBezTo>
                    <a:pt x="939296" y="423171"/>
                    <a:pt x="950440" y="424441"/>
                    <a:pt x="962717" y="425660"/>
                  </a:cubicBezTo>
                  <a:lnTo>
                    <a:pt x="961584" y="425660"/>
                  </a:lnTo>
                  <a:lnTo>
                    <a:pt x="961666" y="463662"/>
                  </a:lnTo>
                  <a:lnTo>
                    <a:pt x="961694" y="463685"/>
                  </a:lnTo>
                  <a:close/>
                  <a:moveTo>
                    <a:pt x="193846" y="463685"/>
                  </a:moveTo>
                  <a:lnTo>
                    <a:pt x="193846" y="463663"/>
                  </a:lnTo>
                  <a:lnTo>
                    <a:pt x="161187" y="436355"/>
                  </a:lnTo>
                  <a:lnTo>
                    <a:pt x="161437" y="421849"/>
                  </a:lnTo>
                  <a:cubicBezTo>
                    <a:pt x="171503" y="423171"/>
                    <a:pt x="182619" y="424441"/>
                    <a:pt x="194925" y="425660"/>
                  </a:cubicBezTo>
                  <a:lnTo>
                    <a:pt x="193763" y="425660"/>
                  </a:lnTo>
                  <a:lnTo>
                    <a:pt x="193846" y="463663"/>
                  </a:lnTo>
                  <a:lnTo>
                    <a:pt x="193874" y="463685"/>
                  </a:lnTo>
                  <a:close/>
                  <a:moveTo>
                    <a:pt x="723406" y="463703"/>
                  </a:moveTo>
                  <a:lnTo>
                    <a:pt x="723489" y="425677"/>
                  </a:lnTo>
                  <a:lnTo>
                    <a:pt x="722355" y="425677"/>
                  </a:lnTo>
                  <a:cubicBezTo>
                    <a:pt x="734661" y="424476"/>
                    <a:pt x="745778" y="423188"/>
                    <a:pt x="755844" y="421866"/>
                  </a:cubicBezTo>
                  <a:lnTo>
                    <a:pt x="756092" y="436372"/>
                  </a:lnTo>
                  <a:close/>
                  <a:moveTo>
                    <a:pt x="1141220" y="464355"/>
                  </a:moveTo>
                  <a:lnTo>
                    <a:pt x="1141220" y="437900"/>
                  </a:lnTo>
                  <a:lnTo>
                    <a:pt x="1165333" y="464355"/>
                  </a:lnTo>
                  <a:close/>
                  <a:moveTo>
                    <a:pt x="1116110" y="464355"/>
                  </a:moveTo>
                  <a:lnTo>
                    <a:pt x="1138951" y="438810"/>
                  </a:lnTo>
                  <a:lnTo>
                    <a:pt x="1138951" y="464355"/>
                  </a:lnTo>
                  <a:close/>
                  <a:moveTo>
                    <a:pt x="373399" y="464355"/>
                  </a:moveTo>
                  <a:lnTo>
                    <a:pt x="373399" y="437900"/>
                  </a:lnTo>
                  <a:lnTo>
                    <a:pt x="397485" y="464355"/>
                  </a:lnTo>
                  <a:close/>
                  <a:moveTo>
                    <a:pt x="348290" y="464355"/>
                  </a:moveTo>
                  <a:lnTo>
                    <a:pt x="371132" y="438810"/>
                  </a:lnTo>
                  <a:lnTo>
                    <a:pt x="371132" y="464355"/>
                  </a:lnTo>
                  <a:close/>
                  <a:moveTo>
                    <a:pt x="1198102" y="464372"/>
                  </a:moveTo>
                  <a:lnTo>
                    <a:pt x="1197798" y="438330"/>
                  </a:lnTo>
                  <a:lnTo>
                    <a:pt x="1218649" y="464372"/>
                  </a:lnTo>
                  <a:close/>
                  <a:moveTo>
                    <a:pt x="1175315" y="464372"/>
                  </a:moveTo>
                  <a:lnTo>
                    <a:pt x="1195586" y="440304"/>
                  </a:lnTo>
                  <a:lnTo>
                    <a:pt x="1195862" y="464372"/>
                  </a:lnTo>
                  <a:lnTo>
                    <a:pt x="1175344" y="464372"/>
                  </a:lnTo>
                  <a:close/>
                  <a:moveTo>
                    <a:pt x="1082401" y="464372"/>
                  </a:moveTo>
                  <a:lnTo>
                    <a:pt x="1082705" y="436750"/>
                  </a:lnTo>
                  <a:lnTo>
                    <a:pt x="1106127" y="464372"/>
                  </a:lnTo>
                  <a:close/>
                  <a:moveTo>
                    <a:pt x="1058232" y="464372"/>
                  </a:moveTo>
                  <a:lnTo>
                    <a:pt x="1080410" y="438226"/>
                  </a:lnTo>
                  <a:lnTo>
                    <a:pt x="1080133" y="464372"/>
                  </a:lnTo>
                  <a:close/>
                  <a:moveTo>
                    <a:pt x="1027758" y="464372"/>
                  </a:moveTo>
                  <a:lnTo>
                    <a:pt x="1051070" y="437557"/>
                  </a:lnTo>
                  <a:lnTo>
                    <a:pt x="1051070" y="464372"/>
                  </a:lnTo>
                  <a:close/>
                  <a:moveTo>
                    <a:pt x="546149" y="464372"/>
                  </a:moveTo>
                  <a:lnTo>
                    <a:pt x="546149" y="438827"/>
                  </a:lnTo>
                  <a:lnTo>
                    <a:pt x="568991" y="464372"/>
                  </a:lnTo>
                  <a:close/>
                  <a:moveTo>
                    <a:pt x="519768" y="464372"/>
                  </a:moveTo>
                  <a:lnTo>
                    <a:pt x="543881" y="437918"/>
                  </a:lnTo>
                  <a:lnTo>
                    <a:pt x="543881" y="464372"/>
                  </a:lnTo>
                  <a:close/>
                  <a:moveTo>
                    <a:pt x="489238" y="464372"/>
                  </a:moveTo>
                  <a:lnTo>
                    <a:pt x="489515" y="440304"/>
                  </a:lnTo>
                  <a:lnTo>
                    <a:pt x="509785" y="464372"/>
                  </a:lnTo>
                  <a:lnTo>
                    <a:pt x="489266" y="464372"/>
                  </a:lnTo>
                  <a:close/>
                  <a:moveTo>
                    <a:pt x="466425" y="464372"/>
                  </a:moveTo>
                  <a:lnTo>
                    <a:pt x="487275" y="438330"/>
                  </a:lnTo>
                  <a:lnTo>
                    <a:pt x="486971" y="464372"/>
                  </a:lnTo>
                  <a:close/>
                  <a:moveTo>
                    <a:pt x="460921" y="464372"/>
                  </a:moveTo>
                  <a:lnTo>
                    <a:pt x="460921" y="434725"/>
                  </a:lnTo>
                  <a:cubicBezTo>
                    <a:pt x="468997" y="434776"/>
                    <a:pt x="477043" y="434810"/>
                    <a:pt x="484925" y="434810"/>
                  </a:cubicBezTo>
                  <a:lnTo>
                    <a:pt x="461281" y="464372"/>
                  </a:lnTo>
                  <a:close/>
                  <a:moveTo>
                    <a:pt x="455972" y="464372"/>
                  </a:moveTo>
                  <a:lnTo>
                    <a:pt x="432328" y="434810"/>
                  </a:lnTo>
                  <a:cubicBezTo>
                    <a:pt x="440209" y="434810"/>
                    <a:pt x="448256" y="434776"/>
                    <a:pt x="456331" y="434725"/>
                  </a:cubicBezTo>
                  <a:lnTo>
                    <a:pt x="456331" y="464372"/>
                  </a:lnTo>
                  <a:close/>
                  <a:moveTo>
                    <a:pt x="430282" y="464372"/>
                  </a:moveTo>
                  <a:lnTo>
                    <a:pt x="430005" y="438330"/>
                  </a:lnTo>
                  <a:lnTo>
                    <a:pt x="450856" y="464372"/>
                  </a:lnTo>
                  <a:lnTo>
                    <a:pt x="430309" y="464372"/>
                  </a:lnTo>
                  <a:close/>
                  <a:moveTo>
                    <a:pt x="407496" y="464372"/>
                  </a:moveTo>
                  <a:lnTo>
                    <a:pt x="427765" y="440304"/>
                  </a:lnTo>
                  <a:lnTo>
                    <a:pt x="428042" y="464372"/>
                  </a:lnTo>
                  <a:lnTo>
                    <a:pt x="407523" y="464372"/>
                  </a:lnTo>
                  <a:close/>
                  <a:moveTo>
                    <a:pt x="314608" y="464372"/>
                  </a:moveTo>
                  <a:lnTo>
                    <a:pt x="314913" y="436750"/>
                  </a:lnTo>
                  <a:lnTo>
                    <a:pt x="338334" y="464372"/>
                  </a:lnTo>
                  <a:close/>
                  <a:moveTo>
                    <a:pt x="290439" y="464372"/>
                  </a:moveTo>
                  <a:lnTo>
                    <a:pt x="312617" y="438226"/>
                  </a:lnTo>
                  <a:lnTo>
                    <a:pt x="312341" y="464372"/>
                  </a:lnTo>
                  <a:close/>
                  <a:moveTo>
                    <a:pt x="259938" y="464372"/>
                  </a:moveTo>
                  <a:lnTo>
                    <a:pt x="283249" y="437557"/>
                  </a:lnTo>
                  <a:lnTo>
                    <a:pt x="283249" y="464372"/>
                  </a:lnTo>
                  <a:close/>
                  <a:moveTo>
                    <a:pt x="994574" y="464389"/>
                  </a:moveTo>
                  <a:lnTo>
                    <a:pt x="995183" y="432870"/>
                  </a:lnTo>
                  <a:lnTo>
                    <a:pt x="1018301" y="464389"/>
                  </a:lnTo>
                  <a:close/>
                  <a:moveTo>
                    <a:pt x="967640" y="464389"/>
                  </a:moveTo>
                  <a:lnTo>
                    <a:pt x="992915" y="433489"/>
                  </a:lnTo>
                  <a:lnTo>
                    <a:pt x="992335" y="464389"/>
                  </a:lnTo>
                  <a:close/>
                  <a:moveTo>
                    <a:pt x="928565" y="464389"/>
                  </a:moveTo>
                  <a:lnTo>
                    <a:pt x="928925" y="441179"/>
                  </a:lnTo>
                  <a:lnTo>
                    <a:pt x="956662" y="464389"/>
                  </a:lnTo>
                  <a:close/>
                  <a:moveTo>
                    <a:pt x="904452" y="464389"/>
                  </a:moveTo>
                  <a:lnTo>
                    <a:pt x="905503" y="421591"/>
                  </a:lnTo>
                  <a:lnTo>
                    <a:pt x="926686" y="439308"/>
                  </a:lnTo>
                  <a:lnTo>
                    <a:pt x="926298" y="464372"/>
                  </a:lnTo>
                  <a:lnTo>
                    <a:pt x="926298" y="464389"/>
                  </a:lnTo>
                  <a:close/>
                  <a:moveTo>
                    <a:pt x="894386" y="464389"/>
                  </a:moveTo>
                  <a:lnTo>
                    <a:pt x="875085" y="445677"/>
                  </a:lnTo>
                  <a:lnTo>
                    <a:pt x="874172" y="446124"/>
                  </a:lnTo>
                  <a:lnTo>
                    <a:pt x="903290" y="421643"/>
                  </a:lnTo>
                  <a:lnTo>
                    <a:pt x="902212" y="464389"/>
                  </a:lnTo>
                  <a:lnTo>
                    <a:pt x="902184" y="464389"/>
                  </a:lnTo>
                  <a:close/>
                  <a:moveTo>
                    <a:pt x="852437" y="464389"/>
                  </a:moveTo>
                  <a:lnTo>
                    <a:pt x="869969" y="449643"/>
                  </a:lnTo>
                  <a:lnTo>
                    <a:pt x="869498" y="464389"/>
                  </a:lnTo>
                  <a:close/>
                  <a:moveTo>
                    <a:pt x="846325" y="464389"/>
                  </a:moveTo>
                  <a:lnTo>
                    <a:pt x="846325" y="439256"/>
                  </a:lnTo>
                  <a:lnTo>
                    <a:pt x="869028" y="445540"/>
                  </a:lnTo>
                  <a:lnTo>
                    <a:pt x="846601" y="464389"/>
                  </a:lnTo>
                  <a:close/>
                  <a:moveTo>
                    <a:pt x="838471" y="464389"/>
                  </a:moveTo>
                  <a:lnTo>
                    <a:pt x="816072" y="445540"/>
                  </a:lnTo>
                  <a:lnTo>
                    <a:pt x="838776" y="439256"/>
                  </a:lnTo>
                  <a:lnTo>
                    <a:pt x="838776" y="464389"/>
                  </a:lnTo>
                  <a:close/>
                  <a:moveTo>
                    <a:pt x="815603" y="464389"/>
                  </a:moveTo>
                  <a:lnTo>
                    <a:pt x="815132" y="449643"/>
                  </a:lnTo>
                  <a:lnTo>
                    <a:pt x="832664" y="464389"/>
                  </a:lnTo>
                  <a:close/>
                  <a:moveTo>
                    <a:pt x="793480" y="464389"/>
                  </a:moveTo>
                  <a:lnTo>
                    <a:pt x="811675" y="446759"/>
                  </a:lnTo>
                  <a:cubicBezTo>
                    <a:pt x="811675" y="446759"/>
                    <a:pt x="812781" y="447685"/>
                    <a:pt x="812781" y="447685"/>
                  </a:cubicBezTo>
                  <a:lnTo>
                    <a:pt x="813307" y="464389"/>
                  </a:lnTo>
                  <a:close/>
                  <a:moveTo>
                    <a:pt x="782916" y="464389"/>
                  </a:moveTo>
                  <a:lnTo>
                    <a:pt x="781865" y="421643"/>
                  </a:lnTo>
                  <a:lnTo>
                    <a:pt x="810984" y="446124"/>
                  </a:lnTo>
                  <a:lnTo>
                    <a:pt x="810072" y="445677"/>
                  </a:lnTo>
                  <a:lnTo>
                    <a:pt x="790742" y="464389"/>
                  </a:lnTo>
                  <a:lnTo>
                    <a:pt x="782943" y="464389"/>
                  </a:lnTo>
                  <a:close/>
                  <a:moveTo>
                    <a:pt x="728412" y="464389"/>
                  </a:moveTo>
                  <a:lnTo>
                    <a:pt x="756148" y="441179"/>
                  </a:lnTo>
                  <a:lnTo>
                    <a:pt x="756507" y="464389"/>
                  </a:lnTo>
                  <a:close/>
                  <a:moveTo>
                    <a:pt x="692766" y="464389"/>
                  </a:moveTo>
                  <a:lnTo>
                    <a:pt x="692186" y="433489"/>
                  </a:lnTo>
                  <a:lnTo>
                    <a:pt x="717461" y="464389"/>
                  </a:lnTo>
                  <a:close/>
                  <a:moveTo>
                    <a:pt x="666800" y="464389"/>
                  </a:moveTo>
                  <a:lnTo>
                    <a:pt x="689891" y="432870"/>
                  </a:lnTo>
                  <a:lnTo>
                    <a:pt x="690499" y="464389"/>
                  </a:lnTo>
                  <a:close/>
                  <a:moveTo>
                    <a:pt x="634003" y="464389"/>
                  </a:moveTo>
                  <a:lnTo>
                    <a:pt x="634003" y="437574"/>
                  </a:lnTo>
                  <a:lnTo>
                    <a:pt x="657315" y="464389"/>
                  </a:lnTo>
                  <a:close/>
                  <a:moveTo>
                    <a:pt x="604940" y="464389"/>
                  </a:moveTo>
                  <a:lnTo>
                    <a:pt x="604663" y="438244"/>
                  </a:lnTo>
                  <a:lnTo>
                    <a:pt x="626841" y="464389"/>
                  </a:lnTo>
                  <a:close/>
                  <a:moveTo>
                    <a:pt x="578946" y="464389"/>
                  </a:moveTo>
                  <a:lnTo>
                    <a:pt x="602368" y="436767"/>
                  </a:lnTo>
                  <a:lnTo>
                    <a:pt x="602672" y="464389"/>
                  </a:lnTo>
                  <a:close/>
                  <a:moveTo>
                    <a:pt x="226781" y="464389"/>
                  </a:moveTo>
                  <a:lnTo>
                    <a:pt x="227390" y="432870"/>
                  </a:lnTo>
                  <a:lnTo>
                    <a:pt x="250508" y="464389"/>
                  </a:lnTo>
                  <a:lnTo>
                    <a:pt x="226809" y="464389"/>
                  </a:lnTo>
                  <a:close/>
                  <a:moveTo>
                    <a:pt x="199820" y="464389"/>
                  </a:moveTo>
                  <a:lnTo>
                    <a:pt x="225095" y="433489"/>
                  </a:lnTo>
                  <a:lnTo>
                    <a:pt x="224486" y="464389"/>
                  </a:lnTo>
                  <a:close/>
                  <a:moveTo>
                    <a:pt x="160746" y="464389"/>
                  </a:moveTo>
                  <a:lnTo>
                    <a:pt x="161105" y="441179"/>
                  </a:lnTo>
                  <a:lnTo>
                    <a:pt x="188841" y="464389"/>
                  </a:lnTo>
                  <a:close/>
                  <a:moveTo>
                    <a:pt x="136660" y="464389"/>
                  </a:moveTo>
                  <a:lnTo>
                    <a:pt x="137711" y="421591"/>
                  </a:lnTo>
                  <a:lnTo>
                    <a:pt x="158920" y="439308"/>
                  </a:lnTo>
                  <a:lnTo>
                    <a:pt x="158505" y="464372"/>
                  </a:lnTo>
                  <a:lnTo>
                    <a:pt x="158505" y="464389"/>
                  </a:lnTo>
                  <a:close/>
                  <a:moveTo>
                    <a:pt x="126594" y="464389"/>
                  </a:moveTo>
                  <a:lnTo>
                    <a:pt x="107292" y="445677"/>
                  </a:lnTo>
                  <a:lnTo>
                    <a:pt x="106379" y="446124"/>
                  </a:lnTo>
                  <a:lnTo>
                    <a:pt x="135470" y="421643"/>
                  </a:lnTo>
                  <a:lnTo>
                    <a:pt x="134419" y="464389"/>
                  </a:lnTo>
                  <a:lnTo>
                    <a:pt x="134391" y="464389"/>
                  </a:lnTo>
                  <a:close/>
                  <a:moveTo>
                    <a:pt x="84644" y="464389"/>
                  </a:moveTo>
                  <a:lnTo>
                    <a:pt x="102176" y="449643"/>
                  </a:lnTo>
                  <a:lnTo>
                    <a:pt x="101705" y="464389"/>
                  </a:lnTo>
                  <a:close/>
                  <a:moveTo>
                    <a:pt x="78504" y="464389"/>
                  </a:moveTo>
                  <a:lnTo>
                    <a:pt x="78504" y="439256"/>
                  </a:lnTo>
                  <a:lnTo>
                    <a:pt x="101208" y="445540"/>
                  </a:lnTo>
                  <a:lnTo>
                    <a:pt x="78781" y="464389"/>
                  </a:lnTo>
                  <a:close/>
                  <a:moveTo>
                    <a:pt x="70678" y="464389"/>
                  </a:moveTo>
                  <a:lnTo>
                    <a:pt x="48280" y="445540"/>
                  </a:lnTo>
                  <a:lnTo>
                    <a:pt x="70983" y="439256"/>
                  </a:lnTo>
                  <a:lnTo>
                    <a:pt x="70983" y="464389"/>
                  </a:lnTo>
                  <a:close/>
                  <a:moveTo>
                    <a:pt x="47810" y="464389"/>
                  </a:moveTo>
                  <a:lnTo>
                    <a:pt x="47339" y="449643"/>
                  </a:lnTo>
                  <a:lnTo>
                    <a:pt x="64871" y="464389"/>
                  </a:lnTo>
                  <a:close/>
                  <a:moveTo>
                    <a:pt x="25687" y="464389"/>
                  </a:moveTo>
                  <a:lnTo>
                    <a:pt x="43882" y="446759"/>
                  </a:lnTo>
                  <a:cubicBezTo>
                    <a:pt x="43882" y="446759"/>
                    <a:pt x="44988" y="447685"/>
                    <a:pt x="44988" y="447685"/>
                  </a:cubicBezTo>
                  <a:lnTo>
                    <a:pt x="45514" y="464389"/>
                  </a:lnTo>
                  <a:close/>
                  <a:moveTo>
                    <a:pt x="15124" y="464389"/>
                  </a:moveTo>
                  <a:lnTo>
                    <a:pt x="14045" y="421643"/>
                  </a:lnTo>
                  <a:lnTo>
                    <a:pt x="43164" y="446124"/>
                  </a:lnTo>
                  <a:lnTo>
                    <a:pt x="42251" y="445677"/>
                  </a:lnTo>
                  <a:lnTo>
                    <a:pt x="22949" y="464389"/>
                  </a:lnTo>
                  <a:lnTo>
                    <a:pt x="15151" y="464389"/>
                  </a:lnTo>
                  <a:close/>
                  <a:moveTo>
                    <a:pt x="871738" y="464406"/>
                  </a:moveTo>
                  <a:lnTo>
                    <a:pt x="871766" y="464389"/>
                  </a:lnTo>
                  <a:lnTo>
                    <a:pt x="872291" y="447685"/>
                  </a:lnTo>
                  <a:lnTo>
                    <a:pt x="873397" y="446759"/>
                  </a:lnTo>
                  <a:cubicBezTo>
                    <a:pt x="873397" y="446759"/>
                    <a:pt x="891593" y="464406"/>
                    <a:pt x="891593" y="464406"/>
                  </a:cubicBezTo>
                  <a:close/>
                  <a:moveTo>
                    <a:pt x="758803" y="464406"/>
                  </a:moveTo>
                  <a:lnTo>
                    <a:pt x="758803" y="464389"/>
                  </a:lnTo>
                  <a:lnTo>
                    <a:pt x="758415" y="439325"/>
                  </a:lnTo>
                  <a:lnTo>
                    <a:pt x="779625" y="421609"/>
                  </a:lnTo>
                  <a:lnTo>
                    <a:pt x="780676" y="464406"/>
                  </a:lnTo>
                  <a:close/>
                  <a:moveTo>
                    <a:pt x="103973" y="464406"/>
                  </a:moveTo>
                  <a:lnTo>
                    <a:pt x="103973" y="464389"/>
                  </a:lnTo>
                  <a:lnTo>
                    <a:pt x="104499" y="447685"/>
                  </a:lnTo>
                  <a:lnTo>
                    <a:pt x="105633" y="446759"/>
                  </a:lnTo>
                  <a:cubicBezTo>
                    <a:pt x="105633" y="446759"/>
                    <a:pt x="123828" y="464406"/>
                    <a:pt x="123828" y="464406"/>
                  </a:cubicBezTo>
                  <a:close/>
                  <a:moveTo>
                    <a:pt x="1236291" y="465780"/>
                  </a:moveTo>
                  <a:lnTo>
                    <a:pt x="1227801" y="340580"/>
                  </a:lnTo>
                  <a:lnTo>
                    <a:pt x="1227801" y="339532"/>
                  </a:lnTo>
                  <a:lnTo>
                    <a:pt x="1228714" y="338897"/>
                  </a:lnTo>
                  <a:lnTo>
                    <a:pt x="1227801" y="338005"/>
                  </a:lnTo>
                  <a:lnTo>
                    <a:pt x="1227801" y="335378"/>
                  </a:lnTo>
                  <a:lnTo>
                    <a:pt x="1226585" y="334777"/>
                  </a:lnTo>
                  <a:lnTo>
                    <a:pt x="1226585" y="328580"/>
                  </a:lnTo>
                  <a:lnTo>
                    <a:pt x="1222409" y="328580"/>
                  </a:lnTo>
                  <a:lnTo>
                    <a:pt x="1222409" y="334777"/>
                  </a:lnTo>
                  <a:lnTo>
                    <a:pt x="1221137" y="335378"/>
                  </a:lnTo>
                  <a:lnTo>
                    <a:pt x="1221137" y="338091"/>
                  </a:lnTo>
                  <a:lnTo>
                    <a:pt x="1219920" y="338691"/>
                  </a:lnTo>
                  <a:lnTo>
                    <a:pt x="1220473" y="339361"/>
                  </a:lnTo>
                  <a:lnTo>
                    <a:pt x="1220473" y="340374"/>
                  </a:lnTo>
                  <a:lnTo>
                    <a:pt x="1212178" y="340374"/>
                  </a:lnTo>
                  <a:lnTo>
                    <a:pt x="1212178" y="291396"/>
                  </a:lnTo>
                  <a:lnTo>
                    <a:pt x="1215441" y="288581"/>
                  </a:lnTo>
                  <a:lnTo>
                    <a:pt x="1212178" y="288581"/>
                  </a:lnTo>
                  <a:lnTo>
                    <a:pt x="1212178" y="287001"/>
                  </a:lnTo>
                  <a:lnTo>
                    <a:pt x="1211956" y="287001"/>
                  </a:lnTo>
                  <a:lnTo>
                    <a:pt x="1213284" y="285868"/>
                  </a:lnTo>
                  <a:lnTo>
                    <a:pt x="1213394" y="279705"/>
                  </a:lnTo>
                  <a:lnTo>
                    <a:pt x="1214473" y="278280"/>
                  </a:lnTo>
                  <a:lnTo>
                    <a:pt x="1212066" y="278280"/>
                  </a:lnTo>
                  <a:lnTo>
                    <a:pt x="1189225" y="244203"/>
                  </a:lnTo>
                  <a:lnTo>
                    <a:pt x="1188976" y="244203"/>
                  </a:lnTo>
                  <a:lnTo>
                    <a:pt x="1188976" y="238658"/>
                  </a:lnTo>
                  <a:lnTo>
                    <a:pt x="1191880" y="238658"/>
                  </a:lnTo>
                  <a:lnTo>
                    <a:pt x="1191880" y="237457"/>
                  </a:lnTo>
                  <a:lnTo>
                    <a:pt x="1188976" y="237457"/>
                  </a:lnTo>
                  <a:lnTo>
                    <a:pt x="1188976" y="234607"/>
                  </a:lnTo>
                  <a:lnTo>
                    <a:pt x="1186930" y="234607"/>
                  </a:lnTo>
                  <a:lnTo>
                    <a:pt x="1186930" y="237457"/>
                  </a:lnTo>
                  <a:lnTo>
                    <a:pt x="1183778" y="237457"/>
                  </a:lnTo>
                  <a:lnTo>
                    <a:pt x="1183778" y="238658"/>
                  </a:lnTo>
                  <a:lnTo>
                    <a:pt x="1186930" y="238658"/>
                  </a:lnTo>
                  <a:lnTo>
                    <a:pt x="1186930" y="244203"/>
                  </a:lnTo>
                  <a:lnTo>
                    <a:pt x="1186681" y="244203"/>
                  </a:lnTo>
                  <a:lnTo>
                    <a:pt x="1164199" y="278280"/>
                  </a:lnTo>
                  <a:lnTo>
                    <a:pt x="1160687" y="278280"/>
                  </a:lnTo>
                  <a:lnTo>
                    <a:pt x="1162374" y="279482"/>
                  </a:lnTo>
                  <a:lnTo>
                    <a:pt x="1162374" y="285937"/>
                  </a:lnTo>
                  <a:lnTo>
                    <a:pt x="1163590" y="287001"/>
                  </a:lnTo>
                  <a:lnTo>
                    <a:pt x="1163590" y="288563"/>
                  </a:lnTo>
                  <a:lnTo>
                    <a:pt x="1160687" y="288563"/>
                  </a:lnTo>
                  <a:lnTo>
                    <a:pt x="1163590" y="291344"/>
                  </a:lnTo>
                  <a:lnTo>
                    <a:pt x="1163590" y="340116"/>
                  </a:lnTo>
                  <a:lnTo>
                    <a:pt x="1132038" y="340116"/>
                  </a:lnTo>
                  <a:lnTo>
                    <a:pt x="1161793" y="380871"/>
                  </a:lnTo>
                  <a:lnTo>
                    <a:pt x="1120839" y="338468"/>
                  </a:lnTo>
                  <a:lnTo>
                    <a:pt x="1121696" y="337472"/>
                  </a:lnTo>
                  <a:lnTo>
                    <a:pt x="1120424" y="336460"/>
                  </a:lnTo>
                  <a:lnTo>
                    <a:pt x="1120424" y="334881"/>
                  </a:lnTo>
                  <a:lnTo>
                    <a:pt x="1119511" y="334211"/>
                  </a:lnTo>
                  <a:lnTo>
                    <a:pt x="1119511" y="330486"/>
                  </a:lnTo>
                  <a:lnTo>
                    <a:pt x="1121696" y="330486"/>
                  </a:lnTo>
                  <a:lnTo>
                    <a:pt x="1121696" y="329644"/>
                  </a:lnTo>
                  <a:lnTo>
                    <a:pt x="1119511" y="329644"/>
                  </a:lnTo>
                  <a:lnTo>
                    <a:pt x="1119511" y="328134"/>
                  </a:lnTo>
                  <a:lnTo>
                    <a:pt x="1118157" y="328134"/>
                  </a:lnTo>
                  <a:lnTo>
                    <a:pt x="1118157" y="329644"/>
                  </a:lnTo>
                  <a:lnTo>
                    <a:pt x="1115889" y="329644"/>
                  </a:lnTo>
                  <a:lnTo>
                    <a:pt x="1115889" y="330486"/>
                  </a:lnTo>
                  <a:lnTo>
                    <a:pt x="1118157" y="330486"/>
                  </a:lnTo>
                  <a:lnTo>
                    <a:pt x="1118157" y="334262"/>
                  </a:lnTo>
                  <a:lnTo>
                    <a:pt x="1117437" y="334777"/>
                  </a:lnTo>
                  <a:lnTo>
                    <a:pt x="1117437" y="336185"/>
                  </a:lnTo>
                  <a:lnTo>
                    <a:pt x="1115889" y="337593"/>
                  </a:lnTo>
                  <a:lnTo>
                    <a:pt x="1116691" y="338571"/>
                  </a:lnTo>
                  <a:lnTo>
                    <a:pt x="1044239" y="415326"/>
                  </a:lnTo>
                  <a:lnTo>
                    <a:pt x="1107731" y="339893"/>
                  </a:lnTo>
                  <a:lnTo>
                    <a:pt x="1017029" y="339670"/>
                  </a:lnTo>
                  <a:lnTo>
                    <a:pt x="1017029" y="337644"/>
                  </a:lnTo>
                  <a:lnTo>
                    <a:pt x="1015839" y="336683"/>
                  </a:lnTo>
                  <a:lnTo>
                    <a:pt x="1015839" y="334486"/>
                  </a:lnTo>
                  <a:lnTo>
                    <a:pt x="1014843" y="333696"/>
                  </a:lnTo>
                  <a:lnTo>
                    <a:pt x="1014843" y="327670"/>
                  </a:lnTo>
                  <a:lnTo>
                    <a:pt x="1010668" y="327670"/>
                  </a:lnTo>
                  <a:lnTo>
                    <a:pt x="1010668" y="333919"/>
                  </a:lnTo>
                  <a:lnTo>
                    <a:pt x="1009756" y="334537"/>
                  </a:lnTo>
                  <a:lnTo>
                    <a:pt x="1009756" y="336906"/>
                  </a:lnTo>
                  <a:lnTo>
                    <a:pt x="1008290" y="337644"/>
                  </a:lnTo>
                  <a:lnTo>
                    <a:pt x="1008290" y="417592"/>
                  </a:lnTo>
                  <a:cubicBezTo>
                    <a:pt x="1055439" y="420922"/>
                    <a:pt x="1117354" y="423343"/>
                    <a:pt x="1197742" y="423343"/>
                  </a:cubicBezTo>
                  <a:lnTo>
                    <a:pt x="1206370" y="423343"/>
                  </a:lnTo>
                  <a:lnTo>
                    <a:pt x="1210214" y="428133"/>
                  </a:lnTo>
                  <a:close/>
                  <a:moveTo>
                    <a:pt x="50520" y="541195"/>
                  </a:moveTo>
                  <a:lnTo>
                    <a:pt x="97087" y="541195"/>
                  </a:lnTo>
                  <a:lnTo>
                    <a:pt x="97087" y="529624"/>
                  </a:lnTo>
                  <a:lnTo>
                    <a:pt x="84616" y="529624"/>
                  </a:lnTo>
                  <a:lnTo>
                    <a:pt x="81325" y="477076"/>
                  </a:lnTo>
                  <a:lnTo>
                    <a:pt x="82376" y="477076"/>
                  </a:lnTo>
                  <a:lnTo>
                    <a:pt x="82376" y="474501"/>
                  </a:lnTo>
                  <a:lnTo>
                    <a:pt x="80108" y="474501"/>
                  </a:lnTo>
                  <a:lnTo>
                    <a:pt x="80108" y="470140"/>
                  </a:lnTo>
                  <a:lnTo>
                    <a:pt x="103669" y="470140"/>
                  </a:lnTo>
                  <a:lnTo>
                    <a:pt x="813473" y="470140"/>
                  </a:lnTo>
                  <a:cubicBezTo>
                    <a:pt x="813473" y="470140"/>
                    <a:pt x="814607" y="470140"/>
                    <a:pt x="814607" y="470140"/>
                  </a:cubicBezTo>
                  <a:lnTo>
                    <a:pt x="837033" y="470140"/>
                  </a:lnTo>
                  <a:lnTo>
                    <a:pt x="837033" y="474501"/>
                  </a:lnTo>
                  <a:lnTo>
                    <a:pt x="834766" y="474501"/>
                  </a:lnTo>
                  <a:lnTo>
                    <a:pt x="834766" y="477076"/>
                  </a:lnTo>
                  <a:lnTo>
                    <a:pt x="835817" y="477076"/>
                  </a:lnTo>
                  <a:lnTo>
                    <a:pt x="832554" y="529624"/>
                  </a:lnTo>
                  <a:lnTo>
                    <a:pt x="820082" y="529624"/>
                  </a:lnTo>
                  <a:lnTo>
                    <a:pt x="820082" y="541195"/>
                  </a:lnTo>
                  <a:lnTo>
                    <a:pt x="866651" y="541195"/>
                  </a:lnTo>
                  <a:lnTo>
                    <a:pt x="866651" y="529624"/>
                  </a:lnTo>
                  <a:lnTo>
                    <a:pt x="854455" y="529624"/>
                  </a:lnTo>
                  <a:lnTo>
                    <a:pt x="849975" y="477076"/>
                  </a:lnTo>
                  <a:lnTo>
                    <a:pt x="850611" y="477076"/>
                  </a:lnTo>
                  <a:lnTo>
                    <a:pt x="850611" y="474501"/>
                  </a:lnTo>
                  <a:lnTo>
                    <a:pt x="848150" y="474501"/>
                  </a:lnTo>
                  <a:lnTo>
                    <a:pt x="848150" y="470140"/>
                  </a:lnTo>
                  <a:lnTo>
                    <a:pt x="871517" y="470140"/>
                  </a:lnTo>
                  <a:lnTo>
                    <a:pt x="1008263" y="470140"/>
                  </a:lnTo>
                  <a:lnTo>
                    <a:pt x="905862" y="541195"/>
                  </a:lnTo>
                  <a:lnTo>
                    <a:pt x="4012469" y="540417"/>
                  </a:lnTo>
                  <a:lnTo>
                    <a:pt x="4012966" y="530578"/>
                  </a:lnTo>
                  <a:lnTo>
                    <a:pt x="4009693" y="465763"/>
                  </a:lnTo>
                  <a:lnTo>
                    <a:pt x="3987044" y="465763"/>
                  </a:lnTo>
                  <a:lnTo>
                    <a:pt x="3987044" y="465780"/>
                  </a:lnTo>
                  <a:lnTo>
                    <a:pt x="3968351" y="424939"/>
                  </a:lnTo>
                  <a:cubicBezTo>
                    <a:pt x="3968351" y="424939"/>
                    <a:pt x="3990971" y="420012"/>
                    <a:pt x="3996474" y="416596"/>
                  </a:cubicBezTo>
                  <a:cubicBezTo>
                    <a:pt x="3998050" y="415617"/>
                    <a:pt x="3999267" y="414192"/>
                    <a:pt x="4000374" y="412510"/>
                  </a:cubicBezTo>
                  <a:cubicBezTo>
                    <a:pt x="4002005" y="410004"/>
                    <a:pt x="4003332" y="406914"/>
                    <a:pt x="4004991" y="403755"/>
                  </a:cubicBezTo>
                  <a:lnTo>
                    <a:pt x="4006411" y="400766"/>
                  </a:lnTo>
                  <a:lnTo>
                    <a:pt x="4005634" y="385378"/>
                  </a:lnTo>
                  <a:lnTo>
                    <a:pt x="4002032" y="383601"/>
                  </a:lnTo>
                  <a:cubicBezTo>
                    <a:pt x="4000456" y="383154"/>
                    <a:pt x="3998686" y="382725"/>
                    <a:pt x="3996806" y="382313"/>
                  </a:cubicBezTo>
                  <a:lnTo>
                    <a:pt x="3958396" y="372802"/>
                  </a:lnTo>
                  <a:lnTo>
                    <a:pt x="3956100" y="376064"/>
                  </a:lnTo>
                  <a:cubicBezTo>
                    <a:pt x="3956100" y="376064"/>
                    <a:pt x="3764463" y="312803"/>
                    <a:pt x="3546528" y="313816"/>
                  </a:cubicBezTo>
                  <a:cubicBezTo>
                    <a:pt x="3546528" y="313816"/>
                    <a:pt x="3542628" y="313816"/>
                    <a:pt x="3542628" y="313816"/>
                  </a:cubicBezTo>
                  <a:lnTo>
                    <a:pt x="3542628" y="349678"/>
                  </a:lnTo>
                  <a:lnTo>
                    <a:pt x="3544868" y="349678"/>
                  </a:lnTo>
                  <a:lnTo>
                    <a:pt x="3544868" y="360528"/>
                  </a:lnTo>
                  <a:lnTo>
                    <a:pt x="3580348" y="344803"/>
                  </a:lnTo>
                  <a:lnTo>
                    <a:pt x="3588118" y="341352"/>
                  </a:lnTo>
                  <a:lnTo>
                    <a:pt x="3596082" y="344614"/>
                  </a:lnTo>
                  <a:lnTo>
                    <a:pt x="3603853" y="347807"/>
                  </a:lnTo>
                  <a:lnTo>
                    <a:pt x="3603853" y="345661"/>
                  </a:lnTo>
                  <a:lnTo>
                    <a:pt x="3641655" y="345661"/>
                  </a:lnTo>
                  <a:lnTo>
                    <a:pt x="3641655" y="363275"/>
                  </a:lnTo>
                  <a:lnTo>
                    <a:pt x="3642872" y="363772"/>
                  </a:lnTo>
                  <a:lnTo>
                    <a:pt x="3649122" y="366331"/>
                  </a:lnTo>
                  <a:lnTo>
                    <a:pt x="3649122" y="370982"/>
                  </a:lnTo>
                  <a:lnTo>
                    <a:pt x="3642706" y="521161"/>
                  </a:lnTo>
                  <a:lnTo>
                    <a:pt x="3635184" y="370982"/>
                  </a:lnTo>
                  <a:lnTo>
                    <a:pt x="3627718" y="367927"/>
                  </a:lnTo>
                  <a:lnTo>
                    <a:pt x="3627718" y="354296"/>
                  </a:lnTo>
                  <a:lnTo>
                    <a:pt x="3617763" y="354296"/>
                  </a:lnTo>
                  <a:lnTo>
                    <a:pt x="3617763" y="363858"/>
                  </a:lnTo>
                  <a:lnTo>
                    <a:pt x="3588395" y="351841"/>
                  </a:lnTo>
                  <a:lnTo>
                    <a:pt x="3538204" y="374090"/>
                  </a:lnTo>
                  <a:lnTo>
                    <a:pt x="3528636" y="374090"/>
                  </a:lnTo>
                  <a:lnTo>
                    <a:pt x="3528636" y="360339"/>
                  </a:lnTo>
                  <a:lnTo>
                    <a:pt x="3530876" y="360339"/>
                  </a:lnTo>
                  <a:lnTo>
                    <a:pt x="3530876" y="358331"/>
                  </a:lnTo>
                  <a:lnTo>
                    <a:pt x="3528636" y="358331"/>
                  </a:lnTo>
                  <a:lnTo>
                    <a:pt x="3528636" y="301558"/>
                  </a:lnTo>
                  <a:lnTo>
                    <a:pt x="3532618" y="296237"/>
                  </a:lnTo>
                  <a:lnTo>
                    <a:pt x="3528636" y="296237"/>
                  </a:lnTo>
                  <a:lnTo>
                    <a:pt x="3528636" y="282640"/>
                  </a:lnTo>
                  <a:lnTo>
                    <a:pt x="3526893" y="282640"/>
                  </a:lnTo>
                  <a:lnTo>
                    <a:pt x="3526893" y="279396"/>
                  </a:lnTo>
                  <a:lnTo>
                    <a:pt x="3525760" y="279396"/>
                  </a:lnTo>
                  <a:lnTo>
                    <a:pt x="3525760" y="276374"/>
                  </a:lnTo>
                  <a:lnTo>
                    <a:pt x="3524764" y="276374"/>
                  </a:lnTo>
                  <a:lnTo>
                    <a:pt x="3524764" y="272975"/>
                  </a:lnTo>
                  <a:lnTo>
                    <a:pt x="3523631" y="272975"/>
                  </a:lnTo>
                  <a:lnTo>
                    <a:pt x="3523631" y="269885"/>
                  </a:lnTo>
                  <a:lnTo>
                    <a:pt x="3522525" y="269885"/>
                  </a:lnTo>
                  <a:lnTo>
                    <a:pt x="3520340" y="262554"/>
                  </a:lnTo>
                  <a:lnTo>
                    <a:pt x="3518266" y="269885"/>
                  </a:lnTo>
                  <a:lnTo>
                    <a:pt x="3517050" y="269885"/>
                  </a:lnTo>
                  <a:lnTo>
                    <a:pt x="3517050" y="272975"/>
                  </a:lnTo>
                  <a:lnTo>
                    <a:pt x="3515943" y="272975"/>
                  </a:lnTo>
                  <a:lnTo>
                    <a:pt x="3515943" y="276374"/>
                  </a:lnTo>
                  <a:lnTo>
                    <a:pt x="3515196" y="276374"/>
                  </a:lnTo>
                  <a:lnTo>
                    <a:pt x="3515196" y="279396"/>
                  </a:lnTo>
                  <a:lnTo>
                    <a:pt x="3514091" y="279396"/>
                  </a:lnTo>
                  <a:lnTo>
                    <a:pt x="3514091" y="282640"/>
                  </a:lnTo>
                  <a:lnTo>
                    <a:pt x="3512984" y="282640"/>
                  </a:lnTo>
                  <a:lnTo>
                    <a:pt x="3512984" y="284889"/>
                  </a:lnTo>
                  <a:lnTo>
                    <a:pt x="3510108" y="284889"/>
                  </a:lnTo>
                  <a:lnTo>
                    <a:pt x="3510108" y="288752"/>
                  </a:lnTo>
                  <a:lnTo>
                    <a:pt x="3505269" y="288752"/>
                  </a:lnTo>
                  <a:lnTo>
                    <a:pt x="3505269" y="282658"/>
                  </a:lnTo>
                  <a:lnTo>
                    <a:pt x="3497858" y="282658"/>
                  </a:lnTo>
                  <a:lnTo>
                    <a:pt x="3497858" y="278640"/>
                  </a:lnTo>
                  <a:lnTo>
                    <a:pt x="3493682" y="278640"/>
                  </a:lnTo>
                  <a:lnTo>
                    <a:pt x="3493682" y="282658"/>
                  </a:lnTo>
                  <a:lnTo>
                    <a:pt x="3485967" y="282658"/>
                  </a:lnTo>
                  <a:lnTo>
                    <a:pt x="3485967" y="288752"/>
                  </a:lnTo>
                  <a:lnTo>
                    <a:pt x="3481127" y="288752"/>
                  </a:lnTo>
                  <a:lnTo>
                    <a:pt x="3481127" y="284889"/>
                  </a:lnTo>
                  <a:lnTo>
                    <a:pt x="3478390" y="284889"/>
                  </a:lnTo>
                  <a:lnTo>
                    <a:pt x="3478390" y="282640"/>
                  </a:lnTo>
                  <a:lnTo>
                    <a:pt x="3476150" y="282640"/>
                  </a:lnTo>
                  <a:lnTo>
                    <a:pt x="3476150" y="279396"/>
                  </a:lnTo>
                  <a:lnTo>
                    <a:pt x="3475017" y="279396"/>
                  </a:lnTo>
                  <a:lnTo>
                    <a:pt x="3475017" y="276374"/>
                  </a:lnTo>
                  <a:lnTo>
                    <a:pt x="3474021" y="276374"/>
                  </a:lnTo>
                  <a:lnTo>
                    <a:pt x="3474021" y="272975"/>
                  </a:lnTo>
                  <a:lnTo>
                    <a:pt x="3472915" y="272975"/>
                  </a:lnTo>
                  <a:lnTo>
                    <a:pt x="3472915" y="269885"/>
                  </a:lnTo>
                  <a:lnTo>
                    <a:pt x="3471809" y="269885"/>
                  </a:lnTo>
                  <a:lnTo>
                    <a:pt x="3469623" y="262554"/>
                  </a:lnTo>
                  <a:lnTo>
                    <a:pt x="3467550" y="269885"/>
                  </a:lnTo>
                  <a:lnTo>
                    <a:pt x="3466305" y="269885"/>
                  </a:lnTo>
                  <a:lnTo>
                    <a:pt x="3466305" y="272975"/>
                  </a:lnTo>
                  <a:lnTo>
                    <a:pt x="3465199" y="272975"/>
                  </a:lnTo>
                  <a:lnTo>
                    <a:pt x="3465199" y="276374"/>
                  </a:lnTo>
                  <a:lnTo>
                    <a:pt x="3464453" y="276374"/>
                  </a:lnTo>
                  <a:lnTo>
                    <a:pt x="3464453" y="279396"/>
                  </a:lnTo>
                  <a:lnTo>
                    <a:pt x="3463319" y="279396"/>
                  </a:lnTo>
                  <a:lnTo>
                    <a:pt x="3463319" y="282640"/>
                  </a:lnTo>
                  <a:lnTo>
                    <a:pt x="3461964" y="282640"/>
                  </a:lnTo>
                  <a:lnTo>
                    <a:pt x="3461964" y="296237"/>
                  </a:lnTo>
                  <a:lnTo>
                    <a:pt x="3457235" y="296237"/>
                  </a:lnTo>
                  <a:lnTo>
                    <a:pt x="3461964" y="301593"/>
                  </a:lnTo>
                  <a:lnTo>
                    <a:pt x="3461964" y="358347"/>
                  </a:lnTo>
                  <a:lnTo>
                    <a:pt x="3458479" y="358347"/>
                  </a:lnTo>
                  <a:lnTo>
                    <a:pt x="3458479" y="360356"/>
                  </a:lnTo>
                  <a:lnTo>
                    <a:pt x="3461964" y="360356"/>
                  </a:lnTo>
                  <a:lnTo>
                    <a:pt x="3461964" y="374107"/>
                  </a:lnTo>
                  <a:lnTo>
                    <a:pt x="3454995" y="374107"/>
                  </a:lnTo>
                  <a:lnTo>
                    <a:pt x="3351960" y="310159"/>
                  </a:lnTo>
                  <a:lnTo>
                    <a:pt x="3318111" y="332923"/>
                  </a:lnTo>
                  <a:lnTo>
                    <a:pt x="3318111" y="321593"/>
                  </a:lnTo>
                  <a:lnTo>
                    <a:pt x="3302681" y="321593"/>
                  </a:lnTo>
                  <a:lnTo>
                    <a:pt x="3302681" y="343309"/>
                  </a:lnTo>
                  <a:lnTo>
                    <a:pt x="3256887" y="374107"/>
                  </a:lnTo>
                  <a:lnTo>
                    <a:pt x="3252214" y="521590"/>
                  </a:lnTo>
                  <a:lnTo>
                    <a:pt x="3243614" y="413420"/>
                  </a:lnTo>
                  <a:lnTo>
                    <a:pt x="3239189" y="409849"/>
                  </a:lnTo>
                  <a:lnTo>
                    <a:pt x="3239189" y="366691"/>
                  </a:lnTo>
                  <a:lnTo>
                    <a:pt x="3235981" y="365712"/>
                  </a:lnTo>
                  <a:lnTo>
                    <a:pt x="3237419" y="364579"/>
                  </a:lnTo>
                  <a:lnTo>
                    <a:pt x="3237419" y="362382"/>
                  </a:lnTo>
                  <a:lnTo>
                    <a:pt x="3232995" y="361472"/>
                  </a:lnTo>
                  <a:lnTo>
                    <a:pt x="3232995" y="356802"/>
                  </a:lnTo>
                  <a:lnTo>
                    <a:pt x="3234460" y="355807"/>
                  </a:lnTo>
                  <a:lnTo>
                    <a:pt x="3230617" y="349661"/>
                  </a:lnTo>
                  <a:lnTo>
                    <a:pt x="3229290" y="349661"/>
                  </a:lnTo>
                  <a:lnTo>
                    <a:pt x="3227216" y="346811"/>
                  </a:lnTo>
                  <a:lnTo>
                    <a:pt x="3227962" y="346073"/>
                  </a:lnTo>
                  <a:lnTo>
                    <a:pt x="3226192" y="345610"/>
                  </a:lnTo>
                  <a:lnTo>
                    <a:pt x="3227381" y="344322"/>
                  </a:lnTo>
                  <a:lnTo>
                    <a:pt x="3225169" y="341936"/>
                  </a:lnTo>
                  <a:lnTo>
                    <a:pt x="3223261" y="344322"/>
                  </a:lnTo>
                  <a:lnTo>
                    <a:pt x="3224422" y="345421"/>
                  </a:lnTo>
                  <a:lnTo>
                    <a:pt x="3222072" y="345970"/>
                  </a:lnTo>
                  <a:lnTo>
                    <a:pt x="3223399" y="346983"/>
                  </a:lnTo>
                  <a:lnTo>
                    <a:pt x="3217066" y="355790"/>
                  </a:lnTo>
                  <a:lnTo>
                    <a:pt x="3218837" y="357163"/>
                  </a:lnTo>
                  <a:lnTo>
                    <a:pt x="3218587" y="360356"/>
                  </a:lnTo>
                  <a:lnTo>
                    <a:pt x="3175283" y="347052"/>
                  </a:lnTo>
                  <a:lnTo>
                    <a:pt x="3175283" y="336906"/>
                  </a:lnTo>
                  <a:lnTo>
                    <a:pt x="3173209" y="336906"/>
                  </a:lnTo>
                  <a:lnTo>
                    <a:pt x="3171743" y="333421"/>
                  </a:lnTo>
                  <a:lnTo>
                    <a:pt x="3172323" y="333060"/>
                  </a:lnTo>
                  <a:lnTo>
                    <a:pt x="3171439" y="332151"/>
                  </a:lnTo>
                  <a:lnTo>
                    <a:pt x="3172186" y="330966"/>
                  </a:lnTo>
                  <a:lnTo>
                    <a:pt x="3170277" y="329507"/>
                  </a:lnTo>
                  <a:lnTo>
                    <a:pt x="3168507" y="330880"/>
                  </a:lnTo>
                  <a:lnTo>
                    <a:pt x="3169393" y="332065"/>
                  </a:lnTo>
                  <a:lnTo>
                    <a:pt x="3168507" y="332888"/>
                  </a:lnTo>
                  <a:lnTo>
                    <a:pt x="3169254" y="333798"/>
                  </a:lnTo>
                  <a:lnTo>
                    <a:pt x="3167319" y="337283"/>
                  </a:lnTo>
                  <a:lnTo>
                    <a:pt x="3165245" y="337369"/>
                  </a:lnTo>
                  <a:lnTo>
                    <a:pt x="3165245" y="343962"/>
                  </a:lnTo>
                  <a:lnTo>
                    <a:pt x="3151805" y="339842"/>
                  </a:lnTo>
                  <a:lnTo>
                    <a:pt x="3151805" y="331138"/>
                  </a:lnTo>
                  <a:lnTo>
                    <a:pt x="3149150" y="331138"/>
                  </a:lnTo>
                  <a:lnTo>
                    <a:pt x="3146192" y="326091"/>
                  </a:lnTo>
                  <a:lnTo>
                    <a:pt x="3147823" y="326091"/>
                  </a:lnTo>
                  <a:lnTo>
                    <a:pt x="3148985" y="323343"/>
                  </a:lnTo>
                  <a:lnTo>
                    <a:pt x="3140135" y="320133"/>
                  </a:lnTo>
                  <a:lnTo>
                    <a:pt x="3139112" y="279533"/>
                  </a:lnTo>
                  <a:lnTo>
                    <a:pt x="3140744" y="278245"/>
                  </a:lnTo>
                  <a:lnTo>
                    <a:pt x="3140744" y="276494"/>
                  </a:lnTo>
                  <a:lnTo>
                    <a:pt x="3139112" y="275670"/>
                  </a:lnTo>
                  <a:lnTo>
                    <a:pt x="3138531" y="263945"/>
                  </a:lnTo>
                  <a:lnTo>
                    <a:pt x="3140881" y="262658"/>
                  </a:lnTo>
                  <a:lnTo>
                    <a:pt x="3140881" y="261009"/>
                  </a:lnTo>
                  <a:lnTo>
                    <a:pt x="3138531" y="260271"/>
                  </a:lnTo>
                  <a:lnTo>
                    <a:pt x="3138531" y="255688"/>
                  </a:lnTo>
                  <a:lnTo>
                    <a:pt x="3139416" y="254864"/>
                  </a:lnTo>
                  <a:lnTo>
                    <a:pt x="3139555" y="253490"/>
                  </a:lnTo>
                  <a:lnTo>
                    <a:pt x="3135434" y="250040"/>
                  </a:lnTo>
                  <a:lnTo>
                    <a:pt x="3135434" y="246813"/>
                  </a:lnTo>
                  <a:lnTo>
                    <a:pt x="3136595" y="245250"/>
                  </a:lnTo>
                  <a:lnTo>
                    <a:pt x="3130401" y="237731"/>
                  </a:lnTo>
                  <a:lnTo>
                    <a:pt x="3130982" y="235808"/>
                  </a:lnTo>
                  <a:lnTo>
                    <a:pt x="3128908" y="233971"/>
                  </a:lnTo>
                  <a:lnTo>
                    <a:pt x="3127442" y="235619"/>
                  </a:lnTo>
                  <a:lnTo>
                    <a:pt x="3128328" y="237628"/>
                  </a:lnTo>
                  <a:lnTo>
                    <a:pt x="3126557" y="239087"/>
                  </a:lnTo>
                  <a:lnTo>
                    <a:pt x="3107587" y="159775"/>
                  </a:lnTo>
                  <a:cubicBezTo>
                    <a:pt x="3108860" y="159328"/>
                    <a:pt x="3109716" y="158556"/>
                    <a:pt x="3109716" y="157697"/>
                  </a:cubicBezTo>
                  <a:cubicBezTo>
                    <a:pt x="3109716" y="156633"/>
                    <a:pt x="3108445" y="155723"/>
                    <a:pt x="3106674" y="155380"/>
                  </a:cubicBezTo>
                  <a:lnTo>
                    <a:pt x="3106674" y="147380"/>
                  </a:lnTo>
                  <a:lnTo>
                    <a:pt x="3112648" y="147380"/>
                  </a:lnTo>
                  <a:lnTo>
                    <a:pt x="3112648" y="147723"/>
                  </a:lnTo>
                  <a:cubicBezTo>
                    <a:pt x="3112648" y="148101"/>
                    <a:pt x="3113146" y="148410"/>
                    <a:pt x="3113754" y="148410"/>
                  </a:cubicBezTo>
                  <a:cubicBezTo>
                    <a:pt x="3114362" y="148410"/>
                    <a:pt x="3114860" y="148101"/>
                    <a:pt x="3114860" y="147723"/>
                  </a:cubicBezTo>
                  <a:lnTo>
                    <a:pt x="3114860" y="147380"/>
                  </a:lnTo>
                  <a:cubicBezTo>
                    <a:pt x="3115690" y="147346"/>
                    <a:pt x="3116354" y="146934"/>
                    <a:pt x="3116354" y="146401"/>
                  </a:cubicBezTo>
                  <a:cubicBezTo>
                    <a:pt x="3116354" y="145869"/>
                    <a:pt x="3115690" y="145457"/>
                    <a:pt x="3114860" y="145440"/>
                  </a:cubicBezTo>
                  <a:cubicBezTo>
                    <a:pt x="3114860" y="145080"/>
                    <a:pt x="3114362" y="144788"/>
                    <a:pt x="3113754" y="144788"/>
                  </a:cubicBezTo>
                  <a:cubicBezTo>
                    <a:pt x="3113146" y="144788"/>
                    <a:pt x="3112676" y="145080"/>
                    <a:pt x="3112648" y="145440"/>
                  </a:cubicBezTo>
                  <a:lnTo>
                    <a:pt x="3106674" y="145440"/>
                  </a:lnTo>
                  <a:lnTo>
                    <a:pt x="3106674" y="141869"/>
                  </a:lnTo>
                  <a:cubicBezTo>
                    <a:pt x="3107311" y="141869"/>
                    <a:pt x="3107809" y="141561"/>
                    <a:pt x="3107809" y="141166"/>
                  </a:cubicBezTo>
                  <a:cubicBezTo>
                    <a:pt x="3107809" y="140771"/>
                    <a:pt x="3107311" y="140462"/>
                    <a:pt x="3106674" y="140462"/>
                  </a:cubicBezTo>
                  <a:lnTo>
                    <a:pt x="3106674" y="140273"/>
                  </a:lnTo>
                  <a:cubicBezTo>
                    <a:pt x="3106674" y="139723"/>
                    <a:pt x="3105956" y="139260"/>
                    <a:pt x="3105043" y="139260"/>
                  </a:cubicBezTo>
                  <a:cubicBezTo>
                    <a:pt x="3104131" y="139260"/>
                    <a:pt x="3103412" y="139723"/>
                    <a:pt x="3103412" y="140273"/>
                  </a:cubicBezTo>
                  <a:lnTo>
                    <a:pt x="3103412" y="140462"/>
                  </a:lnTo>
                  <a:lnTo>
                    <a:pt x="3103274" y="140462"/>
                  </a:lnTo>
                  <a:cubicBezTo>
                    <a:pt x="3102638" y="140462"/>
                    <a:pt x="3102140" y="140771"/>
                    <a:pt x="3102140" y="141166"/>
                  </a:cubicBezTo>
                  <a:cubicBezTo>
                    <a:pt x="3102140" y="141561"/>
                    <a:pt x="3102665" y="141869"/>
                    <a:pt x="3103274" y="141869"/>
                  </a:cubicBezTo>
                  <a:lnTo>
                    <a:pt x="3103412" y="141869"/>
                  </a:lnTo>
                  <a:lnTo>
                    <a:pt x="3103412" y="145440"/>
                  </a:lnTo>
                  <a:lnTo>
                    <a:pt x="3097549" y="145440"/>
                  </a:lnTo>
                  <a:cubicBezTo>
                    <a:pt x="3097439" y="145062"/>
                    <a:pt x="3096913" y="144788"/>
                    <a:pt x="3096277" y="144788"/>
                  </a:cubicBezTo>
                  <a:cubicBezTo>
                    <a:pt x="3095641" y="144788"/>
                    <a:pt x="3095115" y="145080"/>
                    <a:pt x="3095005" y="145457"/>
                  </a:cubicBezTo>
                  <a:cubicBezTo>
                    <a:pt x="3094259" y="145543"/>
                    <a:pt x="3093706" y="145938"/>
                    <a:pt x="3093706" y="146419"/>
                  </a:cubicBezTo>
                  <a:cubicBezTo>
                    <a:pt x="3093706" y="146899"/>
                    <a:pt x="3094259" y="147294"/>
                    <a:pt x="3094977" y="147380"/>
                  </a:cubicBezTo>
                  <a:lnTo>
                    <a:pt x="3094977" y="147414"/>
                  </a:lnTo>
                  <a:cubicBezTo>
                    <a:pt x="3094977" y="147861"/>
                    <a:pt x="3095558" y="148221"/>
                    <a:pt x="3096277" y="148221"/>
                  </a:cubicBezTo>
                  <a:cubicBezTo>
                    <a:pt x="3096996" y="148221"/>
                    <a:pt x="3097577" y="147861"/>
                    <a:pt x="3097577" y="147414"/>
                  </a:cubicBezTo>
                  <a:cubicBezTo>
                    <a:pt x="3097577" y="147414"/>
                    <a:pt x="3103412" y="147397"/>
                    <a:pt x="3103412" y="147397"/>
                  </a:cubicBezTo>
                  <a:lnTo>
                    <a:pt x="3103412" y="155380"/>
                  </a:lnTo>
                  <a:cubicBezTo>
                    <a:pt x="3101559" y="155723"/>
                    <a:pt x="3100259" y="156651"/>
                    <a:pt x="3100259" y="157732"/>
                  </a:cubicBezTo>
                  <a:cubicBezTo>
                    <a:pt x="3100259" y="158539"/>
                    <a:pt x="3101006" y="159260"/>
                    <a:pt x="3102140" y="159723"/>
                  </a:cubicBezTo>
                  <a:lnTo>
                    <a:pt x="3083142" y="239139"/>
                  </a:lnTo>
                  <a:lnTo>
                    <a:pt x="3081372" y="237679"/>
                  </a:lnTo>
                  <a:lnTo>
                    <a:pt x="3082257" y="235671"/>
                  </a:lnTo>
                  <a:lnTo>
                    <a:pt x="3080791" y="234023"/>
                  </a:lnTo>
                  <a:lnTo>
                    <a:pt x="3078717" y="235860"/>
                  </a:lnTo>
                  <a:lnTo>
                    <a:pt x="3079298" y="237783"/>
                  </a:lnTo>
                  <a:lnTo>
                    <a:pt x="3073104" y="245302"/>
                  </a:lnTo>
                  <a:lnTo>
                    <a:pt x="3074293" y="246864"/>
                  </a:lnTo>
                  <a:lnTo>
                    <a:pt x="3074293" y="250091"/>
                  </a:lnTo>
                  <a:lnTo>
                    <a:pt x="3070145" y="253542"/>
                  </a:lnTo>
                  <a:lnTo>
                    <a:pt x="3070310" y="254915"/>
                  </a:lnTo>
                  <a:lnTo>
                    <a:pt x="3071196" y="255739"/>
                  </a:lnTo>
                  <a:lnTo>
                    <a:pt x="3071196" y="260323"/>
                  </a:lnTo>
                  <a:lnTo>
                    <a:pt x="3068845" y="261061"/>
                  </a:lnTo>
                  <a:lnTo>
                    <a:pt x="3068845" y="262709"/>
                  </a:lnTo>
                  <a:lnTo>
                    <a:pt x="3071196" y="263997"/>
                  </a:lnTo>
                  <a:lnTo>
                    <a:pt x="3070615" y="275722"/>
                  </a:lnTo>
                  <a:lnTo>
                    <a:pt x="3068984" y="276546"/>
                  </a:lnTo>
                  <a:lnTo>
                    <a:pt x="3068984" y="278297"/>
                  </a:lnTo>
                  <a:lnTo>
                    <a:pt x="3070615" y="279584"/>
                  </a:lnTo>
                  <a:lnTo>
                    <a:pt x="3069564" y="320185"/>
                  </a:lnTo>
                  <a:lnTo>
                    <a:pt x="3060715" y="323395"/>
                  </a:lnTo>
                  <a:lnTo>
                    <a:pt x="3061876" y="326142"/>
                  </a:lnTo>
                  <a:lnTo>
                    <a:pt x="3063508" y="326142"/>
                  </a:lnTo>
                  <a:lnTo>
                    <a:pt x="3060550" y="331189"/>
                  </a:lnTo>
                  <a:lnTo>
                    <a:pt x="3057895" y="331189"/>
                  </a:lnTo>
                  <a:lnTo>
                    <a:pt x="3057895" y="339893"/>
                  </a:lnTo>
                  <a:lnTo>
                    <a:pt x="3044455" y="344013"/>
                  </a:lnTo>
                  <a:lnTo>
                    <a:pt x="3044455" y="337421"/>
                  </a:lnTo>
                  <a:lnTo>
                    <a:pt x="3042381" y="337335"/>
                  </a:lnTo>
                  <a:lnTo>
                    <a:pt x="3040473" y="333850"/>
                  </a:lnTo>
                  <a:lnTo>
                    <a:pt x="3041220" y="332940"/>
                  </a:lnTo>
                  <a:lnTo>
                    <a:pt x="3040334" y="332116"/>
                  </a:lnTo>
                  <a:lnTo>
                    <a:pt x="3041220" y="330932"/>
                  </a:lnTo>
                  <a:lnTo>
                    <a:pt x="3039450" y="329558"/>
                  </a:lnTo>
                  <a:lnTo>
                    <a:pt x="3037542" y="331017"/>
                  </a:lnTo>
                  <a:lnTo>
                    <a:pt x="3038288" y="332202"/>
                  </a:lnTo>
                  <a:lnTo>
                    <a:pt x="3037404" y="333112"/>
                  </a:lnTo>
                  <a:lnTo>
                    <a:pt x="3037984" y="333472"/>
                  </a:lnTo>
                  <a:lnTo>
                    <a:pt x="3036518" y="336957"/>
                  </a:lnTo>
                  <a:lnTo>
                    <a:pt x="3034444" y="336957"/>
                  </a:lnTo>
                  <a:lnTo>
                    <a:pt x="3034444" y="347103"/>
                  </a:lnTo>
                  <a:lnTo>
                    <a:pt x="2991140" y="360407"/>
                  </a:lnTo>
                  <a:lnTo>
                    <a:pt x="2990890" y="357215"/>
                  </a:lnTo>
                  <a:lnTo>
                    <a:pt x="2992661" y="355841"/>
                  </a:lnTo>
                  <a:lnTo>
                    <a:pt x="2986300" y="347034"/>
                  </a:lnTo>
                  <a:lnTo>
                    <a:pt x="2987628" y="346022"/>
                  </a:lnTo>
                  <a:lnTo>
                    <a:pt x="2985277" y="345472"/>
                  </a:lnTo>
                  <a:lnTo>
                    <a:pt x="2986466" y="344373"/>
                  </a:lnTo>
                  <a:lnTo>
                    <a:pt x="2984558" y="341987"/>
                  </a:lnTo>
                  <a:lnTo>
                    <a:pt x="2982346" y="344373"/>
                  </a:lnTo>
                  <a:lnTo>
                    <a:pt x="2983534" y="345661"/>
                  </a:lnTo>
                  <a:lnTo>
                    <a:pt x="2981765" y="346125"/>
                  </a:lnTo>
                  <a:lnTo>
                    <a:pt x="2982484" y="346863"/>
                  </a:lnTo>
                  <a:lnTo>
                    <a:pt x="2980410" y="349712"/>
                  </a:lnTo>
                  <a:lnTo>
                    <a:pt x="2979083" y="349712"/>
                  </a:lnTo>
                  <a:lnTo>
                    <a:pt x="2975239" y="355858"/>
                  </a:lnTo>
                  <a:lnTo>
                    <a:pt x="2976732" y="356854"/>
                  </a:lnTo>
                  <a:lnTo>
                    <a:pt x="2976732" y="361523"/>
                  </a:lnTo>
                  <a:lnTo>
                    <a:pt x="2972308" y="362433"/>
                  </a:lnTo>
                  <a:lnTo>
                    <a:pt x="2972308" y="364631"/>
                  </a:lnTo>
                  <a:lnTo>
                    <a:pt x="2973746" y="365764"/>
                  </a:lnTo>
                  <a:lnTo>
                    <a:pt x="2970538" y="366742"/>
                  </a:lnTo>
                  <a:lnTo>
                    <a:pt x="2970538" y="409901"/>
                  </a:lnTo>
                  <a:lnTo>
                    <a:pt x="2966113" y="413471"/>
                  </a:lnTo>
                  <a:lnTo>
                    <a:pt x="2957375" y="521642"/>
                  </a:lnTo>
                  <a:lnTo>
                    <a:pt x="2952176" y="171019"/>
                  </a:lnTo>
                  <a:lnTo>
                    <a:pt x="2946645" y="171019"/>
                  </a:lnTo>
                  <a:lnTo>
                    <a:pt x="2946645" y="160135"/>
                  </a:lnTo>
                  <a:lnTo>
                    <a:pt x="2952176" y="160135"/>
                  </a:lnTo>
                  <a:lnTo>
                    <a:pt x="2952176" y="149818"/>
                  </a:lnTo>
                  <a:lnTo>
                    <a:pt x="2868138" y="149818"/>
                  </a:lnTo>
                  <a:lnTo>
                    <a:pt x="2868138" y="132633"/>
                  </a:lnTo>
                  <a:lnTo>
                    <a:pt x="2767508" y="132633"/>
                  </a:lnTo>
                  <a:lnTo>
                    <a:pt x="2767508" y="149818"/>
                  </a:lnTo>
                  <a:lnTo>
                    <a:pt x="2683469" y="149818"/>
                  </a:lnTo>
                  <a:lnTo>
                    <a:pt x="2683469" y="160135"/>
                  </a:lnTo>
                  <a:lnTo>
                    <a:pt x="2689940" y="160135"/>
                  </a:lnTo>
                  <a:lnTo>
                    <a:pt x="2689940" y="171019"/>
                  </a:lnTo>
                  <a:lnTo>
                    <a:pt x="2683469" y="171019"/>
                  </a:lnTo>
                  <a:lnTo>
                    <a:pt x="2678851" y="354399"/>
                  </a:lnTo>
                  <a:lnTo>
                    <a:pt x="2582728" y="354399"/>
                  </a:lnTo>
                  <a:lnTo>
                    <a:pt x="2579133" y="99398"/>
                  </a:lnTo>
                  <a:lnTo>
                    <a:pt x="2536658" y="99398"/>
                  </a:lnTo>
                  <a:lnTo>
                    <a:pt x="2536658" y="86213"/>
                  </a:lnTo>
                  <a:lnTo>
                    <a:pt x="2529275" y="86213"/>
                  </a:lnTo>
                  <a:lnTo>
                    <a:pt x="2529275" y="99398"/>
                  </a:lnTo>
                  <a:lnTo>
                    <a:pt x="2491390" y="99398"/>
                  </a:lnTo>
                  <a:lnTo>
                    <a:pt x="2491390" y="90797"/>
                  </a:lnTo>
                  <a:lnTo>
                    <a:pt x="2411057" y="90797"/>
                  </a:lnTo>
                  <a:lnTo>
                    <a:pt x="2411057" y="99398"/>
                  </a:lnTo>
                  <a:lnTo>
                    <a:pt x="2324254" y="99398"/>
                  </a:lnTo>
                  <a:lnTo>
                    <a:pt x="2320603" y="335258"/>
                  </a:lnTo>
                  <a:cubicBezTo>
                    <a:pt x="2337997" y="330606"/>
                    <a:pt x="2360397" y="327017"/>
                    <a:pt x="2379588" y="327017"/>
                  </a:cubicBezTo>
                  <a:cubicBezTo>
                    <a:pt x="2408541" y="327017"/>
                    <a:pt x="2436470" y="332511"/>
                    <a:pt x="2460307" y="342880"/>
                  </a:cubicBezTo>
                  <a:cubicBezTo>
                    <a:pt x="2480937" y="351841"/>
                    <a:pt x="2497418" y="363961"/>
                    <a:pt x="2508369" y="378124"/>
                  </a:cubicBezTo>
                  <a:lnTo>
                    <a:pt x="2534723" y="378124"/>
                  </a:lnTo>
                  <a:lnTo>
                    <a:pt x="2534723" y="395669"/>
                  </a:lnTo>
                  <a:lnTo>
                    <a:pt x="2583171" y="395669"/>
                  </a:lnTo>
                  <a:lnTo>
                    <a:pt x="2583171" y="395154"/>
                  </a:lnTo>
                  <a:lnTo>
                    <a:pt x="2583254" y="395154"/>
                  </a:lnTo>
                  <a:cubicBezTo>
                    <a:pt x="2583254" y="395154"/>
                    <a:pt x="2583171" y="389351"/>
                    <a:pt x="2583171" y="389351"/>
                  </a:cubicBezTo>
                  <a:lnTo>
                    <a:pt x="2677938" y="389351"/>
                  </a:lnTo>
                  <a:lnTo>
                    <a:pt x="2677773" y="395686"/>
                  </a:lnTo>
                  <a:lnTo>
                    <a:pt x="2871566" y="395686"/>
                  </a:lnTo>
                  <a:lnTo>
                    <a:pt x="2865981" y="520852"/>
                  </a:lnTo>
                  <a:lnTo>
                    <a:pt x="2857657" y="404321"/>
                  </a:lnTo>
                  <a:lnTo>
                    <a:pt x="2416615" y="404321"/>
                  </a:lnTo>
                  <a:lnTo>
                    <a:pt x="2409509" y="522037"/>
                  </a:lnTo>
                  <a:lnTo>
                    <a:pt x="2403342" y="396613"/>
                  </a:lnTo>
                  <a:lnTo>
                    <a:pt x="2520813" y="396613"/>
                  </a:lnTo>
                  <a:lnTo>
                    <a:pt x="2520813" y="386776"/>
                  </a:lnTo>
                  <a:lnTo>
                    <a:pt x="2499299" y="386776"/>
                  </a:lnTo>
                  <a:cubicBezTo>
                    <a:pt x="2479692" y="356751"/>
                    <a:pt x="2433484" y="335670"/>
                    <a:pt x="2379560" y="335670"/>
                  </a:cubicBezTo>
                  <a:cubicBezTo>
                    <a:pt x="2325636" y="335670"/>
                    <a:pt x="2279428" y="356768"/>
                    <a:pt x="2259821" y="386776"/>
                  </a:cubicBezTo>
                  <a:lnTo>
                    <a:pt x="2240520" y="386776"/>
                  </a:lnTo>
                  <a:lnTo>
                    <a:pt x="2231338" y="523479"/>
                  </a:lnTo>
                  <a:lnTo>
                    <a:pt x="2223734" y="415068"/>
                  </a:lnTo>
                  <a:lnTo>
                    <a:pt x="2215189" y="415480"/>
                  </a:lnTo>
                  <a:lnTo>
                    <a:pt x="2215189" y="411737"/>
                  </a:lnTo>
                  <a:lnTo>
                    <a:pt x="2090002" y="411737"/>
                  </a:lnTo>
                  <a:lnTo>
                    <a:pt x="2090002" y="393609"/>
                  </a:lnTo>
                  <a:lnTo>
                    <a:pt x="2025903" y="393609"/>
                  </a:lnTo>
                  <a:lnTo>
                    <a:pt x="2025903" y="230727"/>
                  </a:lnTo>
                  <a:lnTo>
                    <a:pt x="2023884" y="230727"/>
                  </a:lnTo>
                  <a:lnTo>
                    <a:pt x="2023884" y="225731"/>
                  </a:lnTo>
                  <a:lnTo>
                    <a:pt x="2024299" y="225010"/>
                  </a:lnTo>
                  <a:lnTo>
                    <a:pt x="2024299" y="223911"/>
                  </a:lnTo>
                  <a:lnTo>
                    <a:pt x="2023469" y="223499"/>
                  </a:lnTo>
                  <a:lnTo>
                    <a:pt x="2023469" y="221456"/>
                  </a:lnTo>
                  <a:lnTo>
                    <a:pt x="2022611" y="221199"/>
                  </a:lnTo>
                  <a:lnTo>
                    <a:pt x="2022611" y="209800"/>
                  </a:lnTo>
                  <a:lnTo>
                    <a:pt x="2024299" y="208289"/>
                  </a:lnTo>
                  <a:lnTo>
                    <a:pt x="2024299" y="204495"/>
                  </a:lnTo>
                  <a:lnTo>
                    <a:pt x="2022611" y="201525"/>
                  </a:lnTo>
                  <a:lnTo>
                    <a:pt x="2021616" y="201525"/>
                  </a:lnTo>
                  <a:lnTo>
                    <a:pt x="2021616" y="196942"/>
                  </a:lnTo>
                  <a:lnTo>
                    <a:pt x="2015062" y="194178"/>
                  </a:lnTo>
                  <a:lnTo>
                    <a:pt x="2012131" y="194178"/>
                  </a:lnTo>
                  <a:lnTo>
                    <a:pt x="2012131" y="193388"/>
                  </a:lnTo>
                  <a:lnTo>
                    <a:pt x="2010444" y="193028"/>
                  </a:lnTo>
                  <a:lnTo>
                    <a:pt x="2010444" y="190058"/>
                  </a:lnTo>
                  <a:lnTo>
                    <a:pt x="2008758" y="189131"/>
                  </a:lnTo>
                  <a:lnTo>
                    <a:pt x="2008758" y="186882"/>
                  </a:lnTo>
                  <a:lnTo>
                    <a:pt x="2007486" y="186882"/>
                  </a:lnTo>
                  <a:lnTo>
                    <a:pt x="2007486" y="188444"/>
                  </a:lnTo>
                  <a:lnTo>
                    <a:pt x="2003614" y="186315"/>
                  </a:lnTo>
                  <a:lnTo>
                    <a:pt x="2003614" y="159757"/>
                  </a:lnTo>
                  <a:lnTo>
                    <a:pt x="2000102" y="156736"/>
                  </a:lnTo>
                  <a:lnTo>
                    <a:pt x="2000102" y="153200"/>
                  </a:lnTo>
                  <a:lnTo>
                    <a:pt x="1998747" y="151792"/>
                  </a:lnTo>
                  <a:lnTo>
                    <a:pt x="1999660" y="151002"/>
                  </a:lnTo>
                  <a:lnTo>
                    <a:pt x="1998249" y="149131"/>
                  </a:lnTo>
                  <a:lnTo>
                    <a:pt x="1996811" y="150436"/>
                  </a:lnTo>
                  <a:lnTo>
                    <a:pt x="1994709" y="149131"/>
                  </a:lnTo>
                  <a:lnTo>
                    <a:pt x="1994709" y="146573"/>
                  </a:lnTo>
                  <a:lnTo>
                    <a:pt x="1992857" y="145423"/>
                  </a:lnTo>
                  <a:lnTo>
                    <a:pt x="1992857" y="142607"/>
                  </a:lnTo>
                  <a:lnTo>
                    <a:pt x="1989152" y="140462"/>
                  </a:lnTo>
                  <a:lnTo>
                    <a:pt x="1984118" y="140462"/>
                  </a:lnTo>
                  <a:lnTo>
                    <a:pt x="1983455" y="140050"/>
                  </a:lnTo>
                  <a:lnTo>
                    <a:pt x="1983455" y="126247"/>
                  </a:lnTo>
                  <a:lnTo>
                    <a:pt x="1978339" y="123792"/>
                  </a:lnTo>
                  <a:lnTo>
                    <a:pt x="1978339" y="122917"/>
                  </a:lnTo>
                  <a:lnTo>
                    <a:pt x="1975380" y="121938"/>
                  </a:lnTo>
                  <a:lnTo>
                    <a:pt x="1975380" y="106419"/>
                  </a:lnTo>
                  <a:lnTo>
                    <a:pt x="1974550" y="106419"/>
                  </a:lnTo>
                  <a:lnTo>
                    <a:pt x="1974550" y="108428"/>
                  </a:lnTo>
                  <a:cubicBezTo>
                    <a:pt x="1973002" y="107896"/>
                    <a:pt x="1971398" y="108102"/>
                    <a:pt x="1969711" y="108204"/>
                  </a:cubicBezTo>
                  <a:cubicBezTo>
                    <a:pt x="1968383" y="108291"/>
                    <a:pt x="1967195" y="107947"/>
                    <a:pt x="1965895" y="107982"/>
                  </a:cubicBezTo>
                  <a:cubicBezTo>
                    <a:pt x="1965065" y="107998"/>
                    <a:pt x="1964816" y="108256"/>
                    <a:pt x="1964208" y="108582"/>
                  </a:cubicBezTo>
                  <a:cubicBezTo>
                    <a:pt x="1965480" y="109046"/>
                    <a:pt x="1965314" y="109938"/>
                    <a:pt x="1965314" y="110728"/>
                  </a:cubicBezTo>
                  <a:cubicBezTo>
                    <a:pt x="1966254" y="110471"/>
                    <a:pt x="1967277" y="110642"/>
                    <a:pt x="1968163" y="110882"/>
                  </a:cubicBezTo>
                  <a:cubicBezTo>
                    <a:pt x="1969296" y="111192"/>
                    <a:pt x="1970182" y="111518"/>
                    <a:pt x="1971426" y="111535"/>
                  </a:cubicBezTo>
                  <a:cubicBezTo>
                    <a:pt x="1972283" y="111535"/>
                    <a:pt x="1972836" y="111483"/>
                    <a:pt x="1973527" y="111827"/>
                  </a:cubicBezTo>
                  <a:cubicBezTo>
                    <a:pt x="1973693" y="111912"/>
                    <a:pt x="1974163" y="112222"/>
                    <a:pt x="1974523" y="112290"/>
                  </a:cubicBezTo>
                  <a:lnTo>
                    <a:pt x="1974523" y="113080"/>
                  </a:lnTo>
                  <a:cubicBezTo>
                    <a:pt x="1973693" y="112719"/>
                    <a:pt x="1972117" y="112548"/>
                    <a:pt x="1971370" y="112599"/>
                  </a:cubicBezTo>
                  <a:cubicBezTo>
                    <a:pt x="1970430" y="112668"/>
                    <a:pt x="1970209" y="113286"/>
                    <a:pt x="1969296" y="113475"/>
                  </a:cubicBezTo>
                  <a:cubicBezTo>
                    <a:pt x="1968466" y="113629"/>
                    <a:pt x="1967720" y="113372"/>
                    <a:pt x="1967250" y="113887"/>
                  </a:cubicBezTo>
                  <a:cubicBezTo>
                    <a:pt x="1967554" y="114076"/>
                    <a:pt x="1967692" y="114385"/>
                    <a:pt x="1967637" y="114677"/>
                  </a:cubicBezTo>
                  <a:cubicBezTo>
                    <a:pt x="1969047" y="114728"/>
                    <a:pt x="1970347" y="114591"/>
                    <a:pt x="1971619" y="115054"/>
                  </a:cubicBezTo>
                  <a:cubicBezTo>
                    <a:pt x="1972338" y="115329"/>
                    <a:pt x="1972891" y="115397"/>
                    <a:pt x="1973748" y="115295"/>
                  </a:cubicBezTo>
                  <a:cubicBezTo>
                    <a:pt x="1973997" y="115260"/>
                    <a:pt x="1974273" y="115192"/>
                    <a:pt x="1974523" y="115157"/>
                  </a:cubicBezTo>
                  <a:lnTo>
                    <a:pt x="1974523" y="116513"/>
                  </a:lnTo>
                  <a:cubicBezTo>
                    <a:pt x="1974163" y="116307"/>
                    <a:pt x="1973748" y="116204"/>
                    <a:pt x="1973195" y="116136"/>
                  </a:cubicBezTo>
                  <a:cubicBezTo>
                    <a:pt x="1972283" y="116033"/>
                    <a:pt x="1971758" y="115981"/>
                    <a:pt x="1970928" y="115724"/>
                  </a:cubicBezTo>
                  <a:cubicBezTo>
                    <a:pt x="1970209" y="115518"/>
                    <a:pt x="1969047" y="115329"/>
                    <a:pt x="1968245" y="115466"/>
                  </a:cubicBezTo>
                  <a:cubicBezTo>
                    <a:pt x="1967637" y="115569"/>
                    <a:pt x="1967831" y="115998"/>
                    <a:pt x="1967858" y="116393"/>
                  </a:cubicBezTo>
                  <a:cubicBezTo>
                    <a:pt x="1969656" y="116617"/>
                    <a:pt x="1969241" y="118385"/>
                    <a:pt x="1971121" y="118471"/>
                  </a:cubicBezTo>
                  <a:cubicBezTo>
                    <a:pt x="1972061" y="118522"/>
                    <a:pt x="1972891" y="118591"/>
                    <a:pt x="1973720" y="118882"/>
                  </a:cubicBezTo>
                  <a:cubicBezTo>
                    <a:pt x="1973997" y="118986"/>
                    <a:pt x="1974246" y="119174"/>
                    <a:pt x="1974495" y="119329"/>
                  </a:cubicBezTo>
                  <a:lnTo>
                    <a:pt x="1974495" y="121956"/>
                  </a:lnTo>
                  <a:lnTo>
                    <a:pt x="1971702" y="122882"/>
                  </a:lnTo>
                  <a:lnTo>
                    <a:pt x="1971702" y="123775"/>
                  </a:lnTo>
                  <a:lnTo>
                    <a:pt x="1966586" y="126213"/>
                  </a:lnTo>
                  <a:lnTo>
                    <a:pt x="1966586" y="140016"/>
                  </a:lnTo>
                  <a:lnTo>
                    <a:pt x="1965923" y="140427"/>
                  </a:lnTo>
                  <a:lnTo>
                    <a:pt x="1960890" y="140427"/>
                  </a:lnTo>
                  <a:lnTo>
                    <a:pt x="1957212" y="142556"/>
                  </a:lnTo>
                  <a:lnTo>
                    <a:pt x="1957212" y="145371"/>
                  </a:lnTo>
                  <a:lnTo>
                    <a:pt x="1955359" y="146522"/>
                  </a:lnTo>
                  <a:lnTo>
                    <a:pt x="1955359" y="149062"/>
                  </a:lnTo>
                  <a:lnTo>
                    <a:pt x="1953257" y="150367"/>
                  </a:lnTo>
                  <a:lnTo>
                    <a:pt x="1951820" y="149062"/>
                  </a:lnTo>
                  <a:lnTo>
                    <a:pt x="1950409" y="150934"/>
                  </a:lnTo>
                  <a:lnTo>
                    <a:pt x="1951322" y="151706"/>
                  </a:lnTo>
                  <a:lnTo>
                    <a:pt x="1949966" y="153114"/>
                  </a:lnTo>
                  <a:lnTo>
                    <a:pt x="1949966" y="156651"/>
                  </a:lnTo>
                  <a:lnTo>
                    <a:pt x="1946455" y="159672"/>
                  </a:lnTo>
                  <a:lnTo>
                    <a:pt x="1946455" y="186230"/>
                  </a:lnTo>
                  <a:lnTo>
                    <a:pt x="1942583" y="188358"/>
                  </a:lnTo>
                  <a:lnTo>
                    <a:pt x="1942583" y="186813"/>
                  </a:lnTo>
                  <a:lnTo>
                    <a:pt x="1941339" y="186813"/>
                  </a:lnTo>
                  <a:lnTo>
                    <a:pt x="1941339" y="189062"/>
                  </a:lnTo>
                  <a:lnTo>
                    <a:pt x="1939652" y="189989"/>
                  </a:lnTo>
                  <a:lnTo>
                    <a:pt x="1939652" y="192959"/>
                  </a:lnTo>
                  <a:lnTo>
                    <a:pt x="1937965" y="193336"/>
                  </a:lnTo>
                  <a:lnTo>
                    <a:pt x="1937965" y="194109"/>
                  </a:lnTo>
                  <a:lnTo>
                    <a:pt x="1935034" y="194109"/>
                  </a:lnTo>
                  <a:lnTo>
                    <a:pt x="1928480" y="196873"/>
                  </a:lnTo>
                  <a:lnTo>
                    <a:pt x="1928480" y="201456"/>
                  </a:lnTo>
                  <a:lnTo>
                    <a:pt x="1927484" y="201456"/>
                  </a:lnTo>
                  <a:lnTo>
                    <a:pt x="1925797" y="204426"/>
                  </a:lnTo>
                  <a:lnTo>
                    <a:pt x="1925797" y="208238"/>
                  </a:lnTo>
                  <a:lnTo>
                    <a:pt x="1927484" y="209749"/>
                  </a:lnTo>
                  <a:lnTo>
                    <a:pt x="1927484" y="221148"/>
                  </a:lnTo>
                  <a:lnTo>
                    <a:pt x="1926655" y="221405"/>
                  </a:lnTo>
                  <a:lnTo>
                    <a:pt x="1926655" y="223430"/>
                  </a:lnTo>
                  <a:lnTo>
                    <a:pt x="1925825" y="223843"/>
                  </a:lnTo>
                  <a:lnTo>
                    <a:pt x="1925825" y="224941"/>
                  </a:lnTo>
                  <a:lnTo>
                    <a:pt x="1926240" y="225662"/>
                  </a:lnTo>
                  <a:lnTo>
                    <a:pt x="1926240" y="230658"/>
                  </a:lnTo>
                  <a:lnTo>
                    <a:pt x="1924221" y="230658"/>
                  </a:lnTo>
                  <a:lnTo>
                    <a:pt x="1924221" y="393541"/>
                  </a:lnTo>
                  <a:lnTo>
                    <a:pt x="1860121" y="393541"/>
                  </a:lnTo>
                  <a:lnTo>
                    <a:pt x="1860121" y="411669"/>
                  </a:lnTo>
                  <a:lnTo>
                    <a:pt x="1734934" y="411669"/>
                  </a:lnTo>
                  <a:lnTo>
                    <a:pt x="1734934" y="415411"/>
                  </a:lnTo>
                  <a:lnTo>
                    <a:pt x="1726141" y="415531"/>
                  </a:lnTo>
                  <a:lnTo>
                    <a:pt x="1721966" y="520011"/>
                  </a:lnTo>
                  <a:lnTo>
                    <a:pt x="1711347" y="279859"/>
                  </a:lnTo>
                  <a:lnTo>
                    <a:pt x="1716241" y="276357"/>
                  </a:lnTo>
                  <a:lnTo>
                    <a:pt x="1713780" y="275550"/>
                  </a:lnTo>
                  <a:lnTo>
                    <a:pt x="1713449" y="268872"/>
                  </a:lnTo>
                  <a:lnTo>
                    <a:pt x="1715246" y="267550"/>
                  </a:lnTo>
                  <a:lnTo>
                    <a:pt x="1711319" y="264718"/>
                  </a:lnTo>
                  <a:lnTo>
                    <a:pt x="1706424" y="264718"/>
                  </a:lnTo>
                  <a:lnTo>
                    <a:pt x="1706424" y="269576"/>
                  </a:lnTo>
                  <a:lnTo>
                    <a:pt x="1699263" y="269576"/>
                  </a:lnTo>
                  <a:lnTo>
                    <a:pt x="1699263" y="264718"/>
                  </a:lnTo>
                  <a:lnTo>
                    <a:pt x="1691104" y="264718"/>
                  </a:lnTo>
                  <a:lnTo>
                    <a:pt x="1691104" y="269576"/>
                  </a:lnTo>
                  <a:lnTo>
                    <a:pt x="1683445" y="269576"/>
                  </a:lnTo>
                  <a:lnTo>
                    <a:pt x="1683445" y="264718"/>
                  </a:lnTo>
                  <a:lnTo>
                    <a:pt x="1675287" y="264718"/>
                  </a:lnTo>
                  <a:lnTo>
                    <a:pt x="1675287" y="269576"/>
                  </a:lnTo>
                  <a:lnTo>
                    <a:pt x="1668594" y="269576"/>
                  </a:lnTo>
                  <a:lnTo>
                    <a:pt x="1668594" y="264718"/>
                  </a:lnTo>
                  <a:lnTo>
                    <a:pt x="1659774" y="264718"/>
                  </a:lnTo>
                  <a:lnTo>
                    <a:pt x="1659774" y="269576"/>
                  </a:lnTo>
                  <a:lnTo>
                    <a:pt x="1653413" y="269576"/>
                  </a:lnTo>
                  <a:lnTo>
                    <a:pt x="1653413" y="264718"/>
                  </a:lnTo>
                  <a:lnTo>
                    <a:pt x="1645090" y="264718"/>
                  </a:lnTo>
                  <a:lnTo>
                    <a:pt x="1645090" y="269576"/>
                  </a:lnTo>
                  <a:lnTo>
                    <a:pt x="1639393" y="269576"/>
                  </a:lnTo>
                  <a:lnTo>
                    <a:pt x="1639393" y="264718"/>
                  </a:lnTo>
                  <a:lnTo>
                    <a:pt x="1630904" y="264718"/>
                  </a:lnTo>
                  <a:lnTo>
                    <a:pt x="1630904" y="269576"/>
                  </a:lnTo>
                  <a:lnTo>
                    <a:pt x="1624544" y="269576"/>
                  </a:lnTo>
                  <a:lnTo>
                    <a:pt x="1624544" y="269473"/>
                  </a:lnTo>
                  <a:lnTo>
                    <a:pt x="1623714" y="269473"/>
                  </a:lnTo>
                  <a:lnTo>
                    <a:pt x="1623714" y="279189"/>
                  </a:lnTo>
                  <a:lnTo>
                    <a:pt x="1618515" y="413609"/>
                  </a:lnTo>
                  <a:lnTo>
                    <a:pt x="1616385" y="266160"/>
                  </a:lnTo>
                  <a:lnTo>
                    <a:pt x="1620782" y="261508"/>
                  </a:lnTo>
                  <a:lnTo>
                    <a:pt x="1617602" y="259310"/>
                  </a:lnTo>
                  <a:lnTo>
                    <a:pt x="1617602" y="249748"/>
                  </a:lnTo>
                  <a:lnTo>
                    <a:pt x="1619317" y="248374"/>
                  </a:lnTo>
                  <a:lnTo>
                    <a:pt x="1616026" y="245645"/>
                  </a:lnTo>
                  <a:lnTo>
                    <a:pt x="1612237" y="244666"/>
                  </a:lnTo>
                  <a:lnTo>
                    <a:pt x="1609195" y="246109"/>
                  </a:lnTo>
                  <a:lnTo>
                    <a:pt x="1606735" y="243757"/>
                  </a:lnTo>
                  <a:lnTo>
                    <a:pt x="1600983" y="242847"/>
                  </a:lnTo>
                  <a:lnTo>
                    <a:pt x="1597941" y="244598"/>
                  </a:lnTo>
                  <a:lnTo>
                    <a:pt x="1595369" y="242177"/>
                  </a:lnTo>
                  <a:lnTo>
                    <a:pt x="1592438" y="241576"/>
                  </a:lnTo>
                  <a:lnTo>
                    <a:pt x="1586686" y="241576"/>
                  </a:lnTo>
                  <a:lnTo>
                    <a:pt x="1586686" y="248169"/>
                  </a:lnTo>
                  <a:lnTo>
                    <a:pt x="1578500" y="248014"/>
                  </a:lnTo>
                  <a:lnTo>
                    <a:pt x="1578500" y="241559"/>
                  </a:lnTo>
                  <a:lnTo>
                    <a:pt x="1568352" y="241559"/>
                  </a:lnTo>
                  <a:lnTo>
                    <a:pt x="1568213" y="247619"/>
                  </a:lnTo>
                  <a:lnTo>
                    <a:pt x="1560388" y="247465"/>
                  </a:lnTo>
                  <a:lnTo>
                    <a:pt x="1560388" y="241542"/>
                  </a:lnTo>
                  <a:lnTo>
                    <a:pt x="1551815" y="242074"/>
                  </a:lnTo>
                  <a:lnTo>
                    <a:pt x="1548773" y="245182"/>
                  </a:lnTo>
                  <a:lnTo>
                    <a:pt x="1545593" y="243207"/>
                  </a:lnTo>
                  <a:lnTo>
                    <a:pt x="1538486" y="243963"/>
                  </a:lnTo>
                  <a:lnTo>
                    <a:pt x="1535804" y="246915"/>
                  </a:lnTo>
                  <a:lnTo>
                    <a:pt x="1532513" y="244941"/>
                  </a:lnTo>
                  <a:lnTo>
                    <a:pt x="1528338" y="245405"/>
                  </a:lnTo>
                  <a:lnTo>
                    <a:pt x="1524908" y="248443"/>
                  </a:lnTo>
                  <a:lnTo>
                    <a:pt x="1526125" y="249439"/>
                  </a:lnTo>
                  <a:lnTo>
                    <a:pt x="1526319" y="251859"/>
                  </a:lnTo>
                  <a:lnTo>
                    <a:pt x="1526319" y="259448"/>
                  </a:lnTo>
                  <a:lnTo>
                    <a:pt x="1524908" y="260374"/>
                  </a:lnTo>
                  <a:lnTo>
                    <a:pt x="1523084" y="265834"/>
                  </a:lnTo>
                  <a:lnTo>
                    <a:pt x="1528338" y="268340"/>
                  </a:lnTo>
                  <a:lnTo>
                    <a:pt x="1523637" y="448080"/>
                  </a:lnTo>
                  <a:lnTo>
                    <a:pt x="1523084" y="271602"/>
                  </a:lnTo>
                  <a:lnTo>
                    <a:pt x="1515893" y="266949"/>
                  </a:lnTo>
                  <a:lnTo>
                    <a:pt x="1519046" y="259464"/>
                  </a:lnTo>
                  <a:lnTo>
                    <a:pt x="1521728" y="256958"/>
                  </a:lnTo>
                  <a:lnTo>
                    <a:pt x="1521645" y="256684"/>
                  </a:lnTo>
                  <a:lnTo>
                    <a:pt x="1521645" y="250349"/>
                  </a:lnTo>
                  <a:lnTo>
                    <a:pt x="1519571" y="249061"/>
                  </a:lnTo>
                  <a:cubicBezTo>
                    <a:pt x="1519571" y="249061"/>
                    <a:pt x="1524548" y="242915"/>
                    <a:pt x="1524548" y="242915"/>
                  </a:cubicBezTo>
                  <a:lnTo>
                    <a:pt x="1531766" y="241748"/>
                  </a:lnTo>
                  <a:lnTo>
                    <a:pt x="1534448" y="242864"/>
                  </a:lnTo>
                  <a:lnTo>
                    <a:pt x="1536661" y="240890"/>
                  </a:lnTo>
                  <a:lnTo>
                    <a:pt x="1544487" y="240031"/>
                  </a:lnTo>
                  <a:lnTo>
                    <a:pt x="1548164" y="241044"/>
                  </a:lnTo>
                  <a:lnTo>
                    <a:pt x="1549630" y="238744"/>
                  </a:lnTo>
                  <a:lnTo>
                    <a:pt x="1560498" y="237903"/>
                  </a:lnTo>
                  <a:lnTo>
                    <a:pt x="1564425" y="239808"/>
                  </a:lnTo>
                  <a:lnTo>
                    <a:pt x="1570039" y="239722"/>
                  </a:lnTo>
                  <a:lnTo>
                    <a:pt x="1567356" y="238366"/>
                  </a:lnTo>
                  <a:lnTo>
                    <a:pt x="1567356" y="236770"/>
                  </a:lnTo>
                  <a:lnTo>
                    <a:pt x="1568573" y="235482"/>
                  </a:lnTo>
                  <a:lnTo>
                    <a:pt x="1567964" y="234504"/>
                  </a:lnTo>
                  <a:lnTo>
                    <a:pt x="1567854" y="230023"/>
                  </a:lnTo>
                  <a:lnTo>
                    <a:pt x="1569320" y="229559"/>
                  </a:lnTo>
                  <a:lnTo>
                    <a:pt x="1566388" y="227362"/>
                  </a:lnTo>
                  <a:lnTo>
                    <a:pt x="1561134" y="227362"/>
                  </a:lnTo>
                  <a:lnTo>
                    <a:pt x="1561134" y="232238"/>
                  </a:lnTo>
                  <a:lnTo>
                    <a:pt x="1554276" y="232238"/>
                  </a:lnTo>
                  <a:lnTo>
                    <a:pt x="1554276" y="227585"/>
                  </a:lnTo>
                  <a:lnTo>
                    <a:pt x="1545234" y="227585"/>
                  </a:lnTo>
                  <a:lnTo>
                    <a:pt x="1545234" y="232238"/>
                  </a:lnTo>
                  <a:lnTo>
                    <a:pt x="1537740" y="232238"/>
                  </a:lnTo>
                  <a:lnTo>
                    <a:pt x="1537740" y="227585"/>
                  </a:lnTo>
                  <a:lnTo>
                    <a:pt x="1528836" y="227585"/>
                  </a:lnTo>
                  <a:lnTo>
                    <a:pt x="1528836" y="232238"/>
                  </a:lnTo>
                  <a:lnTo>
                    <a:pt x="1522171" y="232238"/>
                  </a:lnTo>
                  <a:lnTo>
                    <a:pt x="1522171" y="227585"/>
                  </a:lnTo>
                  <a:lnTo>
                    <a:pt x="1513599" y="227585"/>
                  </a:lnTo>
                  <a:lnTo>
                    <a:pt x="1513599" y="232238"/>
                  </a:lnTo>
                  <a:lnTo>
                    <a:pt x="1506602" y="232238"/>
                  </a:lnTo>
                  <a:lnTo>
                    <a:pt x="1506602" y="227362"/>
                  </a:lnTo>
                  <a:lnTo>
                    <a:pt x="1497394" y="227362"/>
                  </a:lnTo>
                  <a:lnTo>
                    <a:pt x="1497394" y="232238"/>
                  </a:lnTo>
                  <a:lnTo>
                    <a:pt x="1490314" y="232238"/>
                  </a:lnTo>
                  <a:lnTo>
                    <a:pt x="1490314" y="227362"/>
                  </a:lnTo>
                  <a:lnTo>
                    <a:pt x="1481686" y="227362"/>
                  </a:lnTo>
                  <a:lnTo>
                    <a:pt x="1481686" y="232238"/>
                  </a:lnTo>
                  <a:lnTo>
                    <a:pt x="1474358" y="232238"/>
                  </a:lnTo>
                  <a:lnTo>
                    <a:pt x="1474358" y="227362"/>
                  </a:lnTo>
                  <a:lnTo>
                    <a:pt x="1465703" y="227362"/>
                  </a:lnTo>
                  <a:lnTo>
                    <a:pt x="1465703" y="232238"/>
                  </a:lnTo>
                  <a:lnTo>
                    <a:pt x="1458596" y="232238"/>
                  </a:lnTo>
                  <a:lnTo>
                    <a:pt x="1458596" y="227362"/>
                  </a:lnTo>
                  <a:lnTo>
                    <a:pt x="1449388" y="227362"/>
                  </a:lnTo>
                  <a:lnTo>
                    <a:pt x="1449388" y="232238"/>
                  </a:lnTo>
                  <a:lnTo>
                    <a:pt x="1442363" y="232238"/>
                  </a:lnTo>
                  <a:lnTo>
                    <a:pt x="1442363" y="227585"/>
                  </a:lnTo>
                  <a:lnTo>
                    <a:pt x="1433819" y="227585"/>
                  </a:lnTo>
                  <a:lnTo>
                    <a:pt x="1433819" y="232238"/>
                  </a:lnTo>
                  <a:lnTo>
                    <a:pt x="1427126" y="232238"/>
                  </a:lnTo>
                  <a:lnTo>
                    <a:pt x="1427126" y="227585"/>
                  </a:lnTo>
                  <a:lnTo>
                    <a:pt x="1418249" y="227585"/>
                  </a:lnTo>
                  <a:lnTo>
                    <a:pt x="1418249" y="232238"/>
                  </a:lnTo>
                  <a:lnTo>
                    <a:pt x="1410756" y="232238"/>
                  </a:lnTo>
                  <a:lnTo>
                    <a:pt x="1410756" y="227585"/>
                  </a:lnTo>
                  <a:lnTo>
                    <a:pt x="1401686" y="227585"/>
                  </a:lnTo>
                  <a:lnTo>
                    <a:pt x="1401686" y="232238"/>
                  </a:lnTo>
                  <a:lnTo>
                    <a:pt x="1394828" y="232238"/>
                  </a:lnTo>
                  <a:lnTo>
                    <a:pt x="1394828" y="227362"/>
                  </a:lnTo>
                  <a:lnTo>
                    <a:pt x="1389573" y="227362"/>
                  </a:lnTo>
                  <a:lnTo>
                    <a:pt x="1386642" y="229559"/>
                  </a:lnTo>
                  <a:lnTo>
                    <a:pt x="1388108" y="230023"/>
                  </a:lnTo>
                  <a:lnTo>
                    <a:pt x="1387997" y="234504"/>
                  </a:lnTo>
                  <a:lnTo>
                    <a:pt x="1387389" y="235482"/>
                  </a:lnTo>
                  <a:lnTo>
                    <a:pt x="1388605" y="236770"/>
                  </a:lnTo>
                  <a:lnTo>
                    <a:pt x="1388605" y="238366"/>
                  </a:lnTo>
                  <a:lnTo>
                    <a:pt x="1385923" y="239722"/>
                  </a:lnTo>
                  <a:lnTo>
                    <a:pt x="1391537" y="239808"/>
                  </a:lnTo>
                  <a:lnTo>
                    <a:pt x="1395436" y="237903"/>
                  </a:lnTo>
                  <a:lnTo>
                    <a:pt x="1406331" y="238744"/>
                  </a:lnTo>
                  <a:lnTo>
                    <a:pt x="1407796" y="241044"/>
                  </a:lnTo>
                  <a:lnTo>
                    <a:pt x="1411474" y="240031"/>
                  </a:lnTo>
                  <a:lnTo>
                    <a:pt x="1419300" y="240890"/>
                  </a:lnTo>
                  <a:lnTo>
                    <a:pt x="1421513" y="242864"/>
                  </a:lnTo>
                  <a:lnTo>
                    <a:pt x="1424196" y="241748"/>
                  </a:lnTo>
                  <a:lnTo>
                    <a:pt x="1431412" y="242915"/>
                  </a:lnTo>
                  <a:lnTo>
                    <a:pt x="1436390" y="249061"/>
                  </a:lnTo>
                  <a:cubicBezTo>
                    <a:pt x="1436390" y="249061"/>
                    <a:pt x="1434316" y="250349"/>
                    <a:pt x="1434316" y="250349"/>
                  </a:cubicBezTo>
                  <a:lnTo>
                    <a:pt x="1434316" y="256684"/>
                  </a:lnTo>
                  <a:lnTo>
                    <a:pt x="1434234" y="256958"/>
                  </a:lnTo>
                  <a:lnTo>
                    <a:pt x="1436916" y="259464"/>
                  </a:lnTo>
                  <a:lnTo>
                    <a:pt x="1440068" y="266949"/>
                  </a:lnTo>
                  <a:lnTo>
                    <a:pt x="1432878" y="271602"/>
                  </a:lnTo>
                  <a:lnTo>
                    <a:pt x="1432325" y="448080"/>
                  </a:lnTo>
                  <a:lnTo>
                    <a:pt x="1427624" y="268340"/>
                  </a:lnTo>
                  <a:lnTo>
                    <a:pt x="1432878" y="265834"/>
                  </a:lnTo>
                  <a:lnTo>
                    <a:pt x="1431053" y="260374"/>
                  </a:lnTo>
                  <a:lnTo>
                    <a:pt x="1429643" y="259448"/>
                  </a:lnTo>
                  <a:lnTo>
                    <a:pt x="1429643" y="251859"/>
                  </a:lnTo>
                  <a:lnTo>
                    <a:pt x="1429809" y="249439"/>
                  </a:lnTo>
                  <a:lnTo>
                    <a:pt x="1431026" y="248443"/>
                  </a:lnTo>
                  <a:lnTo>
                    <a:pt x="1427596" y="245405"/>
                  </a:lnTo>
                  <a:lnTo>
                    <a:pt x="1423448" y="244941"/>
                  </a:lnTo>
                  <a:lnTo>
                    <a:pt x="1420158" y="246915"/>
                  </a:lnTo>
                  <a:lnTo>
                    <a:pt x="1417476" y="243963"/>
                  </a:lnTo>
                  <a:lnTo>
                    <a:pt x="1410368" y="243207"/>
                  </a:lnTo>
                  <a:lnTo>
                    <a:pt x="1407188" y="245182"/>
                  </a:lnTo>
                  <a:lnTo>
                    <a:pt x="1404147" y="242074"/>
                  </a:lnTo>
                  <a:lnTo>
                    <a:pt x="1395574" y="241542"/>
                  </a:lnTo>
                  <a:lnTo>
                    <a:pt x="1395574" y="247465"/>
                  </a:lnTo>
                  <a:lnTo>
                    <a:pt x="1387748" y="247619"/>
                  </a:lnTo>
                  <a:lnTo>
                    <a:pt x="1387610" y="241559"/>
                  </a:lnTo>
                  <a:lnTo>
                    <a:pt x="1377461" y="241559"/>
                  </a:lnTo>
                  <a:lnTo>
                    <a:pt x="1377461" y="248014"/>
                  </a:lnTo>
                  <a:lnTo>
                    <a:pt x="1369276" y="248169"/>
                  </a:lnTo>
                  <a:lnTo>
                    <a:pt x="1369276" y="241576"/>
                  </a:lnTo>
                  <a:lnTo>
                    <a:pt x="1363524" y="241576"/>
                  </a:lnTo>
                  <a:lnTo>
                    <a:pt x="1360593" y="242177"/>
                  </a:lnTo>
                  <a:lnTo>
                    <a:pt x="1358021" y="244598"/>
                  </a:lnTo>
                  <a:lnTo>
                    <a:pt x="1354979" y="242847"/>
                  </a:lnTo>
                  <a:lnTo>
                    <a:pt x="1349227" y="243757"/>
                  </a:lnTo>
                  <a:lnTo>
                    <a:pt x="1346794" y="246109"/>
                  </a:lnTo>
                  <a:lnTo>
                    <a:pt x="1343725" y="244666"/>
                  </a:lnTo>
                  <a:lnTo>
                    <a:pt x="1339935" y="245645"/>
                  </a:lnTo>
                  <a:lnTo>
                    <a:pt x="1336645" y="248374"/>
                  </a:lnTo>
                  <a:lnTo>
                    <a:pt x="1338359" y="249748"/>
                  </a:lnTo>
                  <a:lnTo>
                    <a:pt x="1338359" y="259310"/>
                  </a:lnTo>
                  <a:lnTo>
                    <a:pt x="1335179" y="261508"/>
                  </a:lnTo>
                  <a:lnTo>
                    <a:pt x="1339549" y="266160"/>
                  </a:lnTo>
                  <a:lnTo>
                    <a:pt x="1337447" y="413609"/>
                  </a:lnTo>
                  <a:lnTo>
                    <a:pt x="1331446" y="269576"/>
                  </a:lnTo>
                  <a:lnTo>
                    <a:pt x="1325086" y="269576"/>
                  </a:lnTo>
                  <a:lnTo>
                    <a:pt x="1325086" y="264718"/>
                  </a:lnTo>
                  <a:lnTo>
                    <a:pt x="1316596" y="264718"/>
                  </a:lnTo>
                  <a:lnTo>
                    <a:pt x="1316596" y="269576"/>
                  </a:lnTo>
                  <a:lnTo>
                    <a:pt x="1310900" y="269576"/>
                  </a:lnTo>
                  <a:lnTo>
                    <a:pt x="1310900" y="264718"/>
                  </a:lnTo>
                  <a:lnTo>
                    <a:pt x="1302576" y="264718"/>
                  </a:lnTo>
                  <a:lnTo>
                    <a:pt x="1302576" y="269576"/>
                  </a:lnTo>
                  <a:lnTo>
                    <a:pt x="1296216" y="269576"/>
                  </a:lnTo>
                  <a:lnTo>
                    <a:pt x="1296216" y="264718"/>
                  </a:lnTo>
                  <a:lnTo>
                    <a:pt x="1287395" y="264718"/>
                  </a:lnTo>
                  <a:lnTo>
                    <a:pt x="1287395" y="269576"/>
                  </a:lnTo>
                  <a:lnTo>
                    <a:pt x="1280703" y="269576"/>
                  </a:lnTo>
                  <a:lnTo>
                    <a:pt x="1280703" y="264718"/>
                  </a:lnTo>
                  <a:lnTo>
                    <a:pt x="1272544" y="264718"/>
                  </a:lnTo>
                  <a:lnTo>
                    <a:pt x="1272544" y="269576"/>
                  </a:lnTo>
                  <a:lnTo>
                    <a:pt x="1264885" y="269576"/>
                  </a:lnTo>
                  <a:lnTo>
                    <a:pt x="1264885" y="264718"/>
                  </a:lnTo>
                  <a:lnTo>
                    <a:pt x="1256727" y="264718"/>
                  </a:lnTo>
                  <a:lnTo>
                    <a:pt x="1256727" y="269576"/>
                  </a:lnTo>
                  <a:lnTo>
                    <a:pt x="1249538" y="269576"/>
                  </a:lnTo>
                  <a:lnTo>
                    <a:pt x="1249538" y="264718"/>
                  </a:lnTo>
                  <a:lnTo>
                    <a:pt x="1244642" y="264718"/>
                  </a:lnTo>
                  <a:lnTo>
                    <a:pt x="1240744" y="267550"/>
                  </a:lnTo>
                  <a:lnTo>
                    <a:pt x="1242541" y="268872"/>
                  </a:lnTo>
                  <a:lnTo>
                    <a:pt x="1242209" y="275550"/>
                  </a:lnTo>
                  <a:lnTo>
                    <a:pt x="1239776" y="276357"/>
                  </a:lnTo>
                  <a:lnTo>
                    <a:pt x="1244670" y="279859"/>
                  </a:lnTo>
                  <a:lnTo>
                    <a:pt x="1244477" y="489763"/>
                  </a:lnTo>
                  <a:lnTo>
                    <a:pt x="1224871" y="465797"/>
                  </a:lnTo>
                  <a:lnTo>
                    <a:pt x="1197715" y="432012"/>
                  </a:lnTo>
                  <a:cubicBezTo>
                    <a:pt x="892976" y="432012"/>
                    <a:pt x="842564" y="398227"/>
                    <a:pt x="842564" y="398227"/>
                  </a:cubicBezTo>
                  <a:cubicBezTo>
                    <a:pt x="842564" y="398227"/>
                    <a:pt x="794724" y="431771"/>
                    <a:pt x="489957" y="431771"/>
                  </a:cubicBezTo>
                  <a:cubicBezTo>
                    <a:pt x="480472" y="431771"/>
                    <a:pt x="470766" y="431737"/>
                    <a:pt x="460783" y="431669"/>
                  </a:cubicBezTo>
                  <a:lnTo>
                    <a:pt x="460783" y="431635"/>
                  </a:lnTo>
                  <a:cubicBezTo>
                    <a:pt x="460037" y="431635"/>
                    <a:pt x="459290" y="431635"/>
                    <a:pt x="458544" y="431635"/>
                  </a:cubicBezTo>
                  <a:cubicBezTo>
                    <a:pt x="457796" y="431635"/>
                    <a:pt x="457078" y="431635"/>
                    <a:pt x="456303" y="431635"/>
                  </a:cubicBezTo>
                  <a:lnTo>
                    <a:pt x="456303" y="431669"/>
                  </a:lnTo>
                  <a:cubicBezTo>
                    <a:pt x="446320" y="431737"/>
                    <a:pt x="436587" y="431771"/>
                    <a:pt x="427129" y="431771"/>
                  </a:cubicBezTo>
                  <a:cubicBezTo>
                    <a:pt x="122391" y="431771"/>
                    <a:pt x="74523" y="398227"/>
                    <a:pt x="74523" y="398227"/>
                  </a:cubicBezTo>
                  <a:cubicBezTo>
                    <a:pt x="74523" y="398227"/>
                    <a:pt x="61926" y="406673"/>
                    <a:pt x="11234" y="415120"/>
                  </a:cubicBezTo>
                  <a:lnTo>
                    <a:pt x="2720" y="416279"/>
                  </a:lnTo>
                  <a:lnTo>
                    <a:pt x="2543" y="419776"/>
                  </a:lnTo>
                  <a:lnTo>
                    <a:pt x="9288" y="418793"/>
                  </a:lnTo>
                  <a:lnTo>
                    <a:pt x="2298" y="424635"/>
                  </a:lnTo>
                  <a:lnTo>
                    <a:pt x="2039" y="429753"/>
                  </a:lnTo>
                  <a:lnTo>
                    <a:pt x="11777" y="421609"/>
                  </a:lnTo>
                  <a:lnTo>
                    <a:pt x="12828" y="464406"/>
                  </a:lnTo>
                  <a:lnTo>
                    <a:pt x="290" y="464406"/>
                  </a:lnTo>
                  <a:lnTo>
                    <a:pt x="0" y="470140"/>
                  </a:lnTo>
                  <a:lnTo>
                    <a:pt x="45653" y="470140"/>
                  </a:lnTo>
                  <a:cubicBezTo>
                    <a:pt x="45653" y="470140"/>
                    <a:pt x="46786" y="470140"/>
                    <a:pt x="46786" y="470140"/>
                  </a:cubicBezTo>
                  <a:lnTo>
                    <a:pt x="68992" y="470140"/>
                  </a:lnTo>
                  <a:lnTo>
                    <a:pt x="68992" y="474501"/>
                  </a:lnTo>
                  <a:lnTo>
                    <a:pt x="66558" y="474501"/>
                  </a:lnTo>
                  <a:lnTo>
                    <a:pt x="66558" y="477076"/>
                  </a:lnTo>
                  <a:lnTo>
                    <a:pt x="67195" y="477076"/>
                  </a:lnTo>
                  <a:lnTo>
                    <a:pt x="62714" y="529624"/>
                  </a:lnTo>
                  <a:lnTo>
                    <a:pt x="50520" y="529624"/>
                  </a:lnTo>
                  <a:close/>
                </a:path>
              </a:pathLst>
            </a:custGeom>
            <a:gradFill flip="none" rotWithShape="1">
              <a:gsLst>
                <a:gs pos="22000">
                  <a:schemeClr val="bg1">
                    <a:alpha val="0"/>
                  </a:schemeClr>
                </a:gs>
                <a:gs pos="82000">
                  <a:schemeClr val="bg1">
                    <a:alpha val="6000"/>
                  </a:schemeClr>
                </a:gs>
              </a:gsLst>
              <a:lin ang="5400000" scaled="0"/>
              <a:tileRect/>
            </a:gradFill>
            <a:ln w="3056" cap="flat">
              <a:noFill/>
              <a:prstDash val="solid"/>
              <a:miter/>
            </a:ln>
          </p:spPr>
          <p:txBody>
            <a:bodyPr wrap="square" rtlCol="0" anchor="ctr">
              <a:noAutofit/>
            </a:bodyPr>
            <a:lstStyle/>
            <a:p>
              <a:endParaRPr lang="en-US" sz="2419"/>
            </a:p>
          </p:txBody>
        </p:sp>
        <p:sp>
          <p:nvSpPr>
            <p:cNvPr id="25" name="Freeform: Shape 24">
              <a:extLst>
                <a:ext uri="{FF2B5EF4-FFF2-40B4-BE49-F238E27FC236}">
                  <a16:creationId xmlns:a16="http://schemas.microsoft.com/office/drawing/2014/main" id="{FA9C3C07-4D50-FFC3-8B56-9F77BB24ABEA}"/>
                </a:ext>
              </a:extLst>
            </p:cNvPr>
            <p:cNvSpPr/>
            <p:nvPr/>
          </p:nvSpPr>
          <p:spPr bwMode="gray">
            <a:xfrm>
              <a:off x="6379138" y="1704434"/>
              <a:ext cx="1041817" cy="1041817"/>
            </a:xfrm>
            <a:custGeom>
              <a:avLst/>
              <a:gdLst>
                <a:gd name="connsiteX0" fmla="*/ 391858 w 839910"/>
                <a:gd name="connsiteY0" fmla="*/ 827823 h 839910"/>
                <a:gd name="connsiteX1" fmla="*/ 396918 w 839910"/>
                <a:gd name="connsiteY1" fmla="*/ 832883 h 839910"/>
                <a:gd name="connsiteX2" fmla="*/ 396946 w 839910"/>
                <a:gd name="connsiteY2" fmla="*/ 832883 h 839910"/>
                <a:gd name="connsiteX3" fmla="*/ 396946 w 839910"/>
                <a:gd name="connsiteY3" fmla="*/ 834570 h 839910"/>
                <a:gd name="connsiteX4" fmla="*/ 386797 w 839910"/>
                <a:gd name="connsiteY4" fmla="*/ 834570 h 839910"/>
                <a:gd name="connsiteX5" fmla="*/ 386797 w 839910"/>
                <a:gd name="connsiteY5" fmla="*/ 832883 h 839910"/>
                <a:gd name="connsiteX6" fmla="*/ 391858 w 839910"/>
                <a:gd name="connsiteY6" fmla="*/ 827823 h 839910"/>
                <a:gd name="connsiteX7" fmla="*/ 399545 w 839910"/>
                <a:gd name="connsiteY7" fmla="*/ 806032 h 839910"/>
                <a:gd name="connsiteX8" fmla="*/ 403942 w 839910"/>
                <a:gd name="connsiteY8" fmla="*/ 806032 h 839910"/>
                <a:gd name="connsiteX9" fmla="*/ 403942 w 839910"/>
                <a:gd name="connsiteY9" fmla="*/ 815710 h 839910"/>
                <a:gd name="connsiteX10" fmla="*/ 399545 w 839910"/>
                <a:gd name="connsiteY10" fmla="*/ 815710 h 839910"/>
                <a:gd name="connsiteX11" fmla="*/ 393379 w 839910"/>
                <a:gd name="connsiteY11" fmla="*/ 806004 h 839910"/>
                <a:gd name="connsiteX12" fmla="*/ 397388 w 839910"/>
                <a:gd name="connsiteY12" fmla="*/ 806004 h 839910"/>
                <a:gd name="connsiteX13" fmla="*/ 397388 w 839910"/>
                <a:gd name="connsiteY13" fmla="*/ 815683 h 839910"/>
                <a:gd name="connsiteX14" fmla="*/ 393379 w 839910"/>
                <a:gd name="connsiteY14" fmla="*/ 815683 h 839910"/>
                <a:gd name="connsiteX15" fmla="*/ 386382 w 839910"/>
                <a:gd name="connsiteY15" fmla="*/ 806004 h 839910"/>
                <a:gd name="connsiteX16" fmla="*/ 391747 w 839910"/>
                <a:gd name="connsiteY16" fmla="*/ 806004 h 839910"/>
                <a:gd name="connsiteX17" fmla="*/ 391747 w 839910"/>
                <a:gd name="connsiteY17" fmla="*/ 815683 h 839910"/>
                <a:gd name="connsiteX18" fmla="*/ 386382 w 839910"/>
                <a:gd name="connsiteY18" fmla="*/ 815683 h 839910"/>
                <a:gd name="connsiteX19" fmla="*/ 379801 w 839910"/>
                <a:gd name="connsiteY19" fmla="*/ 806004 h 839910"/>
                <a:gd name="connsiteX20" fmla="*/ 384198 w 839910"/>
                <a:gd name="connsiteY20" fmla="*/ 806004 h 839910"/>
                <a:gd name="connsiteX21" fmla="*/ 384198 w 839910"/>
                <a:gd name="connsiteY21" fmla="*/ 815683 h 839910"/>
                <a:gd name="connsiteX22" fmla="*/ 379801 w 839910"/>
                <a:gd name="connsiteY22" fmla="*/ 815683 h 839910"/>
                <a:gd name="connsiteX23" fmla="*/ 419955 w 839910"/>
                <a:gd name="connsiteY23" fmla="*/ 0 h 839910"/>
                <a:gd name="connsiteX24" fmla="*/ 839910 w 839910"/>
                <a:gd name="connsiteY24" fmla="*/ 419955 h 839910"/>
                <a:gd name="connsiteX25" fmla="*/ 654756 w 839910"/>
                <a:gd name="connsiteY25" fmla="*/ 768188 h 839910"/>
                <a:gd name="connsiteX26" fmla="*/ 639294 w 839910"/>
                <a:gd name="connsiteY26" fmla="*/ 776581 h 839910"/>
                <a:gd name="connsiteX27" fmla="*/ 628211 w 839910"/>
                <a:gd name="connsiteY27" fmla="*/ 776581 h 839910"/>
                <a:gd name="connsiteX28" fmla="*/ 628211 w 839910"/>
                <a:gd name="connsiteY28" fmla="*/ 748900 h 839910"/>
                <a:gd name="connsiteX29" fmla="*/ 527580 w 839910"/>
                <a:gd name="connsiteY29" fmla="*/ 748900 h 839910"/>
                <a:gd name="connsiteX30" fmla="*/ 527580 w 839910"/>
                <a:gd name="connsiteY30" fmla="*/ 776581 h 839910"/>
                <a:gd name="connsiteX31" fmla="*/ 443542 w 839910"/>
                <a:gd name="connsiteY31" fmla="*/ 776581 h 839910"/>
                <a:gd name="connsiteX32" fmla="*/ 443542 w 839910"/>
                <a:gd name="connsiteY32" fmla="*/ 793201 h 839910"/>
                <a:gd name="connsiteX33" fmla="*/ 450013 w 839910"/>
                <a:gd name="connsiteY33" fmla="*/ 793201 h 839910"/>
                <a:gd name="connsiteX34" fmla="*/ 450013 w 839910"/>
                <a:gd name="connsiteY34" fmla="*/ 810733 h 839910"/>
                <a:gd name="connsiteX35" fmla="*/ 443542 w 839910"/>
                <a:gd name="connsiteY35" fmla="*/ 810733 h 839910"/>
                <a:gd name="connsiteX36" fmla="*/ 443123 w 839910"/>
                <a:gd name="connsiteY36" fmla="*/ 837575 h 839910"/>
                <a:gd name="connsiteX37" fmla="*/ 419955 w 839910"/>
                <a:gd name="connsiteY37" fmla="*/ 839910 h 839910"/>
                <a:gd name="connsiteX38" fmla="*/ 413039 w 839910"/>
                <a:gd name="connsiteY38" fmla="*/ 839213 h 839910"/>
                <a:gd name="connsiteX39" fmla="*/ 412266 w 839910"/>
                <a:gd name="connsiteY39" fmla="*/ 838054 h 839910"/>
                <a:gd name="connsiteX40" fmla="*/ 412266 w 839910"/>
                <a:gd name="connsiteY40" fmla="*/ 827906 h 839910"/>
                <a:gd name="connsiteX41" fmla="*/ 414810 w 839910"/>
                <a:gd name="connsiteY41" fmla="*/ 825970 h 839910"/>
                <a:gd name="connsiteX42" fmla="*/ 414810 w 839910"/>
                <a:gd name="connsiteY42" fmla="*/ 822237 h 839910"/>
                <a:gd name="connsiteX43" fmla="*/ 412266 w 839910"/>
                <a:gd name="connsiteY43" fmla="*/ 819112 h 839910"/>
                <a:gd name="connsiteX44" fmla="*/ 406763 w 839910"/>
                <a:gd name="connsiteY44" fmla="*/ 819112 h 839910"/>
                <a:gd name="connsiteX45" fmla="*/ 406763 w 839910"/>
                <a:gd name="connsiteY45" fmla="*/ 815683 h 839910"/>
                <a:gd name="connsiteX46" fmla="*/ 405436 w 839910"/>
                <a:gd name="connsiteY46" fmla="*/ 815683 h 839910"/>
                <a:gd name="connsiteX47" fmla="*/ 405436 w 839910"/>
                <a:gd name="connsiteY47" fmla="*/ 806004 h 839910"/>
                <a:gd name="connsiteX48" fmla="*/ 407979 w 839910"/>
                <a:gd name="connsiteY48" fmla="*/ 806004 h 839910"/>
                <a:gd name="connsiteX49" fmla="*/ 407979 w 839910"/>
                <a:gd name="connsiteY49" fmla="*/ 803184 h 839910"/>
                <a:gd name="connsiteX50" fmla="*/ 406624 w 839910"/>
                <a:gd name="connsiteY50" fmla="*/ 803184 h 839910"/>
                <a:gd name="connsiteX51" fmla="*/ 394098 w 839910"/>
                <a:gd name="connsiteY51" fmla="*/ 789606 h 839910"/>
                <a:gd name="connsiteX52" fmla="*/ 394098 w 839910"/>
                <a:gd name="connsiteY52" fmla="*/ 779927 h 839910"/>
                <a:gd name="connsiteX53" fmla="*/ 392604 w 839910"/>
                <a:gd name="connsiteY53" fmla="*/ 779927 h 839910"/>
                <a:gd name="connsiteX54" fmla="*/ 392604 w 839910"/>
                <a:gd name="connsiteY54" fmla="*/ 777632 h 839910"/>
                <a:gd name="connsiteX55" fmla="*/ 393959 w 839910"/>
                <a:gd name="connsiteY55" fmla="*/ 775586 h 839910"/>
                <a:gd name="connsiteX56" fmla="*/ 391858 w 839910"/>
                <a:gd name="connsiteY56" fmla="*/ 773401 h 839910"/>
                <a:gd name="connsiteX57" fmla="*/ 389784 w 839910"/>
                <a:gd name="connsiteY57" fmla="*/ 775586 h 839910"/>
                <a:gd name="connsiteX58" fmla="*/ 390973 w 839910"/>
                <a:gd name="connsiteY58" fmla="*/ 777549 h 839910"/>
                <a:gd name="connsiteX59" fmla="*/ 390973 w 839910"/>
                <a:gd name="connsiteY59" fmla="*/ 779900 h 839910"/>
                <a:gd name="connsiteX60" fmla="*/ 389645 w 839910"/>
                <a:gd name="connsiteY60" fmla="*/ 779900 h 839910"/>
                <a:gd name="connsiteX61" fmla="*/ 389645 w 839910"/>
                <a:gd name="connsiteY61" fmla="*/ 789578 h 839910"/>
                <a:gd name="connsiteX62" fmla="*/ 377119 w 839910"/>
                <a:gd name="connsiteY62" fmla="*/ 803156 h 839910"/>
                <a:gd name="connsiteX63" fmla="*/ 375791 w 839910"/>
                <a:gd name="connsiteY63" fmla="*/ 803156 h 839910"/>
                <a:gd name="connsiteX64" fmla="*/ 375791 w 839910"/>
                <a:gd name="connsiteY64" fmla="*/ 805977 h 839910"/>
                <a:gd name="connsiteX65" fmla="*/ 378335 w 839910"/>
                <a:gd name="connsiteY65" fmla="*/ 805977 h 839910"/>
                <a:gd name="connsiteX66" fmla="*/ 378335 w 839910"/>
                <a:gd name="connsiteY66" fmla="*/ 815655 h 839910"/>
                <a:gd name="connsiteX67" fmla="*/ 376980 w 839910"/>
                <a:gd name="connsiteY67" fmla="*/ 815655 h 839910"/>
                <a:gd name="connsiteX68" fmla="*/ 376980 w 839910"/>
                <a:gd name="connsiteY68" fmla="*/ 819084 h 839910"/>
                <a:gd name="connsiteX69" fmla="*/ 371477 w 839910"/>
                <a:gd name="connsiteY69" fmla="*/ 819084 h 839910"/>
                <a:gd name="connsiteX70" fmla="*/ 368933 w 839910"/>
                <a:gd name="connsiteY70" fmla="*/ 822209 h 839910"/>
                <a:gd name="connsiteX71" fmla="*/ 368933 w 839910"/>
                <a:gd name="connsiteY71" fmla="*/ 825942 h 839910"/>
                <a:gd name="connsiteX72" fmla="*/ 371477 w 839910"/>
                <a:gd name="connsiteY72" fmla="*/ 827878 h 839910"/>
                <a:gd name="connsiteX73" fmla="*/ 371477 w 839910"/>
                <a:gd name="connsiteY73" fmla="*/ 835023 h 839910"/>
                <a:gd name="connsiteX74" fmla="*/ 340401 w 839910"/>
                <a:gd name="connsiteY74" fmla="*/ 831890 h 839910"/>
                <a:gd name="connsiteX75" fmla="*/ 339206 w 839910"/>
                <a:gd name="connsiteY75" fmla="*/ 695364 h 839910"/>
                <a:gd name="connsiteX76" fmla="*/ 296731 w 839910"/>
                <a:gd name="connsiteY76" fmla="*/ 695364 h 839910"/>
                <a:gd name="connsiteX77" fmla="*/ 296731 w 839910"/>
                <a:gd name="connsiteY77" fmla="*/ 674126 h 839910"/>
                <a:gd name="connsiteX78" fmla="*/ 289348 w 839910"/>
                <a:gd name="connsiteY78" fmla="*/ 674126 h 839910"/>
                <a:gd name="connsiteX79" fmla="*/ 289348 w 839910"/>
                <a:gd name="connsiteY79" fmla="*/ 695364 h 839910"/>
                <a:gd name="connsiteX80" fmla="*/ 251463 w 839910"/>
                <a:gd name="connsiteY80" fmla="*/ 695364 h 839910"/>
                <a:gd name="connsiteX81" fmla="*/ 251463 w 839910"/>
                <a:gd name="connsiteY81" fmla="*/ 681509 h 839910"/>
                <a:gd name="connsiteX82" fmla="*/ 171130 w 839910"/>
                <a:gd name="connsiteY82" fmla="*/ 681509 h 839910"/>
                <a:gd name="connsiteX83" fmla="*/ 171130 w 839910"/>
                <a:gd name="connsiteY83" fmla="*/ 695364 h 839910"/>
                <a:gd name="connsiteX84" fmla="*/ 105227 w 839910"/>
                <a:gd name="connsiteY84" fmla="*/ 695364 h 839910"/>
                <a:gd name="connsiteX85" fmla="*/ 71722 w 839910"/>
                <a:gd name="connsiteY85" fmla="*/ 654756 h 839910"/>
                <a:gd name="connsiteX86" fmla="*/ 65618 w 839910"/>
                <a:gd name="connsiteY86" fmla="*/ 643510 h 839910"/>
                <a:gd name="connsiteX87" fmla="*/ 65494 w 839910"/>
                <a:gd name="connsiteY87" fmla="*/ 626867 h 839910"/>
                <a:gd name="connsiteX88" fmla="*/ 56584 w 839910"/>
                <a:gd name="connsiteY88" fmla="*/ 626867 h 839910"/>
                <a:gd name="connsiteX89" fmla="*/ 41547 w 839910"/>
                <a:gd name="connsiteY89" fmla="*/ 599163 h 839910"/>
                <a:gd name="connsiteX90" fmla="*/ 41547 w 839910"/>
                <a:gd name="connsiteY90" fmla="*/ 584862 h 839910"/>
                <a:gd name="connsiteX91" fmla="*/ 33785 w 839910"/>
                <a:gd name="connsiteY91" fmla="*/ 584862 h 839910"/>
                <a:gd name="connsiteX92" fmla="*/ 33002 w 839910"/>
                <a:gd name="connsiteY92" fmla="*/ 583421 h 839910"/>
                <a:gd name="connsiteX93" fmla="*/ 0 w 839910"/>
                <a:gd name="connsiteY93" fmla="*/ 419955 h 839910"/>
                <a:gd name="connsiteX94" fmla="*/ 419955 w 839910"/>
                <a:gd name="connsiteY94" fmla="*/ 0 h 83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39910" h="839910">
                  <a:moveTo>
                    <a:pt x="391858" y="827823"/>
                  </a:moveTo>
                  <a:cubicBezTo>
                    <a:pt x="394651" y="827823"/>
                    <a:pt x="396918" y="830090"/>
                    <a:pt x="396918" y="832883"/>
                  </a:cubicBezTo>
                  <a:lnTo>
                    <a:pt x="396946" y="832883"/>
                  </a:lnTo>
                  <a:lnTo>
                    <a:pt x="396946" y="834570"/>
                  </a:lnTo>
                  <a:lnTo>
                    <a:pt x="386797" y="834570"/>
                  </a:lnTo>
                  <a:lnTo>
                    <a:pt x="386797" y="832883"/>
                  </a:lnTo>
                  <a:cubicBezTo>
                    <a:pt x="386797" y="830090"/>
                    <a:pt x="389065" y="827823"/>
                    <a:pt x="391858" y="827823"/>
                  </a:cubicBezTo>
                  <a:close/>
                  <a:moveTo>
                    <a:pt x="399545" y="806032"/>
                  </a:moveTo>
                  <a:lnTo>
                    <a:pt x="403942" y="806032"/>
                  </a:lnTo>
                  <a:lnTo>
                    <a:pt x="403942" y="815710"/>
                  </a:lnTo>
                  <a:lnTo>
                    <a:pt x="399545" y="815710"/>
                  </a:lnTo>
                  <a:close/>
                  <a:moveTo>
                    <a:pt x="393379" y="806004"/>
                  </a:moveTo>
                  <a:lnTo>
                    <a:pt x="397388" y="806004"/>
                  </a:lnTo>
                  <a:lnTo>
                    <a:pt x="397388" y="815683"/>
                  </a:lnTo>
                  <a:lnTo>
                    <a:pt x="393379" y="815683"/>
                  </a:lnTo>
                  <a:close/>
                  <a:moveTo>
                    <a:pt x="386382" y="806004"/>
                  </a:moveTo>
                  <a:lnTo>
                    <a:pt x="391747" y="806004"/>
                  </a:lnTo>
                  <a:lnTo>
                    <a:pt x="391747" y="815683"/>
                  </a:lnTo>
                  <a:lnTo>
                    <a:pt x="386382" y="815683"/>
                  </a:lnTo>
                  <a:close/>
                  <a:moveTo>
                    <a:pt x="379801" y="806004"/>
                  </a:moveTo>
                  <a:lnTo>
                    <a:pt x="384198" y="806004"/>
                  </a:lnTo>
                  <a:lnTo>
                    <a:pt x="384198" y="815683"/>
                  </a:lnTo>
                  <a:lnTo>
                    <a:pt x="379801" y="815683"/>
                  </a:lnTo>
                  <a:close/>
                  <a:moveTo>
                    <a:pt x="419955" y="0"/>
                  </a:moveTo>
                  <a:cubicBezTo>
                    <a:pt x="651890" y="0"/>
                    <a:pt x="839910" y="188020"/>
                    <a:pt x="839910" y="419955"/>
                  </a:cubicBezTo>
                  <a:cubicBezTo>
                    <a:pt x="839910" y="564915"/>
                    <a:pt x="766465" y="692720"/>
                    <a:pt x="654756" y="768188"/>
                  </a:cubicBezTo>
                  <a:lnTo>
                    <a:pt x="639294" y="776581"/>
                  </a:lnTo>
                  <a:lnTo>
                    <a:pt x="628211" y="776581"/>
                  </a:lnTo>
                  <a:lnTo>
                    <a:pt x="628211" y="748900"/>
                  </a:lnTo>
                  <a:lnTo>
                    <a:pt x="527580" y="748900"/>
                  </a:lnTo>
                  <a:lnTo>
                    <a:pt x="527580" y="776581"/>
                  </a:lnTo>
                  <a:lnTo>
                    <a:pt x="443542" y="776581"/>
                  </a:lnTo>
                  <a:lnTo>
                    <a:pt x="443542" y="793201"/>
                  </a:lnTo>
                  <a:lnTo>
                    <a:pt x="450013" y="793201"/>
                  </a:lnTo>
                  <a:lnTo>
                    <a:pt x="450013" y="810733"/>
                  </a:lnTo>
                  <a:lnTo>
                    <a:pt x="443542" y="810733"/>
                  </a:lnTo>
                  <a:lnTo>
                    <a:pt x="443123" y="837575"/>
                  </a:lnTo>
                  <a:lnTo>
                    <a:pt x="419955" y="839910"/>
                  </a:lnTo>
                  <a:lnTo>
                    <a:pt x="413039" y="839213"/>
                  </a:lnTo>
                  <a:lnTo>
                    <a:pt x="412266" y="838054"/>
                  </a:lnTo>
                  <a:lnTo>
                    <a:pt x="412266" y="827906"/>
                  </a:lnTo>
                  <a:lnTo>
                    <a:pt x="414810" y="825970"/>
                  </a:lnTo>
                  <a:lnTo>
                    <a:pt x="414810" y="822237"/>
                  </a:lnTo>
                  <a:lnTo>
                    <a:pt x="412266" y="819112"/>
                  </a:lnTo>
                  <a:lnTo>
                    <a:pt x="406763" y="819112"/>
                  </a:lnTo>
                  <a:lnTo>
                    <a:pt x="406763" y="815683"/>
                  </a:lnTo>
                  <a:lnTo>
                    <a:pt x="405436" y="815683"/>
                  </a:lnTo>
                  <a:lnTo>
                    <a:pt x="405436" y="806004"/>
                  </a:lnTo>
                  <a:lnTo>
                    <a:pt x="407979" y="806004"/>
                  </a:lnTo>
                  <a:lnTo>
                    <a:pt x="407979" y="803184"/>
                  </a:lnTo>
                  <a:lnTo>
                    <a:pt x="406624" y="803184"/>
                  </a:lnTo>
                  <a:cubicBezTo>
                    <a:pt x="406624" y="803184"/>
                    <a:pt x="405574" y="793035"/>
                    <a:pt x="394098" y="789606"/>
                  </a:cubicBezTo>
                  <a:lnTo>
                    <a:pt x="394098" y="779927"/>
                  </a:lnTo>
                  <a:lnTo>
                    <a:pt x="392604" y="779927"/>
                  </a:lnTo>
                  <a:lnTo>
                    <a:pt x="392604" y="777632"/>
                  </a:lnTo>
                  <a:cubicBezTo>
                    <a:pt x="393379" y="777328"/>
                    <a:pt x="393959" y="776526"/>
                    <a:pt x="393959" y="775586"/>
                  </a:cubicBezTo>
                  <a:cubicBezTo>
                    <a:pt x="393959" y="774369"/>
                    <a:pt x="393019" y="773401"/>
                    <a:pt x="391858" y="773401"/>
                  </a:cubicBezTo>
                  <a:cubicBezTo>
                    <a:pt x="390696" y="773401"/>
                    <a:pt x="389784" y="774397"/>
                    <a:pt x="389784" y="775586"/>
                  </a:cubicBezTo>
                  <a:cubicBezTo>
                    <a:pt x="389784" y="776443"/>
                    <a:pt x="390254" y="777189"/>
                    <a:pt x="390973" y="777549"/>
                  </a:cubicBezTo>
                  <a:lnTo>
                    <a:pt x="390973" y="779900"/>
                  </a:lnTo>
                  <a:lnTo>
                    <a:pt x="389645" y="779900"/>
                  </a:lnTo>
                  <a:lnTo>
                    <a:pt x="389645" y="789578"/>
                  </a:lnTo>
                  <a:cubicBezTo>
                    <a:pt x="378170" y="793007"/>
                    <a:pt x="377119" y="803156"/>
                    <a:pt x="377119" y="803156"/>
                  </a:cubicBezTo>
                  <a:lnTo>
                    <a:pt x="375791" y="803156"/>
                  </a:lnTo>
                  <a:lnTo>
                    <a:pt x="375791" y="805977"/>
                  </a:lnTo>
                  <a:lnTo>
                    <a:pt x="378335" y="805977"/>
                  </a:lnTo>
                  <a:lnTo>
                    <a:pt x="378335" y="815655"/>
                  </a:lnTo>
                  <a:lnTo>
                    <a:pt x="376980" y="815655"/>
                  </a:lnTo>
                  <a:lnTo>
                    <a:pt x="376980" y="819084"/>
                  </a:lnTo>
                  <a:lnTo>
                    <a:pt x="371477" y="819084"/>
                  </a:lnTo>
                  <a:lnTo>
                    <a:pt x="368933" y="822209"/>
                  </a:lnTo>
                  <a:lnTo>
                    <a:pt x="368933" y="825942"/>
                  </a:lnTo>
                  <a:lnTo>
                    <a:pt x="371477" y="827878"/>
                  </a:lnTo>
                  <a:lnTo>
                    <a:pt x="371477" y="835023"/>
                  </a:lnTo>
                  <a:lnTo>
                    <a:pt x="340401" y="831890"/>
                  </a:lnTo>
                  <a:lnTo>
                    <a:pt x="339206" y="695364"/>
                  </a:lnTo>
                  <a:lnTo>
                    <a:pt x="296731" y="695364"/>
                  </a:lnTo>
                  <a:lnTo>
                    <a:pt x="296731" y="674126"/>
                  </a:lnTo>
                  <a:lnTo>
                    <a:pt x="289348" y="674126"/>
                  </a:lnTo>
                  <a:lnTo>
                    <a:pt x="289348" y="695364"/>
                  </a:lnTo>
                  <a:lnTo>
                    <a:pt x="251463" y="695364"/>
                  </a:lnTo>
                  <a:lnTo>
                    <a:pt x="251463" y="681509"/>
                  </a:lnTo>
                  <a:lnTo>
                    <a:pt x="171130" y="681509"/>
                  </a:lnTo>
                  <a:lnTo>
                    <a:pt x="171130" y="695364"/>
                  </a:lnTo>
                  <a:lnTo>
                    <a:pt x="105227" y="695364"/>
                  </a:lnTo>
                  <a:lnTo>
                    <a:pt x="71722" y="654756"/>
                  </a:lnTo>
                  <a:lnTo>
                    <a:pt x="65618" y="643510"/>
                  </a:lnTo>
                  <a:lnTo>
                    <a:pt x="65494" y="626867"/>
                  </a:lnTo>
                  <a:lnTo>
                    <a:pt x="56584" y="626867"/>
                  </a:lnTo>
                  <a:lnTo>
                    <a:pt x="41547" y="599163"/>
                  </a:lnTo>
                  <a:lnTo>
                    <a:pt x="41547" y="584862"/>
                  </a:lnTo>
                  <a:lnTo>
                    <a:pt x="33785" y="584862"/>
                  </a:lnTo>
                  <a:lnTo>
                    <a:pt x="33002" y="583421"/>
                  </a:lnTo>
                  <a:cubicBezTo>
                    <a:pt x="11752" y="533178"/>
                    <a:pt x="0" y="477939"/>
                    <a:pt x="0" y="419955"/>
                  </a:cubicBezTo>
                  <a:cubicBezTo>
                    <a:pt x="0" y="188020"/>
                    <a:pt x="188020" y="0"/>
                    <a:pt x="419955" y="0"/>
                  </a:cubicBezTo>
                  <a:close/>
                </a:path>
              </a:pathLst>
            </a:custGeom>
            <a:gradFill flip="none" rotWithShape="1">
              <a:gsLst>
                <a:gs pos="0">
                  <a:srgbClr val="ED8B00"/>
                </a:gs>
                <a:gs pos="100000">
                  <a:srgbClr val="FFCD00"/>
                </a:gs>
              </a:gsLst>
              <a:path path="circle">
                <a:fillToRect l="100000" t="100000"/>
              </a:path>
              <a:tileRect r="-100000" b="-100000"/>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1941537536"/>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0C92F-22FF-E0E5-6104-AC0DE93E6A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12BCF3-331C-0E69-8065-A9434EB90D9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83E881-9123-E342-8BA9-3758304ADAAF}"/>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5" name="Footer Placeholder 4">
            <a:extLst>
              <a:ext uri="{FF2B5EF4-FFF2-40B4-BE49-F238E27FC236}">
                <a16:creationId xmlns:a16="http://schemas.microsoft.com/office/drawing/2014/main" id="{445CFDCF-4866-F614-8712-FE5B2996A5D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B3F2F-98A1-D2B1-7127-E42409AA4FDC}"/>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33698263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White NO Template">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3" y="5254692"/>
            <a:ext cx="4490720" cy="827500"/>
          </a:xfrm>
          <a:prstGeom prst="rect">
            <a:avLst/>
          </a:prstGeom>
        </p:spPr>
        <p:txBody>
          <a:bodyPr anchor="b" anchorCtr="0">
            <a:sp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3" y="6365849"/>
            <a:ext cx="4490720" cy="215400"/>
          </a:xfrm>
          <a:prstGeom prst="rect">
            <a:avLst/>
          </a:prstGeom>
        </p:spPr>
        <p:txBody>
          <a:bodyPr anchor="t">
            <a:sp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D. Logo">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grpSp>
      <p:pic>
        <p:nvPicPr>
          <p:cNvPr id="77" name="Picture 76">
            <a:extLst>
              <a:ext uri="{FF2B5EF4-FFF2-40B4-BE49-F238E27FC236}">
                <a16:creationId xmlns:a16="http://schemas.microsoft.com/office/drawing/2014/main" id="{DDA9D9D1-5636-B391-D4B4-F6CE2143310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79868" y="1"/>
            <a:ext cx="7212134" cy="6858000"/>
          </a:xfrm>
          <a:prstGeom prst="rect">
            <a:avLst/>
          </a:prstGeom>
        </p:spPr>
      </p:pic>
    </p:spTree>
    <p:extLst>
      <p:ext uri="{BB962C8B-B14F-4D97-AF65-F5344CB8AC3E}">
        <p14:creationId xmlns:p14="http://schemas.microsoft.com/office/powerpoint/2010/main" val="811842954"/>
      </p:ext>
    </p:extLst>
  </p:cSld>
  <p:clrMapOvr>
    <a:masterClrMapping/>
  </p:clrMapOvr>
  <p:hf hdr="0" dt="0"/>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 White Off-Centre NO Template">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3" y="3015250"/>
            <a:ext cx="4490720" cy="827500"/>
          </a:xfrm>
          <a:prstGeom prst="rect">
            <a:avLst/>
          </a:prstGeom>
        </p:spPr>
        <p:txBody>
          <a:bodyPr anchor="ctr" anchorCtr="0">
            <a:sp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3" y="6365849"/>
            <a:ext cx="4490720" cy="215400"/>
          </a:xfrm>
          <a:prstGeom prst="rect">
            <a:avLst/>
          </a:prstGeom>
        </p:spPr>
        <p:txBody>
          <a:bodyPr anchor="t">
            <a:sp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D. Logo">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19" noProof="0">
                <a:solidFill>
                  <a:schemeClr val="bg1"/>
                </a:solidFill>
              </a:endParaRPr>
            </a:p>
          </p:txBody>
        </p:sp>
      </p:grpSp>
      <p:pic>
        <p:nvPicPr>
          <p:cNvPr id="1194" name="Picture 1193">
            <a:extLst>
              <a:ext uri="{FF2B5EF4-FFF2-40B4-BE49-F238E27FC236}">
                <a16:creationId xmlns:a16="http://schemas.microsoft.com/office/drawing/2014/main" id="{942548BC-2894-79E0-EA31-F9B5A95B535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79868" y="1"/>
            <a:ext cx="7212134" cy="6858000"/>
          </a:xfrm>
          <a:prstGeom prst="rect">
            <a:avLst/>
          </a:prstGeom>
        </p:spPr>
      </p:pic>
    </p:spTree>
    <p:extLst>
      <p:ext uri="{BB962C8B-B14F-4D97-AF65-F5344CB8AC3E}">
        <p14:creationId xmlns:p14="http://schemas.microsoft.com/office/powerpoint/2010/main" val="762795320"/>
      </p:ext>
    </p:extLst>
  </p:cSld>
  <p:clrMapOvr>
    <a:masterClrMapping/>
  </p:clrMapOvr>
  <p:hf hdr="0" dt="0"/>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 Black">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9" y="6365850"/>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8" y="341312"/>
            <a:ext cx="1819655"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9" y="5186210"/>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2" name="Group 1">
            <a:extLst>
              <a:ext uri="{FF2B5EF4-FFF2-40B4-BE49-F238E27FC236}">
                <a16:creationId xmlns:a16="http://schemas.microsoft.com/office/drawing/2014/main" id="{CB7BAE74-5378-117E-4CFD-DC900DD11FD4}"/>
              </a:ext>
            </a:extLst>
          </p:cNvPr>
          <p:cNvGrpSpPr/>
          <p:nvPr userDrawn="1"/>
        </p:nvGrpSpPr>
        <p:grpSpPr>
          <a:xfrm>
            <a:off x="3596829" y="970516"/>
            <a:ext cx="4981570" cy="4979846"/>
            <a:chOff x="3596829" y="970516"/>
            <a:chExt cx="4981570" cy="4979846"/>
          </a:xfrm>
        </p:grpSpPr>
        <p:sp>
          <p:nvSpPr>
            <p:cNvPr id="3" name="Freeform: Shape 2">
              <a:extLst>
                <a:ext uri="{FF2B5EF4-FFF2-40B4-BE49-F238E27FC236}">
                  <a16:creationId xmlns:a16="http://schemas.microsoft.com/office/drawing/2014/main" id="{42D79B42-AE9F-FB48-5166-3A902FB74BC8}"/>
                </a:ext>
              </a:extLst>
            </p:cNvPr>
            <p:cNvSpPr/>
            <p:nvPr/>
          </p:nvSpPr>
          <p:spPr bwMode="gray">
            <a:xfrm>
              <a:off x="3597099" y="970516"/>
              <a:ext cx="4981164" cy="2485381"/>
            </a:xfrm>
            <a:custGeom>
              <a:avLst/>
              <a:gdLst>
                <a:gd name="connsiteX0" fmla="*/ 3742420 w 7484840"/>
                <a:gd name="connsiteY0" fmla="*/ 0 h 3734604"/>
                <a:gd name="connsiteX1" fmla="*/ 7480173 w 7484840"/>
                <a:gd name="connsiteY1" fmla="*/ 3550028 h 3734604"/>
                <a:gd name="connsiteX2" fmla="*/ 7484840 w 7484840"/>
                <a:gd name="connsiteY2" fmla="*/ 3734604 h 3734604"/>
                <a:gd name="connsiteX3" fmla="*/ 6161224 w 7484840"/>
                <a:gd name="connsiteY3" fmla="*/ 3734604 h 3734604"/>
                <a:gd name="connsiteX4" fmla="*/ 6149139 w 7484840"/>
                <a:gd name="connsiteY4" fmla="*/ 3495272 h 3734604"/>
                <a:gd name="connsiteX5" fmla="*/ 3742420 w 7484840"/>
                <a:gd name="connsiteY5" fmla="*/ 1323414 h 3734604"/>
                <a:gd name="connsiteX6" fmla="*/ 1335701 w 7484840"/>
                <a:gd name="connsiteY6" fmla="*/ 3495272 h 3734604"/>
                <a:gd name="connsiteX7" fmla="*/ 1323616 w 7484840"/>
                <a:gd name="connsiteY7" fmla="*/ 3734604 h 3734604"/>
                <a:gd name="connsiteX8" fmla="*/ 0 w 7484840"/>
                <a:gd name="connsiteY8" fmla="*/ 3734604 h 3734604"/>
                <a:gd name="connsiteX9" fmla="*/ 4667 w 7484840"/>
                <a:gd name="connsiteY9" fmla="*/ 3550028 h 3734604"/>
                <a:gd name="connsiteX10" fmla="*/ 3742420 w 7484840"/>
                <a:gd name="connsiteY10" fmla="*/ 0 h 3734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84840" h="3734604">
                  <a:moveTo>
                    <a:pt x="3742420" y="0"/>
                  </a:moveTo>
                  <a:cubicBezTo>
                    <a:pt x="5744820" y="0"/>
                    <a:pt x="7379934" y="1572539"/>
                    <a:pt x="7480173" y="3550028"/>
                  </a:cubicBezTo>
                  <a:lnTo>
                    <a:pt x="7484840" y="3734604"/>
                  </a:lnTo>
                  <a:lnTo>
                    <a:pt x="6161224" y="3734604"/>
                  </a:lnTo>
                  <a:lnTo>
                    <a:pt x="6149139" y="3495272"/>
                  </a:lnTo>
                  <a:cubicBezTo>
                    <a:pt x="6025251" y="2275372"/>
                    <a:pt x="4995006" y="1323414"/>
                    <a:pt x="3742420" y="1323414"/>
                  </a:cubicBezTo>
                  <a:cubicBezTo>
                    <a:pt x="2489834" y="1323414"/>
                    <a:pt x="1459589" y="2275372"/>
                    <a:pt x="1335701" y="3495272"/>
                  </a:cubicBezTo>
                  <a:lnTo>
                    <a:pt x="1323616" y="3734604"/>
                  </a:lnTo>
                  <a:lnTo>
                    <a:pt x="0" y="3734604"/>
                  </a:lnTo>
                  <a:lnTo>
                    <a:pt x="4667" y="3550028"/>
                  </a:lnTo>
                  <a:cubicBezTo>
                    <a:pt x="104906" y="1572539"/>
                    <a:pt x="1740020" y="0"/>
                    <a:pt x="3742420" y="0"/>
                  </a:cubicBezTo>
                  <a:close/>
                </a:path>
              </a:pathLst>
            </a:custGeom>
            <a:gradFill>
              <a:gsLst>
                <a:gs pos="0">
                  <a:srgbClr val="62B5E5">
                    <a:alpha val="49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4" name="Freeform: Shape 3">
              <a:extLst>
                <a:ext uri="{FF2B5EF4-FFF2-40B4-BE49-F238E27FC236}">
                  <a16:creationId xmlns:a16="http://schemas.microsoft.com/office/drawing/2014/main" id="{1EF6F5AB-4D32-E511-E77A-CF64568E5C6F}"/>
                </a:ext>
              </a:extLst>
            </p:cNvPr>
            <p:cNvSpPr/>
            <p:nvPr/>
          </p:nvSpPr>
          <p:spPr bwMode="gray">
            <a:xfrm>
              <a:off x="3596829" y="3454309"/>
              <a:ext cx="4981435" cy="2496053"/>
            </a:xfrm>
            <a:custGeom>
              <a:avLst/>
              <a:gdLst>
                <a:gd name="connsiteX0" fmla="*/ 203 w 7485246"/>
                <a:gd name="connsiteY0" fmla="*/ 0 h 3750642"/>
                <a:gd name="connsiteX1" fmla="*/ 1323819 w 7485246"/>
                <a:gd name="connsiteY1" fmla="*/ 0 h 3750642"/>
                <a:gd name="connsiteX2" fmla="*/ 1323414 w 7485246"/>
                <a:gd name="connsiteY2" fmla="*/ 8018 h 3750642"/>
                <a:gd name="connsiteX3" fmla="*/ 3742623 w 7485246"/>
                <a:gd name="connsiteY3" fmla="*/ 2427226 h 3750642"/>
                <a:gd name="connsiteX4" fmla="*/ 6161832 w 7485246"/>
                <a:gd name="connsiteY4" fmla="*/ 8018 h 3750642"/>
                <a:gd name="connsiteX5" fmla="*/ 6161427 w 7485246"/>
                <a:gd name="connsiteY5" fmla="*/ 0 h 3750642"/>
                <a:gd name="connsiteX6" fmla="*/ 7485043 w 7485246"/>
                <a:gd name="connsiteY6" fmla="*/ 0 h 3750642"/>
                <a:gd name="connsiteX7" fmla="*/ 7485246 w 7485246"/>
                <a:gd name="connsiteY7" fmla="*/ 8019 h 3750642"/>
                <a:gd name="connsiteX8" fmla="*/ 3742623 w 7485246"/>
                <a:gd name="connsiteY8" fmla="*/ 3750642 h 3750642"/>
                <a:gd name="connsiteX9" fmla="*/ 0 w 7485246"/>
                <a:gd name="connsiteY9" fmla="*/ 8019 h 375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5246" h="3750642">
                  <a:moveTo>
                    <a:pt x="203" y="0"/>
                  </a:moveTo>
                  <a:lnTo>
                    <a:pt x="1323819" y="0"/>
                  </a:lnTo>
                  <a:lnTo>
                    <a:pt x="1323414" y="8018"/>
                  </a:lnTo>
                  <a:cubicBezTo>
                    <a:pt x="1323414" y="1344110"/>
                    <a:pt x="2406531" y="2427226"/>
                    <a:pt x="3742623" y="2427226"/>
                  </a:cubicBezTo>
                  <a:cubicBezTo>
                    <a:pt x="5078715" y="2427226"/>
                    <a:pt x="6161832" y="1344110"/>
                    <a:pt x="6161832" y="8018"/>
                  </a:cubicBezTo>
                  <a:lnTo>
                    <a:pt x="6161427" y="0"/>
                  </a:lnTo>
                  <a:lnTo>
                    <a:pt x="7485043" y="0"/>
                  </a:lnTo>
                  <a:lnTo>
                    <a:pt x="7485246" y="8019"/>
                  </a:lnTo>
                  <a:cubicBezTo>
                    <a:pt x="7485246" y="2075013"/>
                    <a:pt x="5809617" y="3750642"/>
                    <a:pt x="3742623" y="3750642"/>
                  </a:cubicBezTo>
                  <a:cubicBezTo>
                    <a:pt x="1675629" y="3750642"/>
                    <a:pt x="0" y="2075013"/>
                    <a:pt x="0" y="8019"/>
                  </a:cubicBezTo>
                  <a:close/>
                </a:path>
              </a:pathLst>
            </a:custGeom>
            <a:gradFill>
              <a:gsLst>
                <a:gs pos="0">
                  <a:srgbClr val="0097A9">
                    <a:alpha val="52000"/>
                  </a:srgbClr>
                </a:gs>
                <a:gs pos="100000">
                  <a:srgbClr val="004F59">
                    <a:alpha val="42000"/>
                  </a:srgbClr>
                </a:gs>
              </a:gsLst>
              <a:lin ang="5400000" scaled="0"/>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5" name="Freeform: Shape 4">
              <a:extLst>
                <a:ext uri="{FF2B5EF4-FFF2-40B4-BE49-F238E27FC236}">
                  <a16:creationId xmlns:a16="http://schemas.microsoft.com/office/drawing/2014/main" id="{CC156057-1FF1-F911-4CB0-77188AABA527}"/>
                </a:ext>
              </a:extLst>
            </p:cNvPr>
            <p:cNvSpPr/>
            <p:nvPr/>
          </p:nvSpPr>
          <p:spPr bwMode="gray">
            <a:xfrm>
              <a:off x="3597099" y="2276713"/>
              <a:ext cx="4981164" cy="1179184"/>
            </a:xfrm>
            <a:custGeom>
              <a:avLst/>
              <a:gdLst>
                <a:gd name="connsiteX0" fmla="*/ 3690476 w 4015800"/>
                <a:gd name="connsiteY0" fmla="*/ 10160 h 950655"/>
                <a:gd name="connsiteX1" fmla="*/ 3750349 w 4015800"/>
                <a:gd name="connsiteY1" fmla="*/ 17278 h 950655"/>
                <a:gd name="connsiteX2" fmla="*/ 3788962 w 4015800"/>
                <a:gd name="connsiteY2" fmla="*/ 31493 h 950655"/>
                <a:gd name="connsiteX3" fmla="*/ 3828343 w 4015800"/>
                <a:gd name="connsiteY3" fmla="*/ 106422 h 950655"/>
                <a:gd name="connsiteX4" fmla="*/ 4013296 w 4015800"/>
                <a:gd name="connsiteY4" fmla="*/ 851626 h 950655"/>
                <a:gd name="connsiteX5" fmla="*/ 4015800 w 4015800"/>
                <a:gd name="connsiteY5" fmla="*/ 950655 h 950655"/>
                <a:gd name="connsiteX6" fmla="*/ 3305648 w 4015800"/>
                <a:gd name="connsiteY6" fmla="*/ 950655 h 950655"/>
                <a:gd name="connsiteX7" fmla="*/ 3299164 w 4015800"/>
                <a:gd name="connsiteY7" fmla="*/ 822248 h 950655"/>
                <a:gd name="connsiteX8" fmla="*/ 3038589 w 4015800"/>
                <a:gd name="connsiteY8" fmla="*/ 165929 h 950655"/>
                <a:gd name="connsiteX9" fmla="*/ 3014943 w 4015800"/>
                <a:gd name="connsiteY9" fmla="*/ 137792 h 950655"/>
                <a:gd name="connsiteX10" fmla="*/ 3057902 w 4015800"/>
                <a:gd name="connsiteY10" fmla="*/ 113704 h 950655"/>
                <a:gd name="connsiteX11" fmla="*/ 3134505 w 4015800"/>
                <a:gd name="connsiteY11" fmla="*/ 100447 h 950655"/>
                <a:gd name="connsiteX12" fmla="*/ 3305736 w 4015800"/>
                <a:gd name="connsiteY12" fmla="*/ 178459 h 950655"/>
                <a:gd name="connsiteX13" fmla="*/ 3370246 w 4015800"/>
                <a:gd name="connsiteY13" fmla="*/ 164684 h 950655"/>
                <a:gd name="connsiteX14" fmla="*/ 3448599 w 4015800"/>
                <a:gd name="connsiteY14" fmla="*/ 185551 h 950655"/>
                <a:gd name="connsiteX15" fmla="*/ 3690476 w 4015800"/>
                <a:gd name="connsiteY15" fmla="*/ 10160 h 950655"/>
                <a:gd name="connsiteX16" fmla="*/ 969949 w 4015800"/>
                <a:gd name="connsiteY16" fmla="*/ 0 h 950655"/>
                <a:gd name="connsiteX17" fmla="*/ 1087180 w 4015800"/>
                <a:gd name="connsiteY17" fmla="*/ 38665 h 950655"/>
                <a:gd name="connsiteX18" fmla="*/ 1088788 w 4015800"/>
                <a:gd name="connsiteY18" fmla="*/ 40295 h 950655"/>
                <a:gd name="connsiteX19" fmla="*/ 1052378 w 4015800"/>
                <a:gd name="connsiteY19" fmla="*/ 76488 h 950655"/>
                <a:gd name="connsiteX20" fmla="*/ 716637 w 4015800"/>
                <a:gd name="connsiteY20" fmla="*/ 822248 h 950655"/>
                <a:gd name="connsiteX21" fmla="*/ 710153 w 4015800"/>
                <a:gd name="connsiteY21" fmla="*/ 950655 h 950655"/>
                <a:gd name="connsiteX22" fmla="*/ 0 w 4015800"/>
                <a:gd name="connsiteY22" fmla="*/ 950655 h 950655"/>
                <a:gd name="connsiteX23" fmla="*/ 2504 w 4015800"/>
                <a:gd name="connsiteY23" fmla="*/ 851626 h 950655"/>
                <a:gd name="connsiteX24" fmla="*/ 187458 w 4015800"/>
                <a:gd name="connsiteY24" fmla="*/ 106422 h 950655"/>
                <a:gd name="connsiteX25" fmla="*/ 241795 w 4015800"/>
                <a:gd name="connsiteY25" fmla="*/ 3037 h 950655"/>
                <a:gd name="connsiteX26" fmla="*/ 243362 w 4015800"/>
                <a:gd name="connsiteY26" fmla="*/ 2796 h 950655"/>
                <a:gd name="connsiteX27" fmla="*/ 505902 w 4015800"/>
                <a:gd name="connsiteY27" fmla="*/ 171980 h 950655"/>
                <a:gd name="connsiteX28" fmla="*/ 543612 w 4015800"/>
                <a:gd name="connsiteY28" fmla="*/ 167480 h 950655"/>
                <a:gd name="connsiteX29" fmla="*/ 617328 w 4015800"/>
                <a:gd name="connsiteY29" fmla="*/ 185482 h 950655"/>
                <a:gd name="connsiteX30" fmla="*/ 723298 w 4015800"/>
                <a:gd name="connsiteY30" fmla="*/ 86399 h 950655"/>
                <a:gd name="connsiteX31" fmla="*/ 792240 w 4015800"/>
                <a:gd name="connsiteY31" fmla="*/ 111835 h 950655"/>
                <a:gd name="connsiteX32" fmla="*/ 969949 w 4015800"/>
                <a:gd name="connsiteY32" fmla="*/ 0 h 950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15800" h="950655">
                  <a:moveTo>
                    <a:pt x="3690476" y="10160"/>
                  </a:moveTo>
                  <a:cubicBezTo>
                    <a:pt x="3711105" y="10160"/>
                    <a:pt x="3731153" y="12632"/>
                    <a:pt x="3750349" y="17278"/>
                  </a:cubicBezTo>
                  <a:lnTo>
                    <a:pt x="3788962" y="31493"/>
                  </a:lnTo>
                  <a:lnTo>
                    <a:pt x="3828343" y="106422"/>
                  </a:lnTo>
                  <a:cubicBezTo>
                    <a:pt x="3934937" y="334719"/>
                    <a:pt x="3999851" y="586383"/>
                    <a:pt x="4013296" y="851626"/>
                  </a:cubicBezTo>
                  <a:lnTo>
                    <a:pt x="4015800" y="950655"/>
                  </a:lnTo>
                  <a:lnTo>
                    <a:pt x="3305648" y="950655"/>
                  </a:lnTo>
                  <a:lnTo>
                    <a:pt x="3299164" y="822248"/>
                  </a:lnTo>
                  <a:cubicBezTo>
                    <a:pt x="3274238" y="576808"/>
                    <a:pt x="3180929" y="351584"/>
                    <a:pt x="3038589" y="165929"/>
                  </a:cubicBezTo>
                  <a:lnTo>
                    <a:pt x="3014943" y="137792"/>
                  </a:lnTo>
                  <a:lnTo>
                    <a:pt x="3057902" y="113704"/>
                  </a:lnTo>
                  <a:cubicBezTo>
                    <a:pt x="3081831" y="105123"/>
                    <a:pt x="3107620" y="100447"/>
                    <a:pt x="3134505" y="100447"/>
                  </a:cubicBezTo>
                  <a:cubicBezTo>
                    <a:pt x="3202834" y="100447"/>
                    <a:pt x="3264139" y="130656"/>
                    <a:pt x="3305736" y="178459"/>
                  </a:cubicBezTo>
                  <a:cubicBezTo>
                    <a:pt x="3325443" y="169662"/>
                    <a:pt x="3347265" y="164684"/>
                    <a:pt x="3370246" y="164684"/>
                  </a:cubicBezTo>
                  <a:cubicBezTo>
                    <a:pt x="3398818" y="164684"/>
                    <a:pt x="3425550" y="172321"/>
                    <a:pt x="3448599" y="185551"/>
                  </a:cubicBezTo>
                  <a:cubicBezTo>
                    <a:pt x="3481876" y="83740"/>
                    <a:pt x="3577550" y="10160"/>
                    <a:pt x="3690476" y="10160"/>
                  </a:cubicBezTo>
                  <a:close/>
                  <a:moveTo>
                    <a:pt x="969949" y="0"/>
                  </a:moveTo>
                  <a:cubicBezTo>
                    <a:pt x="1013865" y="0"/>
                    <a:pt x="1054423" y="14372"/>
                    <a:pt x="1087180" y="38665"/>
                  </a:cubicBezTo>
                  <a:lnTo>
                    <a:pt x="1088788" y="40295"/>
                  </a:lnTo>
                  <a:lnTo>
                    <a:pt x="1052378" y="76488"/>
                  </a:lnTo>
                  <a:cubicBezTo>
                    <a:pt x="867874" y="277071"/>
                    <a:pt x="745717" y="535901"/>
                    <a:pt x="716637" y="822248"/>
                  </a:cubicBezTo>
                  <a:lnTo>
                    <a:pt x="710153" y="950655"/>
                  </a:lnTo>
                  <a:lnTo>
                    <a:pt x="0" y="950655"/>
                  </a:lnTo>
                  <a:lnTo>
                    <a:pt x="2504" y="851626"/>
                  </a:lnTo>
                  <a:cubicBezTo>
                    <a:pt x="15949" y="586383"/>
                    <a:pt x="80863" y="334719"/>
                    <a:pt x="187458" y="106422"/>
                  </a:cubicBezTo>
                  <a:lnTo>
                    <a:pt x="241795" y="3037"/>
                  </a:lnTo>
                  <a:lnTo>
                    <a:pt x="243362" y="2796"/>
                  </a:lnTo>
                  <a:cubicBezTo>
                    <a:pt x="360107" y="2796"/>
                    <a:pt x="460554" y="72215"/>
                    <a:pt x="505902" y="171980"/>
                  </a:cubicBezTo>
                  <a:cubicBezTo>
                    <a:pt x="518040" y="169048"/>
                    <a:pt x="530587" y="167480"/>
                    <a:pt x="543612" y="167480"/>
                  </a:cubicBezTo>
                  <a:cubicBezTo>
                    <a:pt x="570207" y="167480"/>
                    <a:pt x="595302" y="174026"/>
                    <a:pt x="617328" y="185482"/>
                  </a:cubicBezTo>
                  <a:cubicBezTo>
                    <a:pt x="621078" y="130179"/>
                    <a:pt x="667040" y="86399"/>
                    <a:pt x="723298" y="86399"/>
                  </a:cubicBezTo>
                  <a:cubicBezTo>
                    <a:pt x="749620" y="86399"/>
                    <a:pt x="773692" y="96014"/>
                    <a:pt x="792240" y="111835"/>
                  </a:cubicBezTo>
                  <a:cubicBezTo>
                    <a:pt x="824018" y="45688"/>
                    <a:pt x="891665" y="0"/>
                    <a:pt x="969949" y="0"/>
                  </a:cubicBezTo>
                  <a:close/>
                </a:path>
              </a:pathLst>
            </a:custGeom>
            <a:solidFill>
              <a:srgbClr val="00A3E0">
                <a:alpha val="21000"/>
              </a:srgbClr>
            </a:solidFill>
            <a:ln w="681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19"/>
            </a:p>
          </p:txBody>
        </p:sp>
        <p:sp>
          <p:nvSpPr>
            <p:cNvPr id="6" name="Freeform: Shape 5">
              <a:extLst>
                <a:ext uri="{FF2B5EF4-FFF2-40B4-BE49-F238E27FC236}">
                  <a16:creationId xmlns:a16="http://schemas.microsoft.com/office/drawing/2014/main" id="{FAC45F85-17BE-04FB-039C-93EC3F5AE59C}"/>
                </a:ext>
              </a:extLst>
            </p:cNvPr>
            <p:cNvSpPr/>
            <p:nvPr/>
          </p:nvSpPr>
          <p:spPr bwMode="gray">
            <a:xfrm>
              <a:off x="3597099" y="2552810"/>
              <a:ext cx="4981164" cy="903087"/>
            </a:xfrm>
            <a:custGeom>
              <a:avLst/>
              <a:gdLst>
                <a:gd name="connsiteX0" fmla="*/ 907212 w 4015800"/>
                <a:gd name="connsiteY0" fmla="*/ 7695 h 728066"/>
                <a:gd name="connsiteX1" fmla="*/ 934122 w 4015800"/>
                <a:gd name="connsiteY1" fmla="*/ 11485 h 728066"/>
                <a:gd name="connsiteX2" fmla="*/ 851932 w 4015800"/>
                <a:gd name="connsiteY2" fmla="*/ 141468 h 728066"/>
                <a:gd name="connsiteX3" fmla="*/ 716637 w 4015800"/>
                <a:gd name="connsiteY3" fmla="*/ 599659 h 728066"/>
                <a:gd name="connsiteX4" fmla="*/ 710153 w 4015800"/>
                <a:gd name="connsiteY4" fmla="*/ 728066 h 728066"/>
                <a:gd name="connsiteX5" fmla="*/ 0 w 4015800"/>
                <a:gd name="connsiteY5" fmla="*/ 728066 h 728066"/>
                <a:gd name="connsiteX6" fmla="*/ 2504 w 4015800"/>
                <a:gd name="connsiteY6" fmla="*/ 629037 h 728066"/>
                <a:gd name="connsiteX7" fmla="*/ 60050 w 4015800"/>
                <a:gd name="connsiteY7" fmla="*/ 242580 h 728066"/>
                <a:gd name="connsiteX8" fmla="*/ 90397 w 4015800"/>
                <a:gd name="connsiteY8" fmla="*/ 142228 h 728066"/>
                <a:gd name="connsiteX9" fmla="*/ 93247 w 4015800"/>
                <a:gd name="connsiteY9" fmla="*/ 140891 h 728066"/>
                <a:gd name="connsiteX10" fmla="*/ 149597 w 4015800"/>
                <a:gd name="connsiteY10" fmla="*/ 132555 h 728066"/>
                <a:gd name="connsiteX11" fmla="*/ 330511 w 4015800"/>
                <a:gd name="connsiteY11" fmla="*/ 257415 h 728066"/>
                <a:gd name="connsiteX12" fmla="*/ 476647 w 4015800"/>
                <a:gd name="connsiteY12" fmla="*/ 215000 h 728066"/>
                <a:gd name="connsiteX13" fmla="*/ 634717 w 4015800"/>
                <a:gd name="connsiteY13" fmla="*/ 265462 h 728066"/>
                <a:gd name="connsiteX14" fmla="*/ 907212 w 4015800"/>
                <a:gd name="connsiteY14" fmla="*/ 7695 h 728066"/>
                <a:gd name="connsiteX15" fmla="*/ 3876000 w 4015800"/>
                <a:gd name="connsiteY15" fmla="*/ 0 h 728066"/>
                <a:gd name="connsiteX16" fmla="*/ 3900321 w 4015800"/>
                <a:gd name="connsiteY16" fmla="*/ 59284 h 728066"/>
                <a:gd name="connsiteX17" fmla="*/ 4013296 w 4015800"/>
                <a:gd name="connsiteY17" fmla="*/ 629037 h 728066"/>
                <a:gd name="connsiteX18" fmla="*/ 4015800 w 4015800"/>
                <a:gd name="connsiteY18" fmla="*/ 728066 h 728066"/>
                <a:gd name="connsiteX19" fmla="*/ 3305648 w 4015800"/>
                <a:gd name="connsiteY19" fmla="*/ 728066 h 728066"/>
                <a:gd name="connsiteX20" fmla="*/ 3299164 w 4015800"/>
                <a:gd name="connsiteY20" fmla="*/ 599659 h 728066"/>
                <a:gd name="connsiteX21" fmla="*/ 3163869 w 4015800"/>
                <a:gd name="connsiteY21" fmla="*/ 141468 h 728066"/>
                <a:gd name="connsiteX22" fmla="*/ 3135999 w 4015800"/>
                <a:gd name="connsiteY22" fmla="*/ 97392 h 728066"/>
                <a:gd name="connsiteX23" fmla="*/ 3168942 w 4015800"/>
                <a:gd name="connsiteY23" fmla="*/ 92731 h 728066"/>
                <a:gd name="connsiteX24" fmla="*/ 3221859 w 4015800"/>
                <a:gd name="connsiteY24" fmla="*/ 97914 h 728066"/>
                <a:gd name="connsiteX25" fmla="*/ 3342901 w 4015800"/>
                <a:gd name="connsiteY25" fmla="*/ 27880 h 728066"/>
                <a:gd name="connsiteX26" fmla="*/ 3475535 w 4015800"/>
                <a:gd name="connsiteY26" fmla="*/ 123690 h 728066"/>
                <a:gd name="connsiteX27" fmla="*/ 3610964 w 4015800"/>
                <a:gd name="connsiteY27" fmla="*/ 73296 h 728066"/>
                <a:gd name="connsiteX28" fmla="*/ 3714821 w 4015800"/>
                <a:gd name="connsiteY28" fmla="*/ 101187 h 728066"/>
                <a:gd name="connsiteX29" fmla="*/ 3834047 w 4015800"/>
                <a:gd name="connsiteY29" fmla="*/ 5810 h 72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15800" h="728066">
                  <a:moveTo>
                    <a:pt x="907212" y="7695"/>
                  </a:moveTo>
                  <a:lnTo>
                    <a:pt x="934122" y="11485"/>
                  </a:lnTo>
                  <a:lnTo>
                    <a:pt x="851932" y="141468"/>
                  </a:lnTo>
                  <a:cubicBezTo>
                    <a:pt x="780264" y="281390"/>
                    <a:pt x="733254" y="436032"/>
                    <a:pt x="716637" y="599659"/>
                  </a:cubicBezTo>
                  <a:lnTo>
                    <a:pt x="710153" y="728066"/>
                  </a:lnTo>
                  <a:lnTo>
                    <a:pt x="0" y="728066"/>
                  </a:lnTo>
                  <a:lnTo>
                    <a:pt x="2504" y="629037"/>
                  </a:lnTo>
                  <a:cubicBezTo>
                    <a:pt x="9227" y="496415"/>
                    <a:pt x="28817" y="367189"/>
                    <a:pt x="60050" y="242580"/>
                  </a:cubicBezTo>
                  <a:lnTo>
                    <a:pt x="90397" y="142228"/>
                  </a:lnTo>
                  <a:lnTo>
                    <a:pt x="93247" y="140891"/>
                  </a:lnTo>
                  <a:cubicBezTo>
                    <a:pt x="111073" y="135470"/>
                    <a:pt x="129992" y="132555"/>
                    <a:pt x="149597" y="132555"/>
                  </a:cubicBezTo>
                  <a:cubicBezTo>
                    <a:pt x="232314" y="132555"/>
                    <a:pt x="302825" y="184450"/>
                    <a:pt x="330511" y="257415"/>
                  </a:cubicBezTo>
                  <a:cubicBezTo>
                    <a:pt x="372790" y="230616"/>
                    <a:pt x="422912" y="215000"/>
                    <a:pt x="476647" y="215000"/>
                  </a:cubicBezTo>
                  <a:cubicBezTo>
                    <a:pt x="535565" y="215000"/>
                    <a:pt x="590119" y="233684"/>
                    <a:pt x="634717" y="265462"/>
                  </a:cubicBezTo>
                  <a:cubicBezTo>
                    <a:pt x="642559" y="121781"/>
                    <a:pt x="761554" y="7695"/>
                    <a:pt x="907212" y="7695"/>
                  </a:cubicBezTo>
                  <a:close/>
                  <a:moveTo>
                    <a:pt x="3876000" y="0"/>
                  </a:moveTo>
                  <a:lnTo>
                    <a:pt x="3900321" y="59284"/>
                  </a:lnTo>
                  <a:cubicBezTo>
                    <a:pt x="3964177" y="238811"/>
                    <a:pt x="4003212" y="430104"/>
                    <a:pt x="4013296" y="629037"/>
                  </a:cubicBezTo>
                  <a:lnTo>
                    <a:pt x="4015800" y="728066"/>
                  </a:lnTo>
                  <a:lnTo>
                    <a:pt x="3305648" y="728066"/>
                  </a:lnTo>
                  <a:lnTo>
                    <a:pt x="3299164" y="599659"/>
                  </a:lnTo>
                  <a:cubicBezTo>
                    <a:pt x="3282547" y="436032"/>
                    <a:pt x="3235537" y="281390"/>
                    <a:pt x="3163869" y="141468"/>
                  </a:cubicBezTo>
                  <a:lnTo>
                    <a:pt x="3135999" y="97392"/>
                  </a:lnTo>
                  <a:lnTo>
                    <a:pt x="3168942" y="92731"/>
                  </a:lnTo>
                  <a:cubicBezTo>
                    <a:pt x="3187082" y="92731"/>
                    <a:pt x="3204743" y="94572"/>
                    <a:pt x="3221859" y="97914"/>
                  </a:cubicBezTo>
                  <a:cubicBezTo>
                    <a:pt x="3246000" y="56112"/>
                    <a:pt x="3291075" y="27880"/>
                    <a:pt x="3342901" y="27880"/>
                  </a:cubicBezTo>
                  <a:cubicBezTo>
                    <a:pt x="3404683" y="27880"/>
                    <a:pt x="3457054" y="68046"/>
                    <a:pt x="3475535" y="123690"/>
                  </a:cubicBezTo>
                  <a:cubicBezTo>
                    <a:pt x="3511881" y="92322"/>
                    <a:pt x="3559206" y="73296"/>
                    <a:pt x="3610964" y="73296"/>
                  </a:cubicBezTo>
                  <a:cubicBezTo>
                    <a:pt x="3648811" y="73296"/>
                    <a:pt x="3684271" y="83457"/>
                    <a:pt x="3714821" y="101187"/>
                  </a:cubicBezTo>
                  <a:cubicBezTo>
                    <a:pt x="3739882" y="55259"/>
                    <a:pt x="3782702" y="20379"/>
                    <a:pt x="3834047" y="5810"/>
                  </a:cubicBezTo>
                  <a:close/>
                </a:path>
              </a:pathLst>
            </a:custGeom>
            <a:solidFill>
              <a:srgbClr val="00ABAB">
                <a:alpha val="20000"/>
              </a:srgbClr>
            </a:solidFill>
            <a:ln w="681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19"/>
            </a:p>
          </p:txBody>
        </p:sp>
        <p:sp>
          <p:nvSpPr>
            <p:cNvPr id="7" name="Freeform: Shape 6">
              <a:extLst>
                <a:ext uri="{FF2B5EF4-FFF2-40B4-BE49-F238E27FC236}">
                  <a16:creationId xmlns:a16="http://schemas.microsoft.com/office/drawing/2014/main" id="{B3787853-0584-1937-675A-9F4B5473918F}"/>
                </a:ext>
              </a:extLst>
            </p:cNvPr>
            <p:cNvSpPr/>
            <p:nvPr/>
          </p:nvSpPr>
          <p:spPr bwMode="gray">
            <a:xfrm>
              <a:off x="3597099" y="2891221"/>
              <a:ext cx="4981164" cy="564676"/>
            </a:xfrm>
            <a:custGeom>
              <a:avLst/>
              <a:gdLst>
                <a:gd name="connsiteX0" fmla="*/ 492467 w 4015800"/>
                <a:gd name="connsiteY0" fmla="*/ 95401 h 455240"/>
                <a:gd name="connsiteX1" fmla="*/ 732397 w 4015800"/>
                <a:gd name="connsiteY1" fmla="*/ 193358 h 455240"/>
                <a:gd name="connsiteX2" fmla="*/ 740883 w 4015800"/>
                <a:gd name="connsiteY2" fmla="*/ 204073 h 455240"/>
                <a:gd name="connsiteX3" fmla="*/ 716637 w 4015800"/>
                <a:gd name="connsiteY3" fmla="*/ 326833 h 455240"/>
                <a:gd name="connsiteX4" fmla="*/ 710153 w 4015800"/>
                <a:gd name="connsiteY4" fmla="*/ 455240 h 455240"/>
                <a:gd name="connsiteX5" fmla="*/ 0 w 4015800"/>
                <a:gd name="connsiteY5" fmla="*/ 455240 h 455240"/>
                <a:gd name="connsiteX6" fmla="*/ 2504 w 4015800"/>
                <a:gd name="connsiteY6" fmla="*/ 356211 h 455240"/>
                <a:gd name="connsiteX7" fmla="*/ 22085 w 4015800"/>
                <a:gd name="connsiteY7" fmla="*/ 159977 h 455240"/>
                <a:gd name="connsiteX8" fmla="*/ 27779 w 4015800"/>
                <a:gd name="connsiteY8" fmla="*/ 131452 h 455240"/>
                <a:gd name="connsiteX9" fmla="*/ 96679 w 4015800"/>
                <a:gd name="connsiteY9" fmla="*/ 167889 h 455240"/>
                <a:gd name="connsiteX10" fmla="*/ 192762 w 4015800"/>
                <a:gd name="connsiteY10" fmla="*/ 135634 h 455240"/>
                <a:gd name="connsiteX11" fmla="*/ 285162 w 4015800"/>
                <a:gd name="connsiteY11" fmla="*/ 165230 h 455240"/>
                <a:gd name="connsiteX12" fmla="*/ 492467 w 4015800"/>
                <a:gd name="connsiteY12" fmla="*/ 95401 h 455240"/>
                <a:gd name="connsiteX13" fmla="*/ 3598620 w 4015800"/>
                <a:gd name="connsiteY13" fmla="*/ 0 h 455240"/>
                <a:gd name="connsiteX14" fmla="*/ 3762350 w 4015800"/>
                <a:gd name="connsiteY14" fmla="*/ 49712 h 455240"/>
                <a:gd name="connsiteX15" fmla="*/ 3842135 w 4015800"/>
                <a:gd name="connsiteY15" fmla="*/ 32869 h 455240"/>
                <a:gd name="connsiteX16" fmla="*/ 3966705 w 4015800"/>
                <a:gd name="connsiteY16" fmla="*/ 77279 h 455240"/>
                <a:gd name="connsiteX17" fmla="*/ 3980310 w 4015800"/>
                <a:gd name="connsiteY17" fmla="*/ 92810 h 455240"/>
                <a:gd name="connsiteX18" fmla="*/ 3993715 w 4015800"/>
                <a:gd name="connsiteY18" fmla="*/ 159977 h 455240"/>
                <a:gd name="connsiteX19" fmla="*/ 4013296 w 4015800"/>
                <a:gd name="connsiteY19" fmla="*/ 356211 h 455240"/>
                <a:gd name="connsiteX20" fmla="*/ 4015800 w 4015800"/>
                <a:gd name="connsiteY20" fmla="*/ 455240 h 455240"/>
                <a:gd name="connsiteX21" fmla="*/ 3305648 w 4015800"/>
                <a:gd name="connsiteY21" fmla="*/ 455240 h 455240"/>
                <a:gd name="connsiteX22" fmla="*/ 3299164 w 4015800"/>
                <a:gd name="connsiteY22" fmla="*/ 326833 h 455240"/>
                <a:gd name="connsiteX23" fmla="*/ 3259369 w 4015800"/>
                <a:gd name="connsiteY23" fmla="*/ 125344 h 455240"/>
                <a:gd name="connsiteX24" fmla="*/ 3301013 w 4015800"/>
                <a:gd name="connsiteY24" fmla="*/ 130597 h 455240"/>
                <a:gd name="connsiteX25" fmla="*/ 3343718 w 4015800"/>
                <a:gd name="connsiteY25" fmla="*/ 147431 h 455240"/>
                <a:gd name="connsiteX26" fmla="*/ 3598620 w 4015800"/>
                <a:gd name="connsiteY26" fmla="*/ 0 h 45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5800" h="455240">
                  <a:moveTo>
                    <a:pt x="492467" y="95401"/>
                  </a:moveTo>
                  <a:cubicBezTo>
                    <a:pt x="585908" y="95401"/>
                    <a:pt x="670564" y="132762"/>
                    <a:pt x="732397" y="193358"/>
                  </a:cubicBezTo>
                  <a:lnTo>
                    <a:pt x="740883" y="204073"/>
                  </a:lnTo>
                  <a:lnTo>
                    <a:pt x="716637" y="326833"/>
                  </a:lnTo>
                  <a:lnTo>
                    <a:pt x="710153" y="455240"/>
                  </a:lnTo>
                  <a:lnTo>
                    <a:pt x="0" y="455240"/>
                  </a:lnTo>
                  <a:lnTo>
                    <a:pt x="2504" y="356211"/>
                  </a:lnTo>
                  <a:cubicBezTo>
                    <a:pt x="5865" y="289900"/>
                    <a:pt x="12444" y="224438"/>
                    <a:pt x="22085" y="159977"/>
                  </a:cubicBezTo>
                  <a:lnTo>
                    <a:pt x="27779" y="131452"/>
                  </a:lnTo>
                  <a:lnTo>
                    <a:pt x="96679" y="167889"/>
                  </a:lnTo>
                  <a:cubicBezTo>
                    <a:pt x="123411" y="147636"/>
                    <a:pt x="158257" y="135634"/>
                    <a:pt x="192762" y="135634"/>
                  </a:cubicBezTo>
                  <a:cubicBezTo>
                    <a:pt x="227267" y="135634"/>
                    <a:pt x="259113" y="146613"/>
                    <a:pt x="285162" y="165230"/>
                  </a:cubicBezTo>
                  <a:cubicBezTo>
                    <a:pt x="342717" y="121450"/>
                    <a:pt x="414523" y="95401"/>
                    <a:pt x="492467" y="95401"/>
                  </a:cubicBezTo>
                  <a:close/>
                  <a:moveTo>
                    <a:pt x="3598620" y="0"/>
                  </a:moveTo>
                  <a:cubicBezTo>
                    <a:pt x="3659243" y="0"/>
                    <a:pt x="3715570" y="18276"/>
                    <a:pt x="3762350" y="49712"/>
                  </a:cubicBezTo>
                  <a:cubicBezTo>
                    <a:pt x="3786763" y="38938"/>
                    <a:pt x="3813767" y="32869"/>
                    <a:pt x="3842135" y="32869"/>
                  </a:cubicBezTo>
                  <a:cubicBezTo>
                    <a:pt x="3889392" y="32869"/>
                    <a:pt x="3932763" y="49525"/>
                    <a:pt x="3966705" y="77279"/>
                  </a:cubicBezTo>
                  <a:lnTo>
                    <a:pt x="3980310" y="92810"/>
                  </a:lnTo>
                  <a:lnTo>
                    <a:pt x="3993715" y="159977"/>
                  </a:lnTo>
                  <a:cubicBezTo>
                    <a:pt x="4003357" y="224438"/>
                    <a:pt x="4009935" y="289900"/>
                    <a:pt x="4013296" y="356211"/>
                  </a:cubicBezTo>
                  <a:lnTo>
                    <a:pt x="4015800" y="455240"/>
                  </a:lnTo>
                  <a:lnTo>
                    <a:pt x="3305648" y="455240"/>
                  </a:lnTo>
                  <a:lnTo>
                    <a:pt x="3299164" y="326833"/>
                  </a:lnTo>
                  <a:lnTo>
                    <a:pt x="3259369" y="125344"/>
                  </a:lnTo>
                  <a:lnTo>
                    <a:pt x="3301013" y="130597"/>
                  </a:lnTo>
                  <a:cubicBezTo>
                    <a:pt x="3316067" y="134475"/>
                    <a:pt x="3330387" y="140169"/>
                    <a:pt x="3343718" y="147431"/>
                  </a:cubicBezTo>
                  <a:cubicBezTo>
                    <a:pt x="3394521" y="59327"/>
                    <a:pt x="3489581" y="0"/>
                    <a:pt x="3598620" y="0"/>
                  </a:cubicBezTo>
                  <a:close/>
                </a:path>
              </a:pathLst>
            </a:custGeom>
            <a:solidFill>
              <a:srgbClr val="004F59"/>
            </a:solidFill>
            <a:ln w="681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2419"/>
            </a:p>
          </p:txBody>
        </p:sp>
        <p:sp>
          <p:nvSpPr>
            <p:cNvPr id="8" name="Oval 7">
              <a:extLst>
                <a:ext uri="{FF2B5EF4-FFF2-40B4-BE49-F238E27FC236}">
                  <a16:creationId xmlns:a16="http://schemas.microsoft.com/office/drawing/2014/main" id="{88859F2F-A94F-FF07-7C10-9D76B0DC6A6E}"/>
                </a:ext>
              </a:extLst>
            </p:cNvPr>
            <p:cNvSpPr>
              <a:spLocks noChangeAspect="1"/>
            </p:cNvSpPr>
            <p:nvPr/>
          </p:nvSpPr>
          <p:spPr bwMode="gray">
            <a:xfrm rot="2700000">
              <a:off x="4260080" y="1632180"/>
              <a:ext cx="3654934" cy="3654934"/>
            </a:xfrm>
            <a:prstGeom prst="ellipse">
              <a:avLst/>
            </a:prstGeom>
            <a:solidFill>
              <a:srgbClr val="005587"/>
            </a:solidFill>
            <a:ln w="6350" algn="ctr">
              <a:noFill/>
              <a:prstDash val="solid"/>
              <a:miter lim="800000"/>
              <a:headEnd/>
              <a:tailEnd/>
            </a:ln>
          </p:spPr>
          <p:txBody>
            <a:bodyPr rtlCol="0" anchor="ctr"/>
            <a:lstStyle/>
            <a:p>
              <a:pPr algn="ctr"/>
              <a:endParaRPr lang="en-US" sz="2419"/>
            </a:p>
          </p:txBody>
        </p:sp>
        <p:sp>
          <p:nvSpPr>
            <p:cNvPr id="9" name="Freeform: Shape 8">
              <a:extLst>
                <a:ext uri="{FF2B5EF4-FFF2-40B4-BE49-F238E27FC236}">
                  <a16:creationId xmlns:a16="http://schemas.microsoft.com/office/drawing/2014/main" id="{C70513D4-2BBB-B484-3415-4ABEF54292D1}"/>
                </a:ext>
              </a:extLst>
            </p:cNvPr>
            <p:cNvSpPr/>
            <p:nvPr/>
          </p:nvSpPr>
          <p:spPr bwMode="gray">
            <a:xfrm rot="10800000">
              <a:off x="4458087" y="3451133"/>
              <a:ext cx="3258925" cy="1621961"/>
            </a:xfrm>
            <a:custGeom>
              <a:avLst/>
              <a:gdLst>
                <a:gd name="connsiteX0" fmla="*/ 1074988 w 2149976"/>
                <a:gd name="connsiteY0" fmla="*/ 0 h 1070040"/>
                <a:gd name="connsiteX1" fmla="*/ 2144688 w 2149976"/>
                <a:gd name="connsiteY1" fmla="*/ 965314 h 1070040"/>
                <a:gd name="connsiteX2" fmla="*/ 2149976 w 2149976"/>
                <a:gd name="connsiteY2" fmla="*/ 1070040 h 1070040"/>
                <a:gd name="connsiteX3" fmla="*/ 1583474 w 2149976"/>
                <a:gd name="connsiteY3" fmla="*/ 1070040 h 1070040"/>
                <a:gd name="connsiteX4" fmla="*/ 1573658 w 2149976"/>
                <a:gd name="connsiteY4" fmla="*/ 972668 h 1070040"/>
                <a:gd name="connsiteX5" fmla="*/ 1074988 w 2149976"/>
                <a:gd name="connsiteY5" fmla="*/ 566240 h 1070040"/>
                <a:gd name="connsiteX6" fmla="*/ 576319 w 2149976"/>
                <a:gd name="connsiteY6" fmla="*/ 972668 h 1070040"/>
                <a:gd name="connsiteX7" fmla="*/ 566503 w 2149976"/>
                <a:gd name="connsiteY7" fmla="*/ 1070040 h 1070040"/>
                <a:gd name="connsiteX8" fmla="*/ 0 w 2149976"/>
                <a:gd name="connsiteY8" fmla="*/ 1070040 h 1070040"/>
                <a:gd name="connsiteX9" fmla="*/ 5289 w 2149976"/>
                <a:gd name="connsiteY9" fmla="*/ 965314 h 1070040"/>
                <a:gd name="connsiteX10" fmla="*/ 1074988 w 2149976"/>
                <a:gd name="connsiteY10" fmla="*/ 0 h 10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49976" h="1070040">
                  <a:moveTo>
                    <a:pt x="1074988" y="0"/>
                  </a:moveTo>
                  <a:cubicBezTo>
                    <a:pt x="1631717" y="0"/>
                    <a:pt x="2089624" y="423112"/>
                    <a:pt x="2144688" y="965314"/>
                  </a:cubicBezTo>
                  <a:lnTo>
                    <a:pt x="2149976" y="1070040"/>
                  </a:lnTo>
                  <a:lnTo>
                    <a:pt x="1583474" y="1070040"/>
                  </a:lnTo>
                  <a:lnTo>
                    <a:pt x="1573658" y="972668"/>
                  </a:lnTo>
                  <a:cubicBezTo>
                    <a:pt x="1526195" y="740720"/>
                    <a:pt x="1320968" y="566240"/>
                    <a:pt x="1074988" y="566240"/>
                  </a:cubicBezTo>
                  <a:cubicBezTo>
                    <a:pt x="829009" y="566240"/>
                    <a:pt x="623782" y="740720"/>
                    <a:pt x="576319" y="972668"/>
                  </a:cubicBezTo>
                  <a:lnTo>
                    <a:pt x="566503" y="1070040"/>
                  </a:lnTo>
                  <a:lnTo>
                    <a:pt x="0" y="1070040"/>
                  </a:lnTo>
                  <a:lnTo>
                    <a:pt x="5289" y="965314"/>
                  </a:lnTo>
                  <a:cubicBezTo>
                    <a:pt x="60352" y="423112"/>
                    <a:pt x="518259" y="0"/>
                    <a:pt x="1074988" y="0"/>
                  </a:cubicBezTo>
                  <a:close/>
                </a:path>
              </a:pathLst>
            </a:custGeom>
            <a:gradFill>
              <a:gsLst>
                <a:gs pos="0">
                  <a:srgbClr val="0097A9">
                    <a:alpha val="6000"/>
                  </a:srgbClr>
                </a:gs>
                <a:gs pos="100000">
                  <a:srgbClr val="78C8D1">
                    <a:alpha val="30000"/>
                  </a:srgbClr>
                </a:gs>
              </a:gsLst>
              <a:lin ang="5400000" scaled="0"/>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sp>
          <p:nvSpPr>
            <p:cNvPr id="10" name="Freeform: Shape 9">
              <a:extLst>
                <a:ext uri="{FF2B5EF4-FFF2-40B4-BE49-F238E27FC236}">
                  <a16:creationId xmlns:a16="http://schemas.microsoft.com/office/drawing/2014/main" id="{27424F23-0C80-EA9F-406A-61544CC24461}"/>
                </a:ext>
              </a:extLst>
            </p:cNvPr>
            <p:cNvSpPr/>
            <p:nvPr/>
          </p:nvSpPr>
          <p:spPr bwMode="gray">
            <a:xfrm rot="10800000">
              <a:off x="4457817" y="1823862"/>
              <a:ext cx="3259460" cy="1627271"/>
            </a:xfrm>
            <a:custGeom>
              <a:avLst/>
              <a:gdLst>
                <a:gd name="connsiteX0" fmla="*/ 0 w 2150329"/>
                <a:gd name="connsiteY0" fmla="*/ 0 h 1073543"/>
                <a:gd name="connsiteX1" fmla="*/ 566326 w 2150329"/>
                <a:gd name="connsiteY1" fmla="*/ 0 h 1073543"/>
                <a:gd name="connsiteX2" fmla="*/ 576495 w 2150329"/>
                <a:gd name="connsiteY2" fmla="*/ 100875 h 1073543"/>
                <a:gd name="connsiteX3" fmla="*/ 1075164 w 2150329"/>
                <a:gd name="connsiteY3" fmla="*/ 507303 h 1073543"/>
                <a:gd name="connsiteX4" fmla="*/ 1573834 w 2150329"/>
                <a:gd name="connsiteY4" fmla="*/ 100875 h 1073543"/>
                <a:gd name="connsiteX5" fmla="*/ 1584003 w 2150329"/>
                <a:gd name="connsiteY5" fmla="*/ 0 h 1073543"/>
                <a:gd name="connsiteX6" fmla="*/ 2150329 w 2150329"/>
                <a:gd name="connsiteY6" fmla="*/ 0 h 1073543"/>
                <a:gd name="connsiteX7" fmla="*/ 2144864 w 2150329"/>
                <a:gd name="connsiteY7" fmla="*/ 108229 h 1073543"/>
                <a:gd name="connsiteX8" fmla="*/ 1075164 w 2150329"/>
                <a:gd name="connsiteY8" fmla="*/ 1073543 h 1073543"/>
                <a:gd name="connsiteX9" fmla="*/ 5465 w 2150329"/>
                <a:gd name="connsiteY9" fmla="*/ 108229 h 107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0329" h="1073543">
                  <a:moveTo>
                    <a:pt x="0" y="0"/>
                  </a:moveTo>
                  <a:lnTo>
                    <a:pt x="566326" y="0"/>
                  </a:lnTo>
                  <a:lnTo>
                    <a:pt x="576495" y="100875"/>
                  </a:lnTo>
                  <a:cubicBezTo>
                    <a:pt x="623958" y="332823"/>
                    <a:pt x="829185" y="507303"/>
                    <a:pt x="1075164" y="507303"/>
                  </a:cubicBezTo>
                  <a:cubicBezTo>
                    <a:pt x="1321144" y="507303"/>
                    <a:pt x="1526371" y="332823"/>
                    <a:pt x="1573834" y="100875"/>
                  </a:cubicBezTo>
                  <a:lnTo>
                    <a:pt x="1584003" y="0"/>
                  </a:lnTo>
                  <a:lnTo>
                    <a:pt x="2150329" y="0"/>
                  </a:lnTo>
                  <a:lnTo>
                    <a:pt x="2144864" y="108229"/>
                  </a:lnTo>
                  <a:cubicBezTo>
                    <a:pt x="2089800" y="650432"/>
                    <a:pt x="1631893" y="1073543"/>
                    <a:pt x="1075164" y="1073543"/>
                  </a:cubicBezTo>
                  <a:cubicBezTo>
                    <a:pt x="518435" y="1073543"/>
                    <a:pt x="60528" y="650432"/>
                    <a:pt x="5465" y="108229"/>
                  </a:cubicBezTo>
                  <a:close/>
                </a:path>
              </a:pathLst>
            </a:custGeom>
            <a:gradFill>
              <a:gsLst>
                <a:gs pos="0">
                  <a:srgbClr val="62B5E5">
                    <a:alpha val="49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sp>
          <p:nvSpPr>
            <p:cNvPr id="11" name="Freeform: Shape 10">
              <a:extLst>
                <a:ext uri="{FF2B5EF4-FFF2-40B4-BE49-F238E27FC236}">
                  <a16:creationId xmlns:a16="http://schemas.microsoft.com/office/drawing/2014/main" id="{77ECC47D-19E9-DD4D-3FE1-AD68F1FDB996}"/>
                </a:ext>
              </a:extLst>
            </p:cNvPr>
            <p:cNvSpPr/>
            <p:nvPr/>
          </p:nvSpPr>
          <p:spPr>
            <a:xfrm>
              <a:off x="3604636" y="2368356"/>
              <a:ext cx="4973182" cy="1081335"/>
            </a:xfrm>
            <a:custGeom>
              <a:avLst/>
              <a:gdLst>
                <a:gd name="connsiteX0" fmla="*/ 866836 w 4009365"/>
                <a:gd name="connsiteY0" fmla="*/ 724294 h 871769"/>
                <a:gd name="connsiteX1" fmla="*/ 849304 w 4009365"/>
                <a:gd name="connsiteY1" fmla="*/ 748048 h 871769"/>
                <a:gd name="connsiteX2" fmla="*/ 866366 w 4009365"/>
                <a:gd name="connsiteY2" fmla="*/ 748048 h 871769"/>
                <a:gd name="connsiteX3" fmla="*/ 812000 w 4009365"/>
                <a:gd name="connsiteY3" fmla="*/ 724294 h 871769"/>
                <a:gd name="connsiteX4" fmla="*/ 812470 w 4009365"/>
                <a:gd name="connsiteY4" fmla="*/ 748048 h 871769"/>
                <a:gd name="connsiteX5" fmla="*/ 829532 w 4009365"/>
                <a:gd name="connsiteY5" fmla="*/ 748048 h 871769"/>
                <a:gd name="connsiteX6" fmla="*/ 99044 w 4009365"/>
                <a:gd name="connsiteY6" fmla="*/ 724294 h 871769"/>
                <a:gd name="connsiteX7" fmla="*/ 81511 w 4009365"/>
                <a:gd name="connsiteY7" fmla="*/ 748048 h 871769"/>
                <a:gd name="connsiteX8" fmla="*/ 98574 w 4009365"/>
                <a:gd name="connsiteY8" fmla="*/ 748048 h 871769"/>
                <a:gd name="connsiteX9" fmla="*/ 44207 w 4009365"/>
                <a:gd name="connsiteY9" fmla="*/ 724294 h 871769"/>
                <a:gd name="connsiteX10" fmla="*/ 44677 w 4009365"/>
                <a:gd name="connsiteY10" fmla="*/ 748048 h 871769"/>
                <a:gd name="connsiteX11" fmla="*/ 61739 w 4009365"/>
                <a:gd name="connsiteY11" fmla="*/ 748048 h 871769"/>
                <a:gd name="connsiteX12" fmla="*/ 870265 w 4009365"/>
                <a:gd name="connsiteY12" fmla="*/ 719648 h 871769"/>
                <a:gd name="connsiteX13" fmla="*/ 869159 w 4009365"/>
                <a:gd name="connsiteY13" fmla="*/ 721141 h 871769"/>
                <a:gd name="connsiteX14" fmla="*/ 868634 w 4009365"/>
                <a:gd name="connsiteY14" fmla="*/ 748048 h 871769"/>
                <a:gd name="connsiteX15" fmla="*/ 868606 w 4009365"/>
                <a:gd name="connsiteY15" fmla="*/ 748076 h 871769"/>
                <a:gd name="connsiteX16" fmla="*/ 888461 w 4009365"/>
                <a:gd name="connsiteY16" fmla="*/ 748076 h 871769"/>
                <a:gd name="connsiteX17" fmla="*/ 870265 w 4009365"/>
                <a:gd name="connsiteY17" fmla="*/ 719648 h 871769"/>
                <a:gd name="connsiteX18" fmla="*/ 808543 w 4009365"/>
                <a:gd name="connsiteY18" fmla="*/ 719648 h 871769"/>
                <a:gd name="connsiteX19" fmla="*/ 790348 w 4009365"/>
                <a:gd name="connsiteY19" fmla="*/ 748048 h 871769"/>
                <a:gd name="connsiteX20" fmla="*/ 810175 w 4009365"/>
                <a:gd name="connsiteY20" fmla="*/ 748048 h 871769"/>
                <a:gd name="connsiteX21" fmla="*/ 809649 w 4009365"/>
                <a:gd name="connsiteY21" fmla="*/ 721141 h 871769"/>
                <a:gd name="connsiteX22" fmla="*/ 808543 w 4009365"/>
                <a:gd name="connsiteY22" fmla="*/ 719648 h 871769"/>
                <a:gd name="connsiteX23" fmla="*/ 102500 w 4009365"/>
                <a:gd name="connsiteY23" fmla="*/ 719648 h 871769"/>
                <a:gd name="connsiteX24" fmla="*/ 101366 w 4009365"/>
                <a:gd name="connsiteY24" fmla="*/ 721141 h 871769"/>
                <a:gd name="connsiteX25" fmla="*/ 100841 w 4009365"/>
                <a:gd name="connsiteY25" fmla="*/ 748048 h 871769"/>
                <a:gd name="connsiteX26" fmla="*/ 100841 w 4009365"/>
                <a:gd name="connsiteY26" fmla="*/ 748076 h 871769"/>
                <a:gd name="connsiteX27" fmla="*/ 120696 w 4009365"/>
                <a:gd name="connsiteY27" fmla="*/ 748076 h 871769"/>
                <a:gd name="connsiteX28" fmla="*/ 102500 w 4009365"/>
                <a:gd name="connsiteY28" fmla="*/ 719648 h 871769"/>
                <a:gd name="connsiteX29" fmla="*/ 40751 w 4009365"/>
                <a:gd name="connsiteY29" fmla="*/ 719648 h 871769"/>
                <a:gd name="connsiteX30" fmla="*/ 22555 w 4009365"/>
                <a:gd name="connsiteY30" fmla="*/ 748048 h 871769"/>
                <a:gd name="connsiteX31" fmla="*/ 42382 w 4009365"/>
                <a:gd name="connsiteY31" fmla="*/ 748048 h 871769"/>
                <a:gd name="connsiteX32" fmla="*/ 41857 w 4009365"/>
                <a:gd name="connsiteY32" fmla="*/ 721141 h 871769"/>
                <a:gd name="connsiteX33" fmla="*/ 40751 w 4009365"/>
                <a:gd name="connsiteY33" fmla="*/ 719648 h 871769"/>
                <a:gd name="connsiteX34" fmla="*/ 925793 w 4009365"/>
                <a:gd name="connsiteY34" fmla="*/ 710661 h 871769"/>
                <a:gd name="connsiteX35" fmla="*/ 925434 w 4009365"/>
                <a:gd name="connsiteY35" fmla="*/ 748048 h 871769"/>
                <a:gd name="connsiteX36" fmla="*/ 953529 w 4009365"/>
                <a:gd name="connsiteY36" fmla="*/ 748048 h 871769"/>
                <a:gd name="connsiteX37" fmla="*/ 753016 w 4009365"/>
                <a:gd name="connsiteY37" fmla="*/ 710661 h 871769"/>
                <a:gd name="connsiteX38" fmla="*/ 725279 w 4009365"/>
                <a:gd name="connsiteY38" fmla="*/ 748048 h 871769"/>
                <a:gd name="connsiteX39" fmla="*/ 753375 w 4009365"/>
                <a:gd name="connsiteY39" fmla="*/ 748048 h 871769"/>
                <a:gd name="connsiteX40" fmla="*/ 157973 w 4009365"/>
                <a:gd name="connsiteY40" fmla="*/ 710661 h 871769"/>
                <a:gd name="connsiteX41" fmla="*/ 157613 w 4009365"/>
                <a:gd name="connsiteY41" fmla="*/ 748048 h 871769"/>
                <a:gd name="connsiteX42" fmla="*/ 185709 w 4009365"/>
                <a:gd name="connsiteY42" fmla="*/ 748048 h 871769"/>
                <a:gd name="connsiteX43" fmla="*/ 1192454 w 4009365"/>
                <a:gd name="connsiteY43" fmla="*/ 709250 h 871769"/>
                <a:gd name="connsiteX44" fmla="*/ 1172184 w 4009365"/>
                <a:gd name="connsiteY44" fmla="*/ 748020 h 871769"/>
                <a:gd name="connsiteX45" fmla="*/ 1172211 w 4009365"/>
                <a:gd name="connsiteY45" fmla="*/ 748020 h 871769"/>
                <a:gd name="connsiteX46" fmla="*/ 1192730 w 4009365"/>
                <a:gd name="connsiteY46" fmla="*/ 748020 h 871769"/>
                <a:gd name="connsiteX47" fmla="*/ 486383 w 4009365"/>
                <a:gd name="connsiteY47" fmla="*/ 709250 h 871769"/>
                <a:gd name="connsiteX48" fmla="*/ 486106 w 4009365"/>
                <a:gd name="connsiteY48" fmla="*/ 748020 h 871769"/>
                <a:gd name="connsiteX49" fmla="*/ 486134 w 4009365"/>
                <a:gd name="connsiteY49" fmla="*/ 748020 h 871769"/>
                <a:gd name="connsiteX50" fmla="*/ 506653 w 4009365"/>
                <a:gd name="connsiteY50" fmla="*/ 748020 h 871769"/>
                <a:gd name="connsiteX51" fmla="*/ 424633 w 4009365"/>
                <a:gd name="connsiteY51" fmla="*/ 709250 h 871769"/>
                <a:gd name="connsiteX52" fmla="*/ 404363 w 4009365"/>
                <a:gd name="connsiteY52" fmla="*/ 748020 h 871769"/>
                <a:gd name="connsiteX53" fmla="*/ 404391 w 4009365"/>
                <a:gd name="connsiteY53" fmla="*/ 748020 h 871769"/>
                <a:gd name="connsiteX54" fmla="*/ 424910 w 4009365"/>
                <a:gd name="connsiteY54" fmla="*/ 748020 h 871769"/>
                <a:gd name="connsiteX55" fmla="*/ 843193 w 4009365"/>
                <a:gd name="connsiteY55" fmla="*/ 707564 h 871769"/>
                <a:gd name="connsiteX56" fmla="*/ 843193 w 4009365"/>
                <a:gd name="connsiteY56" fmla="*/ 748048 h 871769"/>
                <a:gd name="connsiteX57" fmla="*/ 843469 w 4009365"/>
                <a:gd name="connsiteY57" fmla="*/ 748048 h 871769"/>
                <a:gd name="connsiteX58" fmla="*/ 865896 w 4009365"/>
                <a:gd name="connsiteY58" fmla="*/ 717685 h 871769"/>
                <a:gd name="connsiteX59" fmla="*/ 835643 w 4009365"/>
                <a:gd name="connsiteY59" fmla="*/ 707564 h 871769"/>
                <a:gd name="connsiteX60" fmla="*/ 812940 w 4009365"/>
                <a:gd name="connsiteY60" fmla="*/ 717685 h 871769"/>
                <a:gd name="connsiteX61" fmla="*/ 835339 w 4009365"/>
                <a:gd name="connsiteY61" fmla="*/ 748048 h 871769"/>
                <a:gd name="connsiteX62" fmla="*/ 835643 w 4009365"/>
                <a:gd name="connsiteY62" fmla="*/ 748048 h 871769"/>
                <a:gd name="connsiteX63" fmla="*/ 75372 w 4009365"/>
                <a:gd name="connsiteY63" fmla="*/ 707564 h 871769"/>
                <a:gd name="connsiteX64" fmla="*/ 75372 w 4009365"/>
                <a:gd name="connsiteY64" fmla="*/ 748048 h 871769"/>
                <a:gd name="connsiteX65" fmla="*/ 75649 w 4009365"/>
                <a:gd name="connsiteY65" fmla="*/ 748048 h 871769"/>
                <a:gd name="connsiteX66" fmla="*/ 98076 w 4009365"/>
                <a:gd name="connsiteY66" fmla="*/ 717685 h 871769"/>
                <a:gd name="connsiteX67" fmla="*/ 67851 w 4009365"/>
                <a:gd name="connsiteY67" fmla="*/ 707564 h 871769"/>
                <a:gd name="connsiteX68" fmla="*/ 45147 w 4009365"/>
                <a:gd name="connsiteY68" fmla="*/ 717685 h 871769"/>
                <a:gd name="connsiteX69" fmla="*/ 67547 w 4009365"/>
                <a:gd name="connsiteY69" fmla="*/ 748048 h 871769"/>
                <a:gd name="connsiteX70" fmla="*/ 67851 w 4009365"/>
                <a:gd name="connsiteY70" fmla="*/ 748048 h 871769"/>
                <a:gd name="connsiteX71" fmla="*/ 543017 w 4009365"/>
                <a:gd name="connsiteY71" fmla="*/ 706872 h 871769"/>
                <a:gd name="connsiteX72" fmla="*/ 543017 w 4009365"/>
                <a:gd name="connsiteY72" fmla="*/ 748020 h 871769"/>
                <a:gd name="connsiteX73" fmla="*/ 565858 w 4009365"/>
                <a:gd name="connsiteY73" fmla="*/ 748020 h 871769"/>
                <a:gd name="connsiteX74" fmla="*/ 1135820 w 4009365"/>
                <a:gd name="connsiteY74" fmla="*/ 706845 h 871769"/>
                <a:gd name="connsiteX75" fmla="*/ 1112978 w 4009365"/>
                <a:gd name="connsiteY75" fmla="*/ 747993 h 871769"/>
                <a:gd name="connsiteX76" fmla="*/ 1135820 w 4009365"/>
                <a:gd name="connsiteY76" fmla="*/ 747993 h 871769"/>
                <a:gd name="connsiteX77" fmla="*/ 367999 w 4009365"/>
                <a:gd name="connsiteY77" fmla="*/ 706845 h 871769"/>
                <a:gd name="connsiteX78" fmla="*/ 345158 w 4009365"/>
                <a:gd name="connsiteY78" fmla="*/ 747993 h 871769"/>
                <a:gd name="connsiteX79" fmla="*/ 367999 w 4009365"/>
                <a:gd name="connsiteY79" fmla="*/ 747993 h 871769"/>
                <a:gd name="connsiteX80" fmla="*/ 1194666 w 4009365"/>
                <a:gd name="connsiteY80" fmla="*/ 706070 h 871769"/>
                <a:gd name="connsiteX81" fmla="*/ 1194970 w 4009365"/>
                <a:gd name="connsiteY81" fmla="*/ 748020 h 871769"/>
                <a:gd name="connsiteX82" fmla="*/ 1215516 w 4009365"/>
                <a:gd name="connsiteY82" fmla="*/ 748020 h 871769"/>
                <a:gd name="connsiteX83" fmla="*/ 484143 w 4009365"/>
                <a:gd name="connsiteY83" fmla="*/ 706070 h 871769"/>
                <a:gd name="connsiteX84" fmla="*/ 463292 w 4009365"/>
                <a:gd name="connsiteY84" fmla="*/ 748020 h 871769"/>
                <a:gd name="connsiteX85" fmla="*/ 483839 w 4009365"/>
                <a:gd name="connsiteY85" fmla="*/ 748020 h 871769"/>
                <a:gd name="connsiteX86" fmla="*/ 426873 w 4009365"/>
                <a:gd name="connsiteY86" fmla="*/ 706070 h 871769"/>
                <a:gd name="connsiteX87" fmla="*/ 427150 w 4009365"/>
                <a:gd name="connsiteY87" fmla="*/ 748020 h 871769"/>
                <a:gd name="connsiteX88" fmla="*/ 427177 w 4009365"/>
                <a:gd name="connsiteY88" fmla="*/ 748020 h 871769"/>
                <a:gd name="connsiteX89" fmla="*/ 447724 w 4009365"/>
                <a:gd name="connsiteY89" fmla="*/ 748020 h 871769"/>
                <a:gd name="connsiteX90" fmla="*/ 601531 w 4009365"/>
                <a:gd name="connsiteY90" fmla="*/ 705932 h 871769"/>
                <a:gd name="connsiteX91" fmla="*/ 601807 w 4009365"/>
                <a:gd name="connsiteY91" fmla="*/ 748048 h 871769"/>
                <a:gd name="connsiteX92" fmla="*/ 623709 w 4009365"/>
                <a:gd name="connsiteY92" fmla="*/ 748048 h 871769"/>
                <a:gd name="connsiteX93" fmla="*/ 1077278 w 4009365"/>
                <a:gd name="connsiteY93" fmla="*/ 705904 h 871769"/>
                <a:gd name="connsiteX94" fmla="*/ 1055100 w 4009365"/>
                <a:gd name="connsiteY94" fmla="*/ 748020 h 871769"/>
                <a:gd name="connsiteX95" fmla="*/ 1077001 w 4009365"/>
                <a:gd name="connsiteY95" fmla="*/ 748020 h 871769"/>
                <a:gd name="connsiteX96" fmla="*/ 309485 w 4009365"/>
                <a:gd name="connsiteY96" fmla="*/ 705904 h 871769"/>
                <a:gd name="connsiteX97" fmla="*/ 287307 w 4009365"/>
                <a:gd name="connsiteY97" fmla="*/ 748020 h 871769"/>
                <a:gd name="connsiteX98" fmla="*/ 309208 w 4009365"/>
                <a:gd name="connsiteY98" fmla="*/ 748020 h 871769"/>
                <a:gd name="connsiteX99" fmla="*/ 540749 w 4009365"/>
                <a:gd name="connsiteY99" fmla="*/ 705407 h 871769"/>
                <a:gd name="connsiteX100" fmla="*/ 516635 w 4009365"/>
                <a:gd name="connsiteY100" fmla="*/ 748020 h 871769"/>
                <a:gd name="connsiteX101" fmla="*/ 540749 w 4009365"/>
                <a:gd name="connsiteY101" fmla="*/ 748020 h 871769"/>
                <a:gd name="connsiteX102" fmla="*/ 1138087 w 4009365"/>
                <a:gd name="connsiteY102" fmla="*/ 705379 h 871769"/>
                <a:gd name="connsiteX103" fmla="*/ 1138087 w 4009365"/>
                <a:gd name="connsiteY103" fmla="*/ 747993 h 871769"/>
                <a:gd name="connsiteX104" fmla="*/ 1162201 w 4009365"/>
                <a:gd name="connsiteY104" fmla="*/ 747993 h 871769"/>
                <a:gd name="connsiteX105" fmla="*/ 370267 w 4009365"/>
                <a:gd name="connsiteY105" fmla="*/ 705379 h 871769"/>
                <a:gd name="connsiteX106" fmla="*/ 370267 w 4009365"/>
                <a:gd name="connsiteY106" fmla="*/ 747993 h 871769"/>
                <a:gd name="connsiteX107" fmla="*/ 394353 w 4009365"/>
                <a:gd name="connsiteY107" fmla="*/ 747993 h 871769"/>
                <a:gd name="connsiteX108" fmla="*/ 630871 w 4009365"/>
                <a:gd name="connsiteY108" fmla="*/ 704854 h 871769"/>
                <a:gd name="connsiteX109" fmla="*/ 630871 w 4009365"/>
                <a:gd name="connsiteY109" fmla="*/ 748048 h 871769"/>
                <a:gd name="connsiteX110" fmla="*/ 654183 w 4009365"/>
                <a:gd name="connsiteY110" fmla="*/ 748048 h 871769"/>
                <a:gd name="connsiteX111" fmla="*/ 1047938 w 4009365"/>
                <a:gd name="connsiteY111" fmla="*/ 704826 h 871769"/>
                <a:gd name="connsiteX112" fmla="*/ 1024626 w 4009365"/>
                <a:gd name="connsiteY112" fmla="*/ 748020 h 871769"/>
                <a:gd name="connsiteX113" fmla="*/ 1047938 w 4009365"/>
                <a:gd name="connsiteY113" fmla="*/ 748020 h 871769"/>
                <a:gd name="connsiteX114" fmla="*/ 280117 w 4009365"/>
                <a:gd name="connsiteY114" fmla="*/ 704826 h 871769"/>
                <a:gd name="connsiteX115" fmla="*/ 256805 w 4009365"/>
                <a:gd name="connsiteY115" fmla="*/ 748020 h 871769"/>
                <a:gd name="connsiteX116" fmla="*/ 280117 w 4009365"/>
                <a:gd name="connsiteY116" fmla="*/ 748020 h 871769"/>
                <a:gd name="connsiteX117" fmla="*/ 599236 w 4009365"/>
                <a:gd name="connsiteY117" fmla="*/ 703554 h 871769"/>
                <a:gd name="connsiteX118" fmla="*/ 575813 w 4009365"/>
                <a:gd name="connsiteY118" fmla="*/ 748048 h 871769"/>
                <a:gd name="connsiteX119" fmla="*/ 599540 w 4009365"/>
                <a:gd name="connsiteY119" fmla="*/ 748048 h 871769"/>
                <a:gd name="connsiteX120" fmla="*/ 1079573 w 4009365"/>
                <a:gd name="connsiteY120" fmla="*/ 703526 h 871769"/>
                <a:gd name="connsiteX121" fmla="*/ 1079269 w 4009365"/>
                <a:gd name="connsiteY121" fmla="*/ 748020 h 871769"/>
                <a:gd name="connsiteX122" fmla="*/ 1102995 w 4009365"/>
                <a:gd name="connsiteY122" fmla="*/ 748020 h 871769"/>
                <a:gd name="connsiteX123" fmla="*/ 311780 w 4009365"/>
                <a:gd name="connsiteY123" fmla="*/ 703526 h 871769"/>
                <a:gd name="connsiteX124" fmla="*/ 311476 w 4009365"/>
                <a:gd name="connsiteY124" fmla="*/ 748020 h 871769"/>
                <a:gd name="connsiteX125" fmla="*/ 335202 w 4009365"/>
                <a:gd name="connsiteY125" fmla="*/ 748020 h 871769"/>
                <a:gd name="connsiteX126" fmla="*/ 511298 w 4009365"/>
                <a:gd name="connsiteY126" fmla="*/ 700318 h 871769"/>
                <a:gd name="connsiteX127" fmla="*/ 486964 w 4009365"/>
                <a:gd name="connsiteY127" fmla="*/ 700429 h 871769"/>
                <a:gd name="connsiteX128" fmla="*/ 510386 w 4009365"/>
                <a:gd name="connsiteY128" fmla="*/ 745200 h 871769"/>
                <a:gd name="connsiteX129" fmla="*/ 510386 w 4009365"/>
                <a:gd name="connsiteY129" fmla="*/ 745227 h 871769"/>
                <a:gd name="connsiteX130" fmla="*/ 399690 w 4009365"/>
                <a:gd name="connsiteY130" fmla="*/ 700291 h 871769"/>
                <a:gd name="connsiteX131" fmla="*/ 400630 w 4009365"/>
                <a:gd name="connsiteY131" fmla="*/ 745172 h 871769"/>
                <a:gd name="connsiteX132" fmla="*/ 424025 w 4009365"/>
                <a:gd name="connsiteY132" fmla="*/ 700401 h 871769"/>
                <a:gd name="connsiteX133" fmla="*/ 1167538 w 4009365"/>
                <a:gd name="connsiteY133" fmla="*/ 700263 h 871769"/>
                <a:gd name="connsiteX134" fmla="*/ 1167510 w 4009365"/>
                <a:gd name="connsiteY134" fmla="*/ 700291 h 871769"/>
                <a:gd name="connsiteX135" fmla="*/ 1167538 w 4009365"/>
                <a:gd name="connsiteY135" fmla="*/ 700291 h 871769"/>
                <a:gd name="connsiteX136" fmla="*/ 1168451 w 4009365"/>
                <a:gd name="connsiteY136" fmla="*/ 745172 h 871769"/>
                <a:gd name="connsiteX137" fmla="*/ 1191845 w 4009365"/>
                <a:gd name="connsiteY137" fmla="*/ 700401 h 871769"/>
                <a:gd name="connsiteX138" fmla="*/ 1167538 w 4009365"/>
                <a:gd name="connsiteY138" fmla="*/ 700291 h 871769"/>
                <a:gd name="connsiteX139" fmla="*/ 457789 w 4009365"/>
                <a:gd name="connsiteY139" fmla="*/ 700263 h 871769"/>
                <a:gd name="connsiteX140" fmla="*/ 457789 w 4009365"/>
                <a:gd name="connsiteY140" fmla="*/ 748020 h 871769"/>
                <a:gd name="connsiteX141" fmla="*/ 458149 w 4009365"/>
                <a:gd name="connsiteY141" fmla="*/ 748020 h 871769"/>
                <a:gd name="connsiteX142" fmla="*/ 481792 w 4009365"/>
                <a:gd name="connsiteY142" fmla="*/ 700401 h 871769"/>
                <a:gd name="connsiteX143" fmla="*/ 457789 w 4009365"/>
                <a:gd name="connsiteY143" fmla="*/ 700263 h 871769"/>
                <a:gd name="connsiteX144" fmla="*/ 453199 w 4009365"/>
                <a:gd name="connsiteY144" fmla="*/ 700263 h 871769"/>
                <a:gd name="connsiteX145" fmla="*/ 429196 w 4009365"/>
                <a:gd name="connsiteY145" fmla="*/ 700401 h 871769"/>
                <a:gd name="connsiteX146" fmla="*/ 452839 w 4009365"/>
                <a:gd name="connsiteY146" fmla="*/ 748020 h 871769"/>
                <a:gd name="connsiteX147" fmla="*/ 453199 w 4009365"/>
                <a:gd name="connsiteY147" fmla="*/ 748020 h 871769"/>
                <a:gd name="connsiteX148" fmla="*/ 1140272 w 4009365"/>
                <a:gd name="connsiteY148" fmla="*/ 699848 h 871769"/>
                <a:gd name="connsiteX149" fmla="*/ 1166183 w 4009365"/>
                <a:gd name="connsiteY149" fmla="*/ 745670 h 871769"/>
                <a:gd name="connsiteX150" fmla="*/ 1165243 w 4009365"/>
                <a:gd name="connsiteY150" fmla="*/ 700263 h 871769"/>
                <a:gd name="connsiteX151" fmla="*/ 1140272 w 4009365"/>
                <a:gd name="connsiteY151" fmla="*/ 699848 h 871769"/>
                <a:gd name="connsiteX152" fmla="*/ 538537 w 4009365"/>
                <a:gd name="connsiteY152" fmla="*/ 699848 h 871769"/>
                <a:gd name="connsiteX153" fmla="*/ 513566 w 4009365"/>
                <a:gd name="connsiteY153" fmla="*/ 700263 h 871769"/>
                <a:gd name="connsiteX154" fmla="*/ 512626 w 4009365"/>
                <a:gd name="connsiteY154" fmla="*/ 745670 h 871769"/>
                <a:gd name="connsiteX155" fmla="*/ 372424 w 4009365"/>
                <a:gd name="connsiteY155" fmla="*/ 699848 h 871769"/>
                <a:gd name="connsiteX156" fmla="*/ 398363 w 4009365"/>
                <a:gd name="connsiteY156" fmla="*/ 745670 h 871769"/>
                <a:gd name="connsiteX157" fmla="*/ 397422 w 4009365"/>
                <a:gd name="connsiteY157" fmla="*/ 700263 h 871769"/>
                <a:gd name="connsiteX158" fmla="*/ 372451 w 4009365"/>
                <a:gd name="connsiteY158" fmla="*/ 699848 h 871769"/>
                <a:gd name="connsiteX159" fmla="*/ 570504 w 4009365"/>
                <a:gd name="connsiteY159" fmla="*/ 698936 h 871769"/>
                <a:gd name="connsiteX160" fmla="*/ 544344 w 4009365"/>
                <a:gd name="connsiteY160" fmla="*/ 699738 h 871769"/>
                <a:gd name="connsiteX161" fmla="*/ 570172 w 4009365"/>
                <a:gd name="connsiteY161" fmla="*/ 746256 h 871769"/>
                <a:gd name="connsiteX162" fmla="*/ 570172 w 4009365"/>
                <a:gd name="connsiteY162" fmla="*/ 746306 h 871769"/>
                <a:gd name="connsiteX163" fmla="*/ 570200 w 4009365"/>
                <a:gd name="connsiteY163" fmla="*/ 746306 h 871769"/>
                <a:gd name="connsiteX164" fmla="*/ 570172 w 4009365"/>
                <a:gd name="connsiteY164" fmla="*/ 746256 h 871769"/>
                <a:gd name="connsiteX165" fmla="*/ 1108305 w 4009365"/>
                <a:gd name="connsiteY165" fmla="*/ 698908 h 871769"/>
                <a:gd name="connsiteX166" fmla="*/ 1108637 w 4009365"/>
                <a:gd name="connsiteY166" fmla="*/ 746278 h 871769"/>
                <a:gd name="connsiteX167" fmla="*/ 1134465 w 4009365"/>
                <a:gd name="connsiteY167" fmla="*/ 699710 h 871769"/>
                <a:gd name="connsiteX168" fmla="*/ 1108305 w 4009365"/>
                <a:gd name="connsiteY168" fmla="*/ 698908 h 871769"/>
                <a:gd name="connsiteX169" fmla="*/ 340484 w 4009365"/>
                <a:gd name="connsiteY169" fmla="*/ 698908 h 871769"/>
                <a:gd name="connsiteX170" fmla="*/ 340816 w 4009365"/>
                <a:gd name="connsiteY170" fmla="*/ 746278 h 871769"/>
                <a:gd name="connsiteX171" fmla="*/ 366644 w 4009365"/>
                <a:gd name="connsiteY171" fmla="*/ 699710 h 871769"/>
                <a:gd name="connsiteX172" fmla="*/ 340484 w 4009365"/>
                <a:gd name="connsiteY172" fmla="*/ 698908 h 871769"/>
                <a:gd name="connsiteX173" fmla="*/ 989783 w 4009365"/>
                <a:gd name="connsiteY173" fmla="*/ 698272 h 871769"/>
                <a:gd name="connsiteX174" fmla="*/ 964508 w 4009365"/>
                <a:gd name="connsiteY174" fmla="*/ 748048 h 871769"/>
                <a:gd name="connsiteX175" fmla="*/ 989202 w 4009365"/>
                <a:gd name="connsiteY175" fmla="*/ 748048 h 871769"/>
                <a:gd name="connsiteX176" fmla="*/ 689054 w 4009365"/>
                <a:gd name="connsiteY176" fmla="*/ 698272 h 871769"/>
                <a:gd name="connsiteX177" fmla="*/ 689634 w 4009365"/>
                <a:gd name="connsiteY177" fmla="*/ 748048 h 871769"/>
                <a:gd name="connsiteX178" fmla="*/ 714329 w 4009365"/>
                <a:gd name="connsiteY178" fmla="*/ 748048 h 871769"/>
                <a:gd name="connsiteX179" fmla="*/ 221962 w 4009365"/>
                <a:gd name="connsiteY179" fmla="*/ 698272 h 871769"/>
                <a:gd name="connsiteX180" fmla="*/ 196687 w 4009365"/>
                <a:gd name="connsiteY180" fmla="*/ 748048 h 871769"/>
                <a:gd name="connsiteX181" fmla="*/ 221354 w 4009365"/>
                <a:gd name="connsiteY181" fmla="*/ 748048 h 871769"/>
                <a:gd name="connsiteX182" fmla="*/ 597079 w 4009365"/>
                <a:gd name="connsiteY182" fmla="*/ 697747 h 871769"/>
                <a:gd name="connsiteX183" fmla="*/ 572799 w 4009365"/>
                <a:gd name="connsiteY183" fmla="*/ 698853 h 871769"/>
                <a:gd name="connsiteX184" fmla="*/ 572495 w 4009365"/>
                <a:gd name="connsiteY184" fmla="*/ 744453 h 871769"/>
                <a:gd name="connsiteX185" fmla="*/ 1081757 w 4009365"/>
                <a:gd name="connsiteY185" fmla="*/ 697719 h 871769"/>
                <a:gd name="connsiteX186" fmla="*/ 1106341 w 4009365"/>
                <a:gd name="connsiteY186" fmla="*/ 744425 h 871769"/>
                <a:gd name="connsiteX187" fmla="*/ 1106037 w 4009365"/>
                <a:gd name="connsiteY187" fmla="*/ 698825 h 871769"/>
                <a:gd name="connsiteX188" fmla="*/ 1081757 w 4009365"/>
                <a:gd name="connsiteY188" fmla="*/ 697719 h 871769"/>
                <a:gd name="connsiteX189" fmla="*/ 313937 w 4009365"/>
                <a:gd name="connsiteY189" fmla="*/ 697719 h 871769"/>
                <a:gd name="connsiteX190" fmla="*/ 338549 w 4009365"/>
                <a:gd name="connsiteY190" fmla="*/ 744425 h 871769"/>
                <a:gd name="connsiteX191" fmla="*/ 338217 w 4009365"/>
                <a:gd name="connsiteY191" fmla="*/ 698825 h 871769"/>
                <a:gd name="connsiteX192" fmla="*/ 313937 w 4009365"/>
                <a:gd name="connsiteY192" fmla="*/ 697719 h 871769"/>
                <a:gd name="connsiteX193" fmla="*/ 992050 w 4009365"/>
                <a:gd name="connsiteY193" fmla="*/ 697276 h 871769"/>
                <a:gd name="connsiteX194" fmla="*/ 991442 w 4009365"/>
                <a:gd name="connsiteY194" fmla="*/ 748048 h 871769"/>
                <a:gd name="connsiteX195" fmla="*/ 1015168 w 4009365"/>
                <a:gd name="connsiteY195" fmla="*/ 748048 h 871769"/>
                <a:gd name="connsiteX196" fmla="*/ 686758 w 4009365"/>
                <a:gd name="connsiteY196" fmla="*/ 697276 h 871769"/>
                <a:gd name="connsiteX197" fmla="*/ 663668 w 4009365"/>
                <a:gd name="connsiteY197" fmla="*/ 748048 h 871769"/>
                <a:gd name="connsiteX198" fmla="*/ 687367 w 4009365"/>
                <a:gd name="connsiteY198" fmla="*/ 748048 h 871769"/>
                <a:gd name="connsiteX199" fmla="*/ 224258 w 4009365"/>
                <a:gd name="connsiteY199" fmla="*/ 697276 h 871769"/>
                <a:gd name="connsiteX200" fmla="*/ 223649 w 4009365"/>
                <a:gd name="connsiteY200" fmla="*/ 748048 h 871769"/>
                <a:gd name="connsiteX201" fmla="*/ 223677 w 4009365"/>
                <a:gd name="connsiteY201" fmla="*/ 748048 h 871769"/>
                <a:gd name="connsiteX202" fmla="*/ 247376 w 4009365"/>
                <a:gd name="connsiteY202" fmla="*/ 748048 h 871769"/>
                <a:gd name="connsiteX203" fmla="*/ 626364 w 4009365"/>
                <a:gd name="connsiteY203" fmla="*/ 695949 h 871769"/>
                <a:gd name="connsiteX204" fmla="*/ 602305 w 4009365"/>
                <a:gd name="connsiteY204" fmla="*/ 697470 h 871769"/>
                <a:gd name="connsiteX205" fmla="*/ 626364 w 4009365"/>
                <a:gd name="connsiteY205" fmla="*/ 743126 h 871769"/>
                <a:gd name="connsiteX206" fmla="*/ 1052473 w 4009365"/>
                <a:gd name="connsiteY206" fmla="*/ 695922 h 871769"/>
                <a:gd name="connsiteX207" fmla="*/ 1052473 w 4009365"/>
                <a:gd name="connsiteY207" fmla="*/ 743098 h 871769"/>
                <a:gd name="connsiteX208" fmla="*/ 1076531 w 4009365"/>
                <a:gd name="connsiteY208" fmla="*/ 697442 h 871769"/>
                <a:gd name="connsiteX209" fmla="*/ 1052473 w 4009365"/>
                <a:gd name="connsiteY209" fmla="*/ 695922 h 871769"/>
                <a:gd name="connsiteX210" fmla="*/ 284652 w 4009365"/>
                <a:gd name="connsiteY210" fmla="*/ 695922 h 871769"/>
                <a:gd name="connsiteX211" fmla="*/ 284652 w 4009365"/>
                <a:gd name="connsiteY211" fmla="*/ 743098 h 871769"/>
                <a:gd name="connsiteX212" fmla="*/ 308711 w 4009365"/>
                <a:gd name="connsiteY212" fmla="*/ 697442 h 871769"/>
                <a:gd name="connsiteX213" fmla="*/ 284652 w 4009365"/>
                <a:gd name="connsiteY213" fmla="*/ 695922 h 871769"/>
                <a:gd name="connsiteX214" fmla="*/ 658801 w 4009365"/>
                <a:gd name="connsiteY214" fmla="*/ 693239 h 871769"/>
                <a:gd name="connsiteX215" fmla="*/ 631120 w 4009365"/>
                <a:gd name="connsiteY215" fmla="*/ 695590 h 871769"/>
                <a:gd name="connsiteX216" fmla="*/ 658441 w 4009365"/>
                <a:gd name="connsiteY216" fmla="*/ 746195 h 871769"/>
                <a:gd name="connsiteX217" fmla="*/ 1020008 w 4009365"/>
                <a:gd name="connsiteY217" fmla="*/ 693211 h 871769"/>
                <a:gd name="connsiteX218" fmla="*/ 1020367 w 4009365"/>
                <a:gd name="connsiteY218" fmla="*/ 746167 h 871769"/>
                <a:gd name="connsiteX219" fmla="*/ 1047689 w 4009365"/>
                <a:gd name="connsiteY219" fmla="*/ 695562 h 871769"/>
                <a:gd name="connsiteX220" fmla="*/ 1020008 w 4009365"/>
                <a:gd name="connsiteY220" fmla="*/ 693211 h 871769"/>
                <a:gd name="connsiteX221" fmla="*/ 252187 w 4009365"/>
                <a:gd name="connsiteY221" fmla="*/ 693211 h 871769"/>
                <a:gd name="connsiteX222" fmla="*/ 252215 w 4009365"/>
                <a:gd name="connsiteY222" fmla="*/ 693214 h 871769"/>
                <a:gd name="connsiteX223" fmla="*/ 252574 w 4009365"/>
                <a:gd name="connsiteY223" fmla="*/ 746167 h 871769"/>
                <a:gd name="connsiteX224" fmla="*/ 279868 w 4009365"/>
                <a:gd name="connsiteY224" fmla="*/ 695562 h 871769"/>
                <a:gd name="connsiteX225" fmla="*/ 252215 w 4009365"/>
                <a:gd name="connsiteY225" fmla="*/ 693214 h 871769"/>
                <a:gd name="connsiteX226" fmla="*/ 252215 w 4009365"/>
                <a:gd name="connsiteY226" fmla="*/ 693211 h 871769"/>
                <a:gd name="connsiteX227" fmla="*/ 684795 w 4009365"/>
                <a:gd name="connsiteY227" fmla="*/ 690446 h 871769"/>
                <a:gd name="connsiteX228" fmla="*/ 659935 w 4009365"/>
                <a:gd name="connsiteY228" fmla="*/ 693128 h 871769"/>
                <a:gd name="connsiteX229" fmla="*/ 659907 w 4009365"/>
                <a:gd name="connsiteY229" fmla="*/ 693156 h 871769"/>
                <a:gd name="connsiteX230" fmla="*/ 661041 w 4009365"/>
                <a:gd name="connsiteY230" fmla="*/ 693156 h 871769"/>
                <a:gd name="connsiteX231" fmla="*/ 660709 w 4009365"/>
                <a:gd name="connsiteY231" fmla="*/ 743402 h 871769"/>
                <a:gd name="connsiteX232" fmla="*/ 993986 w 4009365"/>
                <a:gd name="connsiteY232" fmla="*/ 690418 h 871769"/>
                <a:gd name="connsiteX233" fmla="*/ 1018044 w 4009365"/>
                <a:gd name="connsiteY233" fmla="*/ 743313 h 871769"/>
                <a:gd name="connsiteX234" fmla="*/ 1018044 w 4009365"/>
                <a:gd name="connsiteY234" fmla="*/ 743347 h 871769"/>
                <a:gd name="connsiteX235" fmla="*/ 1018072 w 4009365"/>
                <a:gd name="connsiteY235" fmla="*/ 743375 h 871769"/>
                <a:gd name="connsiteX236" fmla="*/ 1018044 w 4009365"/>
                <a:gd name="connsiteY236" fmla="*/ 743313 h 871769"/>
                <a:gd name="connsiteX237" fmla="*/ 1017992 w 4009365"/>
                <a:gd name="connsiteY237" fmla="*/ 735496 h 871769"/>
                <a:gd name="connsiteX238" fmla="*/ 1017713 w 4009365"/>
                <a:gd name="connsiteY238" fmla="*/ 693101 h 871769"/>
                <a:gd name="connsiteX239" fmla="*/ 1018846 w 4009365"/>
                <a:gd name="connsiteY239" fmla="*/ 693101 h 871769"/>
                <a:gd name="connsiteX240" fmla="*/ 993986 w 4009365"/>
                <a:gd name="connsiteY240" fmla="*/ 690418 h 871769"/>
                <a:gd name="connsiteX241" fmla="*/ 226193 w 4009365"/>
                <a:gd name="connsiteY241" fmla="*/ 690418 h 871769"/>
                <a:gd name="connsiteX242" fmla="*/ 250279 w 4009365"/>
                <a:gd name="connsiteY242" fmla="*/ 743375 h 871769"/>
                <a:gd name="connsiteX243" fmla="*/ 250279 w 4009365"/>
                <a:gd name="connsiteY243" fmla="*/ 743347 h 871769"/>
                <a:gd name="connsiteX244" fmla="*/ 249947 w 4009365"/>
                <a:gd name="connsiteY244" fmla="*/ 693101 h 871769"/>
                <a:gd name="connsiteX245" fmla="*/ 251081 w 4009365"/>
                <a:gd name="connsiteY245" fmla="*/ 693101 h 871769"/>
                <a:gd name="connsiteX246" fmla="*/ 226193 w 4009365"/>
                <a:gd name="connsiteY246" fmla="*/ 690418 h 871769"/>
                <a:gd name="connsiteX247" fmla="*/ 960747 w 4009365"/>
                <a:gd name="connsiteY247" fmla="*/ 685856 h 871769"/>
                <a:gd name="connsiteX248" fmla="*/ 960830 w 4009365"/>
                <a:gd name="connsiteY248" fmla="*/ 745089 h 871769"/>
                <a:gd name="connsiteX249" fmla="*/ 988898 w 4009365"/>
                <a:gd name="connsiteY249" fmla="*/ 689810 h 871769"/>
                <a:gd name="connsiteX250" fmla="*/ 960747 w 4009365"/>
                <a:gd name="connsiteY250" fmla="*/ 685856 h 871769"/>
                <a:gd name="connsiteX251" fmla="*/ 718089 w 4009365"/>
                <a:gd name="connsiteY251" fmla="*/ 685856 h 871769"/>
                <a:gd name="connsiteX252" fmla="*/ 689938 w 4009365"/>
                <a:gd name="connsiteY252" fmla="*/ 689810 h 871769"/>
                <a:gd name="connsiteX253" fmla="*/ 718007 w 4009365"/>
                <a:gd name="connsiteY253" fmla="*/ 745089 h 871769"/>
                <a:gd name="connsiteX254" fmla="*/ 192926 w 4009365"/>
                <a:gd name="connsiteY254" fmla="*/ 685856 h 871769"/>
                <a:gd name="connsiteX255" fmla="*/ 193009 w 4009365"/>
                <a:gd name="connsiteY255" fmla="*/ 745089 h 871769"/>
                <a:gd name="connsiteX256" fmla="*/ 221077 w 4009365"/>
                <a:gd name="connsiteY256" fmla="*/ 689810 h 871769"/>
                <a:gd name="connsiteX257" fmla="*/ 192926 w 4009365"/>
                <a:gd name="connsiteY257" fmla="*/ 685856 h 871769"/>
                <a:gd name="connsiteX258" fmla="*/ 752711 w 4009365"/>
                <a:gd name="connsiteY258" fmla="*/ 679551 h 871769"/>
                <a:gd name="connsiteX259" fmla="*/ 719223 w 4009365"/>
                <a:gd name="connsiteY259" fmla="*/ 685690 h 871769"/>
                <a:gd name="connsiteX260" fmla="*/ 720357 w 4009365"/>
                <a:gd name="connsiteY260" fmla="*/ 685690 h 871769"/>
                <a:gd name="connsiteX261" fmla="*/ 720274 w 4009365"/>
                <a:gd name="connsiteY261" fmla="*/ 746942 h 871769"/>
                <a:gd name="connsiteX262" fmla="*/ 752960 w 4009365"/>
                <a:gd name="connsiteY262" fmla="*/ 702918 h 871769"/>
                <a:gd name="connsiteX263" fmla="*/ 926097 w 4009365"/>
                <a:gd name="connsiteY263" fmla="*/ 679523 h 871769"/>
                <a:gd name="connsiteX264" fmla="*/ 925876 w 4009365"/>
                <a:gd name="connsiteY264" fmla="*/ 702890 h 871769"/>
                <a:gd name="connsiteX265" fmla="*/ 958535 w 4009365"/>
                <a:gd name="connsiteY265" fmla="*/ 746878 h 871769"/>
                <a:gd name="connsiteX266" fmla="*/ 958535 w 4009365"/>
                <a:gd name="connsiteY266" fmla="*/ 746914 h 871769"/>
                <a:gd name="connsiteX267" fmla="*/ 958562 w 4009365"/>
                <a:gd name="connsiteY267" fmla="*/ 746914 h 871769"/>
                <a:gd name="connsiteX268" fmla="*/ 958535 w 4009365"/>
                <a:gd name="connsiteY268" fmla="*/ 746878 h 871769"/>
                <a:gd name="connsiteX269" fmla="*/ 958452 w 4009365"/>
                <a:gd name="connsiteY269" fmla="*/ 685662 h 871769"/>
                <a:gd name="connsiteX270" fmla="*/ 959585 w 4009365"/>
                <a:gd name="connsiteY270" fmla="*/ 685662 h 871769"/>
                <a:gd name="connsiteX271" fmla="*/ 926097 w 4009365"/>
                <a:gd name="connsiteY271" fmla="*/ 679523 h 871769"/>
                <a:gd name="connsiteX272" fmla="*/ 158305 w 4009365"/>
                <a:gd name="connsiteY272" fmla="*/ 679523 h 871769"/>
                <a:gd name="connsiteX273" fmla="*/ 158056 w 4009365"/>
                <a:gd name="connsiteY273" fmla="*/ 702890 h 871769"/>
                <a:gd name="connsiteX274" fmla="*/ 190714 w 4009365"/>
                <a:gd name="connsiteY274" fmla="*/ 746876 h 871769"/>
                <a:gd name="connsiteX275" fmla="*/ 190714 w 4009365"/>
                <a:gd name="connsiteY275" fmla="*/ 746914 h 871769"/>
                <a:gd name="connsiteX276" fmla="*/ 190742 w 4009365"/>
                <a:gd name="connsiteY276" fmla="*/ 746914 h 871769"/>
                <a:gd name="connsiteX277" fmla="*/ 190714 w 4009365"/>
                <a:gd name="connsiteY277" fmla="*/ 746876 h 871769"/>
                <a:gd name="connsiteX278" fmla="*/ 190631 w 4009365"/>
                <a:gd name="connsiteY278" fmla="*/ 685662 h 871769"/>
                <a:gd name="connsiteX279" fmla="*/ 191793 w 4009365"/>
                <a:gd name="connsiteY279" fmla="*/ 685662 h 871769"/>
                <a:gd name="connsiteX280" fmla="*/ 158305 w 4009365"/>
                <a:gd name="connsiteY280" fmla="*/ 679523 h 871769"/>
                <a:gd name="connsiteX281" fmla="*/ 900159 w 4009365"/>
                <a:gd name="connsiteY281" fmla="*/ 679191 h 871769"/>
                <a:gd name="connsiteX282" fmla="*/ 871040 w 4009365"/>
                <a:gd name="connsiteY282" fmla="*/ 718625 h 871769"/>
                <a:gd name="connsiteX283" fmla="*/ 871952 w 4009365"/>
                <a:gd name="connsiteY283" fmla="*/ 717906 h 871769"/>
                <a:gd name="connsiteX284" fmla="*/ 891254 w 4009365"/>
                <a:gd name="connsiteY284" fmla="*/ 748048 h 871769"/>
                <a:gd name="connsiteX285" fmla="*/ 899052 w 4009365"/>
                <a:gd name="connsiteY285" fmla="*/ 748048 h 871769"/>
                <a:gd name="connsiteX286" fmla="*/ 899080 w 4009365"/>
                <a:gd name="connsiteY286" fmla="*/ 748048 h 871769"/>
                <a:gd name="connsiteX287" fmla="*/ 778733 w 4009365"/>
                <a:gd name="connsiteY287" fmla="*/ 679191 h 871769"/>
                <a:gd name="connsiteX288" fmla="*/ 779784 w 4009365"/>
                <a:gd name="connsiteY288" fmla="*/ 748048 h 871769"/>
                <a:gd name="connsiteX289" fmla="*/ 779812 w 4009365"/>
                <a:gd name="connsiteY289" fmla="*/ 748048 h 871769"/>
                <a:gd name="connsiteX290" fmla="*/ 787610 w 4009365"/>
                <a:gd name="connsiteY290" fmla="*/ 748048 h 871769"/>
                <a:gd name="connsiteX291" fmla="*/ 806939 w 4009365"/>
                <a:gd name="connsiteY291" fmla="*/ 717906 h 871769"/>
                <a:gd name="connsiteX292" fmla="*/ 807852 w 4009365"/>
                <a:gd name="connsiteY292" fmla="*/ 718625 h 871769"/>
                <a:gd name="connsiteX293" fmla="*/ 132338 w 4009365"/>
                <a:gd name="connsiteY293" fmla="*/ 679191 h 871769"/>
                <a:gd name="connsiteX294" fmla="*/ 103247 w 4009365"/>
                <a:gd name="connsiteY294" fmla="*/ 718625 h 871769"/>
                <a:gd name="connsiteX295" fmla="*/ 104159 w 4009365"/>
                <a:gd name="connsiteY295" fmla="*/ 717906 h 871769"/>
                <a:gd name="connsiteX296" fmla="*/ 123461 w 4009365"/>
                <a:gd name="connsiteY296" fmla="*/ 748048 h 871769"/>
                <a:gd name="connsiteX297" fmla="*/ 131260 w 4009365"/>
                <a:gd name="connsiteY297" fmla="*/ 748048 h 871769"/>
                <a:gd name="connsiteX298" fmla="*/ 131287 w 4009365"/>
                <a:gd name="connsiteY298" fmla="*/ 748048 h 871769"/>
                <a:gd name="connsiteX299" fmla="*/ 10913 w 4009365"/>
                <a:gd name="connsiteY299" fmla="*/ 679191 h 871769"/>
                <a:gd name="connsiteX300" fmla="*/ 11991 w 4009365"/>
                <a:gd name="connsiteY300" fmla="*/ 748048 h 871769"/>
                <a:gd name="connsiteX301" fmla="*/ 12019 w 4009365"/>
                <a:gd name="connsiteY301" fmla="*/ 748048 h 871769"/>
                <a:gd name="connsiteX302" fmla="*/ 19817 w 4009365"/>
                <a:gd name="connsiteY302" fmla="*/ 748048 h 871769"/>
                <a:gd name="connsiteX303" fmla="*/ 39119 w 4009365"/>
                <a:gd name="connsiteY303" fmla="*/ 717906 h 871769"/>
                <a:gd name="connsiteX304" fmla="*/ 40032 w 4009365"/>
                <a:gd name="connsiteY304" fmla="*/ 718625 h 871769"/>
                <a:gd name="connsiteX305" fmla="*/ 776493 w 4009365"/>
                <a:gd name="connsiteY305" fmla="*/ 679136 h 871769"/>
                <a:gd name="connsiteX306" fmla="*/ 755283 w 4009365"/>
                <a:gd name="connsiteY306" fmla="*/ 707674 h 871769"/>
                <a:gd name="connsiteX307" fmla="*/ 755670 w 4009365"/>
                <a:gd name="connsiteY307" fmla="*/ 748048 h 871769"/>
                <a:gd name="connsiteX308" fmla="*/ 755670 w 4009365"/>
                <a:gd name="connsiteY308" fmla="*/ 748076 h 871769"/>
                <a:gd name="connsiteX309" fmla="*/ 777544 w 4009365"/>
                <a:gd name="connsiteY309" fmla="*/ 748076 h 871769"/>
                <a:gd name="connsiteX310" fmla="*/ 902371 w 4009365"/>
                <a:gd name="connsiteY310" fmla="*/ 679108 h 871769"/>
                <a:gd name="connsiteX311" fmla="*/ 901320 w 4009365"/>
                <a:gd name="connsiteY311" fmla="*/ 748048 h 871769"/>
                <a:gd name="connsiteX312" fmla="*/ 923166 w 4009365"/>
                <a:gd name="connsiteY312" fmla="*/ 748048 h 871769"/>
                <a:gd name="connsiteX313" fmla="*/ 923166 w 4009365"/>
                <a:gd name="connsiteY313" fmla="*/ 748020 h 871769"/>
                <a:gd name="connsiteX314" fmla="*/ 923553 w 4009365"/>
                <a:gd name="connsiteY314" fmla="*/ 707646 h 871769"/>
                <a:gd name="connsiteX315" fmla="*/ 134578 w 4009365"/>
                <a:gd name="connsiteY315" fmla="*/ 679108 h 871769"/>
                <a:gd name="connsiteX316" fmla="*/ 133527 w 4009365"/>
                <a:gd name="connsiteY316" fmla="*/ 748048 h 871769"/>
                <a:gd name="connsiteX317" fmla="*/ 155373 w 4009365"/>
                <a:gd name="connsiteY317" fmla="*/ 748048 h 871769"/>
                <a:gd name="connsiteX318" fmla="*/ 155373 w 4009365"/>
                <a:gd name="connsiteY318" fmla="*/ 748020 h 871769"/>
                <a:gd name="connsiteX319" fmla="*/ 155788 w 4009365"/>
                <a:gd name="connsiteY319" fmla="*/ 707646 h 871769"/>
                <a:gd name="connsiteX320" fmla="*/ 904860 w 4009365"/>
                <a:gd name="connsiteY320" fmla="*/ 674628 h 871769"/>
                <a:gd name="connsiteX321" fmla="*/ 923636 w 4009365"/>
                <a:gd name="connsiteY321" fmla="*/ 699904 h 871769"/>
                <a:gd name="connsiteX322" fmla="*/ 923636 w 4009365"/>
                <a:gd name="connsiteY322" fmla="*/ 699931 h 871769"/>
                <a:gd name="connsiteX323" fmla="*/ 923830 w 4009365"/>
                <a:gd name="connsiteY323" fmla="*/ 679081 h 871769"/>
                <a:gd name="connsiteX324" fmla="*/ 904860 w 4009365"/>
                <a:gd name="connsiteY324" fmla="*/ 674628 h 871769"/>
                <a:gd name="connsiteX325" fmla="*/ 137067 w 4009365"/>
                <a:gd name="connsiteY325" fmla="*/ 674628 h 871769"/>
                <a:gd name="connsiteX326" fmla="*/ 155843 w 4009365"/>
                <a:gd name="connsiteY326" fmla="*/ 699904 h 871769"/>
                <a:gd name="connsiteX327" fmla="*/ 155843 w 4009365"/>
                <a:gd name="connsiteY327" fmla="*/ 699931 h 871769"/>
                <a:gd name="connsiteX328" fmla="*/ 156037 w 4009365"/>
                <a:gd name="connsiteY328" fmla="*/ 679081 h 871769"/>
                <a:gd name="connsiteX329" fmla="*/ 137067 w 4009365"/>
                <a:gd name="connsiteY329" fmla="*/ 674628 h 871769"/>
                <a:gd name="connsiteX330" fmla="*/ 773949 w 4009365"/>
                <a:gd name="connsiteY330" fmla="*/ 674601 h 871769"/>
                <a:gd name="connsiteX331" fmla="*/ 754979 w 4009365"/>
                <a:gd name="connsiteY331" fmla="*/ 679053 h 871769"/>
                <a:gd name="connsiteX332" fmla="*/ 755173 w 4009365"/>
                <a:gd name="connsiteY332" fmla="*/ 699876 h 871769"/>
                <a:gd name="connsiteX333" fmla="*/ 870293 w 4009365"/>
                <a:gd name="connsiteY333" fmla="*/ 663927 h 871769"/>
                <a:gd name="connsiteX334" fmla="*/ 869325 w 4009365"/>
                <a:gd name="connsiteY334" fmla="*/ 713066 h 871769"/>
                <a:gd name="connsiteX335" fmla="*/ 898859 w 4009365"/>
                <a:gd name="connsiteY335" fmla="*/ 673052 h 871769"/>
                <a:gd name="connsiteX336" fmla="*/ 870293 w 4009365"/>
                <a:gd name="connsiteY336" fmla="*/ 663927 h 871769"/>
                <a:gd name="connsiteX337" fmla="*/ 102473 w 4009365"/>
                <a:gd name="connsiteY337" fmla="*/ 663927 h 871769"/>
                <a:gd name="connsiteX338" fmla="*/ 101505 w 4009365"/>
                <a:gd name="connsiteY338" fmla="*/ 713066 h 871769"/>
                <a:gd name="connsiteX339" fmla="*/ 131038 w 4009365"/>
                <a:gd name="connsiteY339" fmla="*/ 673052 h 871769"/>
                <a:gd name="connsiteX340" fmla="*/ 102473 w 4009365"/>
                <a:gd name="connsiteY340" fmla="*/ 663927 h 871769"/>
                <a:gd name="connsiteX341" fmla="*/ 808543 w 4009365"/>
                <a:gd name="connsiteY341" fmla="*/ 663899 h 871769"/>
                <a:gd name="connsiteX342" fmla="*/ 779978 w 4009365"/>
                <a:gd name="connsiteY342" fmla="*/ 673025 h 871769"/>
                <a:gd name="connsiteX343" fmla="*/ 809511 w 4009365"/>
                <a:gd name="connsiteY343" fmla="*/ 713039 h 871769"/>
                <a:gd name="connsiteX344" fmla="*/ 40723 w 4009365"/>
                <a:gd name="connsiteY344" fmla="*/ 663899 h 871769"/>
                <a:gd name="connsiteX345" fmla="*/ 12157 w 4009365"/>
                <a:gd name="connsiteY345" fmla="*/ 673025 h 871769"/>
                <a:gd name="connsiteX346" fmla="*/ 41691 w 4009365"/>
                <a:gd name="connsiteY346" fmla="*/ 713039 h 871769"/>
                <a:gd name="connsiteX347" fmla="*/ 843193 w 4009365"/>
                <a:gd name="connsiteY347" fmla="*/ 650957 h 871769"/>
                <a:gd name="connsiteX348" fmla="*/ 843193 w 4009365"/>
                <a:gd name="connsiteY348" fmla="*/ 704881 h 871769"/>
                <a:gd name="connsiteX349" fmla="*/ 867002 w 4009365"/>
                <a:gd name="connsiteY349" fmla="*/ 715500 h 871769"/>
                <a:gd name="connsiteX350" fmla="*/ 868025 w 4009365"/>
                <a:gd name="connsiteY350" fmla="*/ 663042 h 871769"/>
                <a:gd name="connsiteX351" fmla="*/ 843193 w 4009365"/>
                <a:gd name="connsiteY351" fmla="*/ 650957 h 871769"/>
                <a:gd name="connsiteX352" fmla="*/ 835643 w 4009365"/>
                <a:gd name="connsiteY352" fmla="*/ 650957 h 871769"/>
                <a:gd name="connsiteX353" fmla="*/ 810811 w 4009365"/>
                <a:gd name="connsiteY353" fmla="*/ 663042 h 871769"/>
                <a:gd name="connsiteX354" fmla="*/ 811834 w 4009365"/>
                <a:gd name="connsiteY354" fmla="*/ 715500 h 871769"/>
                <a:gd name="connsiteX355" fmla="*/ 835643 w 4009365"/>
                <a:gd name="connsiteY355" fmla="*/ 704881 h 871769"/>
                <a:gd name="connsiteX356" fmla="*/ 75400 w 4009365"/>
                <a:gd name="connsiteY356" fmla="*/ 650957 h 871769"/>
                <a:gd name="connsiteX357" fmla="*/ 75400 w 4009365"/>
                <a:gd name="connsiteY357" fmla="*/ 704881 h 871769"/>
                <a:gd name="connsiteX358" fmla="*/ 99210 w 4009365"/>
                <a:gd name="connsiteY358" fmla="*/ 715500 h 871769"/>
                <a:gd name="connsiteX359" fmla="*/ 100233 w 4009365"/>
                <a:gd name="connsiteY359" fmla="*/ 663042 h 871769"/>
                <a:gd name="connsiteX360" fmla="*/ 75400 w 4009365"/>
                <a:gd name="connsiteY360" fmla="*/ 650957 h 871769"/>
                <a:gd name="connsiteX361" fmla="*/ 67878 w 4009365"/>
                <a:gd name="connsiteY361" fmla="*/ 650957 h 871769"/>
                <a:gd name="connsiteX362" fmla="*/ 43018 w 4009365"/>
                <a:gd name="connsiteY362" fmla="*/ 663042 h 871769"/>
                <a:gd name="connsiteX363" fmla="*/ 44041 w 4009365"/>
                <a:gd name="connsiteY363" fmla="*/ 715500 h 871769"/>
                <a:gd name="connsiteX364" fmla="*/ 67851 w 4009365"/>
                <a:gd name="connsiteY364" fmla="*/ 704881 h 871769"/>
                <a:gd name="connsiteX365" fmla="*/ 67878 w 4009365"/>
                <a:gd name="connsiteY365" fmla="*/ 704881 h 871769"/>
                <a:gd name="connsiteX366" fmla="*/ 2635484 w 4009365"/>
                <a:gd name="connsiteY366" fmla="*/ 605412 h 871769"/>
                <a:gd name="connsiteX367" fmla="*/ 2633161 w 4009365"/>
                <a:gd name="connsiteY367" fmla="*/ 613625 h 871769"/>
                <a:gd name="connsiteX368" fmla="*/ 2637779 w 4009365"/>
                <a:gd name="connsiteY368" fmla="*/ 613625 h 871769"/>
                <a:gd name="connsiteX369" fmla="*/ 2668087 w 4009365"/>
                <a:gd name="connsiteY369" fmla="*/ 604472 h 871769"/>
                <a:gd name="connsiteX370" fmla="*/ 2665073 w 4009365"/>
                <a:gd name="connsiteY370" fmla="*/ 613625 h 871769"/>
                <a:gd name="connsiteX371" fmla="*/ 2671129 w 4009365"/>
                <a:gd name="connsiteY371" fmla="*/ 613625 h 871769"/>
                <a:gd name="connsiteX372" fmla="*/ 2603544 w 4009365"/>
                <a:gd name="connsiteY372" fmla="*/ 603919 h 871769"/>
                <a:gd name="connsiteX373" fmla="*/ 2599977 w 4009365"/>
                <a:gd name="connsiteY373" fmla="*/ 613625 h 871769"/>
                <a:gd name="connsiteX374" fmla="*/ 2607111 w 4009365"/>
                <a:gd name="connsiteY374" fmla="*/ 613625 h 871769"/>
                <a:gd name="connsiteX375" fmla="*/ 2587450 w 4009365"/>
                <a:gd name="connsiteY375" fmla="*/ 602730 h 871769"/>
                <a:gd name="connsiteX376" fmla="*/ 2582113 w 4009365"/>
                <a:gd name="connsiteY376" fmla="*/ 613625 h 871769"/>
                <a:gd name="connsiteX377" fmla="*/ 2592787 w 4009365"/>
                <a:gd name="connsiteY377" fmla="*/ 613625 h 871769"/>
                <a:gd name="connsiteX378" fmla="*/ 2620413 w 4009365"/>
                <a:gd name="connsiteY378" fmla="*/ 602536 h 871769"/>
                <a:gd name="connsiteX379" fmla="*/ 2614633 w 4009365"/>
                <a:gd name="connsiteY379" fmla="*/ 613625 h 871769"/>
                <a:gd name="connsiteX380" fmla="*/ 2614661 w 4009365"/>
                <a:gd name="connsiteY380" fmla="*/ 613625 h 871769"/>
                <a:gd name="connsiteX381" fmla="*/ 2626192 w 4009365"/>
                <a:gd name="connsiteY381" fmla="*/ 613625 h 871769"/>
                <a:gd name="connsiteX382" fmla="*/ 2651412 w 4009365"/>
                <a:gd name="connsiteY382" fmla="*/ 602315 h 871769"/>
                <a:gd name="connsiteX383" fmla="*/ 2645107 w 4009365"/>
                <a:gd name="connsiteY383" fmla="*/ 613625 h 871769"/>
                <a:gd name="connsiteX384" fmla="*/ 2645135 w 4009365"/>
                <a:gd name="connsiteY384" fmla="*/ 613625 h 871769"/>
                <a:gd name="connsiteX385" fmla="*/ 2657717 w 4009365"/>
                <a:gd name="connsiteY385" fmla="*/ 613625 h 871769"/>
                <a:gd name="connsiteX386" fmla="*/ 2580039 w 4009365"/>
                <a:gd name="connsiteY386" fmla="*/ 587631 h 871769"/>
                <a:gd name="connsiteX387" fmla="*/ 2580039 w 4009365"/>
                <a:gd name="connsiteY387" fmla="*/ 609201 h 871769"/>
                <a:gd name="connsiteX388" fmla="*/ 2585320 w 4009365"/>
                <a:gd name="connsiteY388" fmla="*/ 598416 h 871769"/>
                <a:gd name="connsiteX389" fmla="*/ 2673756 w 4009365"/>
                <a:gd name="connsiteY389" fmla="*/ 587410 h 871769"/>
                <a:gd name="connsiteX390" fmla="*/ 2670105 w 4009365"/>
                <a:gd name="connsiteY390" fmla="*/ 598416 h 871769"/>
                <a:gd name="connsiteX391" fmla="*/ 2673756 w 4009365"/>
                <a:gd name="connsiteY391" fmla="*/ 609422 h 871769"/>
                <a:gd name="connsiteX392" fmla="*/ 2629649 w 4009365"/>
                <a:gd name="connsiteY392" fmla="*/ 584755 h 871769"/>
                <a:gd name="connsiteX393" fmla="*/ 2622542 w 4009365"/>
                <a:gd name="connsiteY393" fmla="*/ 598416 h 871769"/>
                <a:gd name="connsiteX394" fmla="*/ 2629649 w 4009365"/>
                <a:gd name="connsiteY394" fmla="*/ 612077 h 871769"/>
                <a:gd name="connsiteX395" fmla="*/ 2633493 w 4009365"/>
                <a:gd name="connsiteY395" fmla="*/ 598416 h 871769"/>
                <a:gd name="connsiteX396" fmla="*/ 2596409 w 4009365"/>
                <a:gd name="connsiteY396" fmla="*/ 584451 h 871769"/>
                <a:gd name="connsiteX397" fmla="*/ 2589552 w 4009365"/>
                <a:gd name="connsiteY397" fmla="*/ 598416 h 871769"/>
                <a:gd name="connsiteX398" fmla="*/ 2596409 w 4009365"/>
                <a:gd name="connsiteY398" fmla="*/ 612381 h 871769"/>
                <a:gd name="connsiteX399" fmla="*/ 2601553 w 4009365"/>
                <a:gd name="connsiteY399" fmla="*/ 598416 h 871769"/>
                <a:gd name="connsiteX400" fmla="*/ 2641401 w 4009365"/>
                <a:gd name="connsiteY400" fmla="*/ 584396 h 871769"/>
                <a:gd name="connsiteX401" fmla="*/ 2637447 w 4009365"/>
                <a:gd name="connsiteY401" fmla="*/ 598416 h 871769"/>
                <a:gd name="connsiteX402" fmla="*/ 2641401 w 4009365"/>
                <a:gd name="connsiteY402" fmla="*/ 612436 h 871769"/>
                <a:gd name="connsiteX403" fmla="*/ 2649227 w 4009365"/>
                <a:gd name="connsiteY403" fmla="*/ 598416 h 871769"/>
                <a:gd name="connsiteX404" fmla="*/ 2661422 w 4009365"/>
                <a:gd name="connsiteY404" fmla="*/ 584313 h 871769"/>
                <a:gd name="connsiteX405" fmla="*/ 2653569 w 4009365"/>
                <a:gd name="connsiteY405" fmla="*/ 598416 h 871769"/>
                <a:gd name="connsiteX406" fmla="*/ 2661422 w 4009365"/>
                <a:gd name="connsiteY406" fmla="*/ 612492 h 871769"/>
                <a:gd name="connsiteX407" fmla="*/ 2666096 w 4009365"/>
                <a:gd name="connsiteY407" fmla="*/ 598416 h 871769"/>
                <a:gd name="connsiteX408" fmla="*/ 2610817 w 4009365"/>
                <a:gd name="connsiteY408" fmla="*/ 584119 h 871769"/>
                <a:gd name="connsiteX409" fmla="*/ 2605563 w 4009365"/>
                <a:gd name="connsiteY409" fmla="*/ 598416 h 871769"/>
                <a:gd name="connsiteX410" fmla="*/ 2610817 w 4009365"/>
                <a:gd name="connsiteY410" fmla="*/ 612685 h 871769"/>
                <a:gd name="connsiteX411" fmla="*/ 2618256 w 4009365"/>
                <a:gd name="connsiteY411" fmla="*/ 598416 h 871769"/>
                <a:gd name="connsiteX412" fmla="*/ 2665073 w 4009365"/>
                <a:gd name="connsiteY412" fmla="*/ 583234 h 871769"/>
                <a:gd name="connsiteX413" fmla="*/ 2668087 w 4009365"/>
                <a:gd name="connsiteY413" fmla="*/ 592360 h 871769"/>
                <a:gd name="connsiteX414" fmla="*/ 2671101 w 4009365"/>
                <a:gd name="connsiteY414" fmla="*/ 583234 h 871769"/>
                <a:gd name="connsiteX415" fmla="*/ 2645135 w 4009365"/>
                <a:gd name="connsiteY415" fmla="*/ 583234 h 871769"/>
                <a:gd name="connsiteX416" fmla="*/ 2651412 w 4009365"/>
                <a:gd name="connsiteY416" fmla="*/ 594517 h 871769"/>
                <a:gd name="connsiteX417" fmla="*/ 2657689 w 4009365"/>
                <a:gd name="connsiteY417" fmla="*/ 583234 h 871769"/>
                <a:gd name="connsiteX418" fmla="*/ 2633188 w 4009365"/>
                <a:gd name="connsiteY418" fmla="*/ 583234 h 871769"/>
                <a:gd name="connsiteX419" fmla="*/ 2635484 w 4009365"/>
                <a:gd name="connsiteY419" fmla="*/ 591420 h 871769"/>
                <a:gd name="connsiteX420" fmla="*/ 2637779 w 4009365"/>
                <a:gd name="connsiteY420" fmla="*/ 583234 h 871769"/>
                <a:gd name="connsiteX421" fmla="*/ 2614661 w 4009365"/>
                <a:gd name="connsiteY421" fmla="*/ 583234 h 871769"/>
                <a:gd name="connsiteX422" fmla="*/ 2620413 w 4009365"/>
                <a:gd name="connsiteY422" fmla="*/ 594296 h 871769"/>
                <a:gd name="connsiteX423" fmla="*/ 2626164 w 4009365"/>
                <a:gd name="connsiteY423" fmla="*/ 583234 h 871769"/>
                <a:gd name="connsiteX424" fmla="*/ 2600005 w 4009365"/>
                <a:gd name="connsiteY424" fmla="*/ 583234 h 871769"/>
                <a:gd name="connsiteX425" fmla="*/ 2603572 w 4009365"/>
                <a:gd name="connsiteY425" fmla="*/ 592913 h 871769"/>
                <a:gd name="connsiteX426" fmla="*/ 2607111 w 4009365"/>
                <a:gd name="connsiteY426" fmla="*/ 583234 h 871769"/>
                <a:gd name="connsiteX427" fmla="*/ 2582141 w 4009365"/>
                <a:gd name="connsiteY427" fmla="*/ 583234 h 871769"/>
                <a:gd name="connsiteX428" fmla="*/ 2587450 w 4009365"/>
                <a:gd name="connsiteY428" fmla="*/ 594102 h 871769"/>
                <a:gd name="connsiteX429" fmla="*/ 2592759 w 4009365"/>
                <a:gd name="connsiteY429" fmla="*/ 583234 h 871769"/>
                <a:gd name="connsiteX430" fmla="*/ 2660121 w 4009365"/>
                <a:gd name="connsiteY430" fmla="*/ 553147 h 871769"/>
                <a:gd name="connsiteX431" fmla="*/ 2660150 w 4009365"/>
                <a:gd name="connsiteY431" fmla="*/ 553147 h 871769"/>
                <a:gd name="connsiteX432" fmla="*/ 2660122 w 4009365"/>
                <a:gd name="connsiteY432" fmla="*/ 553175 h 871769"/>
                <a:gd name="connsiteX433" fmla="*/ 3285638 w 4009365"/>
                <a:gd name="connsiteY433" fmla="*/ 534288 h 871769"/>
                <a:gd name="connsiteX434" fmla="*/ 3285638 w 4009365"/>
                <a:gd name="connsiteY434" fmla="*/ 547506 h 871769"/>
                <a:gd name="connsiteX435" fmla="*/ 3249993 w 4009365"/>
                <a:gd name="connsiteY435" fmla="*/ 586138 h 871769"/>
                <a:gd name="connsiteX436" fmla="*/ 3249993 w 4009365"/>
                <a:gd name="connsiteY436" fmla="*/ 581962 h 871769"/>
                <a:gd name="connsiteX437" fmla="*/ 3248224 w 4009365"/>
                <a:gd name="connsiteY437" fmla="*/ 581077 h 871769"/>
                <a:gd name="connsiteX438" fmla="*/ 3248224 w 4009365"/>
                <a:gd name="connsiteY438" fmla="*/ 573639 h 871769"/>
                <a:gd name="connsiteX439" fmla="*/ 3246260 w 4009365"/>
                <a:gd name="connsiteY439" fmla="*/ 572975 h 871769"/>
                <a:gd name="connsiteX440" fmla="*/ 3244325 w 4009365"/>
                <a:gd name="connsiteY440" fmla="*/ 567997 h 871769"/>
                <a:gd name="connsiteX441" fmla="*/ 3240619 w 4009365"/>
                <a:gd name="connsiteY441" fmla="*/ 558429 h 871769"/>
                <a:gd name="connsiteX442" fmla="*/ 3240647 w 4009365"/>
                <a:gd name="connsiteY442" fmla="*/ 558429 h 871769"/>
                <a:gd name="connsiteX443" fmla="*/ 3245375 w 4009365"/>
                <a:gd name="connsiteY443" fmla="*/ 550852 h 871769"/>
                <a:gd name="connsiteX444" fmla="*/ 3238158 w 4009365"/>
                <a:gd name="connsiteY444" fmla="*/ 547866 h 871769"/>
                <a:gd name="connsiteX445" fmla="*/ 3285638 w 4009365"/>
                <a:gd name="connsiteY445" fmla="*/ 534288 h 871769"/>
                <a:gd name="connsiteX446" fmla="*/ 3444949 w 4009365"/>
                <a:gd name="connsiteY446" fmla="*/ 507382 h 871769"/>
                <a:gd name="connsiteX447" fmla="*/ 3444949 w 4009365"/>
                <a:gd name="connsiteY447" fmla="*/ 563242 h 871769"/>
                <a:gd name="connsiteX448" fmla="*/ 3441465 w 4009365"/>
                <a:gd name="connsiteY448" fmla="*/ 563242 h 871769"/>
                <a:gd name="connsiteX449" fmla="*/ 3441465 w 4009365"/>
                <a:gd name="connsiteY449" fmla="*/ 572423 h 871769"/>
                <a:gd name="connsiteX450" fmla="*/ 3383255 w 4009365"/>
                <a:gd name="connsiteY450" fmla="*/ 514240 h 871769"/>
                <a:gd name="connsiteX451" fmla="*/ 3444949 w 4009365"/>
                <a:gd name="connsiteY451" fmla="*/ 507382 h 871769"/>
                <a:gd name="connsiteX452" fmla="*/ 3503686 w 4009365"/>
                <a:gd name="connsiteY452" fmla="*/ 502736 h 871769"/>
                <a:gd name="connsiteX453" fmla="*/ 3497464 w 4009365"/>
                <a:gd name="connsiteY453" fmla="*/ 515429 h 871769"/>
                <a:gd name="connsiteX454" fmla="*/ 3497464 w 4009365"/>
                <a:gd name="connsiteY454" fmla="*/ 570431 h 871769"/>
                <a:gd name="connsiteX455" fmla="*/ 3509907 w 4009365"/>
                <a:gd name="connsiteY455" fmla="*/ 570431 h 871769"/>
                <a:gd name="connsiteX456" fmla="*/ 3509907 w 4009365"/>
                <a:gd name="connsiteY456" fmla="*/ 515429 h 871769"/>
                <a:gd name="connsiteX457" fmla="*/ 3503686 w 4009365"/>
                <a:gd name="connsiteY457" fmla="*/ 502736 h 871769"/>
                <a:gd name="connsiteX458" fmla="*/ 3481176 w 4009365"/>
                <a:gd name="connsiteY458" fmla="*/ 502736 h 871769"/>
                <a:gd name="connsiteX459" fmla="*/ 3475313 w 4009365"/>
                <a:gd name="connsiteY459" fmla="*/ 515429 h 871769"/>
                <a:gd name="connsiteX460" fmla="*/ 3475313 w 4009365"/>
                <a:gd name="connsiteY460" fmla="*/ 570431 h 871769"/>
                <a:gd name="connsiteX461" fmla="*/ 3487011 w 4009365"/>
                <a:gd name="connsiteY461" fmla="*/ 570431 h 871769"/>
                <a:gd name="connsiteX462" fmla="*/ 3487038 w 4009365"/>
                <a:gd name="connsiteY462" fmla="*/ 570431 h 871769"/>
                <a:gd name="connsiteX463" fmla="*/ 3487038 w 4009365"/>
                <a:gd name="connsiteY463" fmla="*/ 515429 h 871769"/>
                <a:gd name="connsiteX464" fmla="*/ 3481176 w 4009365"/>
                <a:gd name="connsiteY464" fmla="*/ 502736 h 871769"/>
                <a:gd name="connsiteX465" fmla="*/ 1183797 w 4009365"/>
                <a:gd name="connsiteY465" fmla="*/ 377909 h 871769"/>
                <a:gd name="connsiteX466" fmla="*/ 1185843 w 4009365"/>
                <a:gd name="connsiteY466" fmla="*/ 377909 h 871769"/>
                <a:gd name="connsiteX467" fmla="*/ 1185843 w 4009365"/>
                <a:gd name="connsiteY467" fmla="*/ 382499 h 871769"/>
                <a:gd name="connsiteX468" fmla="*/ 1188747 w 4009365"/>
                <a:gd name="connsiteY468" fmla="*/ 382499 h 871769"/>
                <a:gd name="connsiteX469" fmla="*/ 1188747 w 4009365"/>
                <a:gd name="connsiteY469" fmla="*/ 384435 h 871769"/>
                <a:gd name="connsiteX470" fmla="*/ 1185843 w 4009365"/>
                <a:gd name="connsiteY470" fmla="*/ 384435 h 871769"/>
                <a:gd name="connsiteX471" fmla="*/ 1185843 w 4009365"/>
                <a:gd name="connsiteY471" fmla="*/ 393367 h 871769"/>
                <a:gd name="connsiteX472" fmla="*/ 1186092 w 4009365"/>
                <a:gd name="connsiteY472" fmla="*/ 393367 h 871769"/>
                <a:gd name="connsiteX473" fmla="*/ 1208934 w 4009365"/>
                <a:gd name="connsiteY473" fmla="*/ 448259 h 871769"/>
                <a:gd name="connsiteX474" fmla="*/ 1211340 w 4009365"/>
                <a:gd name="connsiteY474" fmla="*/ 448259 h 871769"/>
                <a:gd name="connsiteX475" fmla="*/ 1210261 w 4009365"/>
                <a:gd name="connsiteY475" fmla="*/ 450554 h 871769"/>
                <a:gd name="connsiteX476" fmla="*/ 1210151 w 4009365"/>
                <a:gd name="connsiteY476" fmla="*/ 460482 h 871769"/>
                <a:gd name="connsiteX477" fmla="*/ 1208823 w 4009365"/>
                <a:gd name="connsiteY477" fmla="*/ 462307 h 871769"/>
                <a:gd name="connsiteX478" fmla="*/ 1209045 w 4009365"/>
                <a:gd name="connsiteY478" fmla="*/ 462307 h 871769"/>
                <a:gd name="connsiteX479" fmla="*/ 1209045 w 4009365"/>
                <a:gd name="connsiteY479" fmla="*/ 464851 h 871769"/>
                <a:gd name="connsiteX480" fmla="*/ 1212308 w 4009365"/>
                <a:gd name="connsiteY480" fmla="*/ 464851 h 871769"/>
                <a:gd name="connsiteX481" fmla="*/ 1209045 w 4009365"/>
                <a:gd name="connsiteY481" fmla="*/ 469386 h 871769"/>
                <a:gd name="connsiteX482" fmla="*/ 1209045 w 4009365"/>
                <a:gd name="connsiteY482" fmla="*/ 548281 h 871769"/>
                <a:gd name="connsiteX483" fmla="*/ 1217340 w 4009365"/>
                <a:gd name="connsiteY483" fmla="*/ 548281 h 871769"/>
                <a:gd name="connsiteX484" fmla="*/ 1217340 w 4009365"/>
                <a:gd name="connsiteY484" fmla="*/ 546649 h 871769"/>
                <a:gd name="connsiteX485" fmla="*/ 1216787 w 4009365"/>
                <a:gd name="connsiteY485" fmla="*/ 545571 h 871769"/>
                <a:gd name="connsiteX486" fmla="*/ 1218004 w 4009365"/>
                <a:gd name="connsiteY486" fmla="*/ 544603 h 871769"/>
                <a:gd name="connsiteX487" fmla="*/ 1218004 w 4009365"/>
                <a:gd name="connsiteY487" fmla="*/ 540234 h 871769"/>
                <a:gd name="connsiteX488" fmla="*/ 1219276 w 4009365"/>
                <a:gd name="connsiteY488" fmla="*/ 539266 h 871769"/>
                <a:gd name="connsiteX489" fmla="*/ 1219276 w 4009365"/>
                <a:gd name="connsiteY489" fmla="*/ 529283 h 871769"/>
                <a:gd name="connsiteX490" fmla="*/ 1223452 w 4009365"/>
                <a:gd name="connsiteY490" fmla="*/ 529283 h 871769"/>
                <a:gd name="connsiteX491" fmla="*/ 1223452 w 4009365"/>
                <a:gd name="connsiteY491" fmla="*/ 539266 h 871769"/>
                <a:gd name="connsiteX492" fmla="*/ 1224669 w 4009365"/>
                <a:gd name="connsiteY492" fmla="*/ 540234 h 871769"/>
                <a:gd name="connsiteX493" fmla="*/ 1224669 w 4009365"/>
                <a:gd name="connsiteY493" fmla="*/ 544465 h 871769"/>
                <a:gd name="connsiteX494" fmla="*/ 1225581 w 4009365"/>
                <a:gd name="connsiteY494" fmla="*/ 545903 h 871769"/>
                <a:gd name="connsiteX495" fmla="*/ 1224669 w 4009365"/>
                <a:gd name="connsiteY495" fmla="*/ 546926 h 871769"/>
                <a:gd name="connsiteX496" fmla="*/ 1224669 w 4009365"/>
                <a:gd name="connsiteY496" fmla="*/ 548613 h 871769"/>
                <a:gd name="connsiteX497" fmla="*/ 1233158 w 4009365"/>
                <a:gd name="connsiteY497" fmla="*/ 750288 h 871769"/>
                <a:gd name="connsiteX498" fmla="*/ 1207081 w 4009365"/>
                <a:gd name="connsiteY498" fmla="*/ 689644 h 871769"/>
                <a:gd name="connsiteX499" fmla="*/ 1203237 w 4009365"/>
                <a:gd name="connsiteY499" fmla="*/ 681929 h 871769"/>
                <a:gd name="connsiteX500" fmla="*/ 1194609 w 4009365"/>
                <a:gd name="connsiteY500" fmla="*/ 681929 h 871769"/>
                <a:gd name="connsiteX501" fmla="*/ 1005157 w 4009365"/>
                <a:gd name="connsiteY501" fmla="*/ 672665 h 871769"/>
                <a:gd name="connsiteX502" fmla="*/ 1005157 w 4009365"/>
                <a:gd name="connsiteY502" fmla="*/ 543884 h 871769"/>
                <a:gd name="connsiteX503" fmla="*/ 1006623 w 4009365"/>
                <a:gd name="connsiteY503" fmla="*/ 542695 h 871769"/>
                <a:gd name="connsiteX504" fmla="*/ 1006623 w 4009365"/>
                <a:gd name="connsiteY504" fmla="*/ 538879 h 871769"/>
                <a:gd name="connsiteX505" fmla="*/ 1007535 w 4009365"/>
                <a:gd name="connsiteY505" fmla="*/ 537883 h 871769"/>
                <a:gd name="connsiteX506" fmla="*/ 1007535 w 4009365"/>
                <a:gd name="connsiteY506" fmla="*/ 527817 h 871769"/>
                <a:gd name="connsiteX507" fmla="*/ 1011711 w 4009365"/>
                <a:gd name="connsiteY507" fmla="*/ 527817 h 871769"/>
                <a:gd name="connsiteX508" fmla="*/ 1011711 w 4009365"/>
                <a:gd name="connsiteY508" fmla="*/ 537524 h 871769"/>
                <a:gd name="connsiteX509" fmla="*/ 1012706 w 4009365"/>
                <a:gd name="connsiteY509" fmla="*/ 538796 h 871769"/>
                <a:gd name="connsiteX510" fmla="*/ 1012706 w 4009365"/>
                <a:gd name="connsiteY510" fmla="*/ 542335 h 871769"/>
                <a:gd name="connsiteX511" fmla="*/ 1013895 w 4009365"/>
                <a:gd name="connsiteY511" fmla="*/ 543884 h 871769"/>
                <a:gd name="connsiteX512" fmla="*/ 1013895 w 4009365"/>
                <a:gd name="connsiteY512" fmla="*/ 547147 h 871769"/>
                <a:gd name="connsiteX513" fmla="*/ 1104598 w 4009365"/>
                <a:gd name="connsiteY513" fmla="*/ 547507 h 871769"/>
                <a:gd name="connsiteX514" fmla="*/ 1041106 w 4009365"/>
                <a:gd name="connsiteY514" fmla="*/ 669015 h 871769"/>
                <a:gd name="connsiteX515" fmla="*/ 1113558 w 4009365"/>
                <a:gd name="connsiteY515" fmla="*/ 545377 h 871769"/>
                <a:gd name="connsiteX516" fmla="*/ 1112756 w 4009365"/>
                <a:gd name="connsiteY516" fmla="*/ 543801 h 871769"/>
                <a:gd name="connsiteX517" fmla="*/ 1114304 w 4009365"/>
                <a:gd name="connsiteY517" fmla="*/ 541533 h 871769"/>
                <a:gd name="connsiteX518" fmla="*/ 1114304 w 4009365"/>
                <a:gd name="connsiteY518" fmla="*/ 539266 h 871769"/>
                <a:gd name="connsiteX519" fmla="*/ 1115023 w 4009365"/>
                <a:gd name="connsiteY519" fmla="*/ 538436 h 871769"/>
                <a:gd name="connsiteX520" fmla="*/ 1115023 w 4009365"/>
                <a:gd name="connsiteY520" fmla="*/ 532352 h 871769"/>
                <a:gd name="connsiteX521" fmla="*/ 1112756 w 4009365"/>
                <a:gd name="connsiteY521" fmla="*/ 532352 h 871769"/>
                <a:gd name="connsiteX522" fmla="*/ 1112756 w 4009365"/>
                <a:gd name="connsiteY522" fmla="*/ 530998 h 871769"/>
                <a:gd name="connsiteX523" fmla="*/ 1115023 w 4009365"/>
                <a:gd name="connsiteY523" fmla="*/ 530998 h 871769"/>
                <a:gd name="connsiteX524" fmla="*/ 1115023 w 4009365"/>
                <a:gd name="connsiteY524" fmla="*/ 528564 h 871769"/>
                <a:gd name="connsiteX525" fmla="*/ 1116378 w 4009365"/>
                <a:gd name="connsiteY525" fmla="*/ 528564 h 871769"/>
                <a:gd name="connsiteX526" fmla="*/ 1116378 w 4009365"/>
                <a:gd name="connsiteY526" fmla="*/ 530998 h 871769"/>
                <a:gd name="connsiteX527" fmla="*/ 1118563 w 4009365"/>
                <a:gd name="connsiteY527" fmla="*/ 530998 h 871769"/>
                <a:gd name="connsiteX528" fmla="*/ 1118563 w 4009365"/>
                <a:gd name="connsiteY528" fmla="*/ 532352 h 871769"/>
                <a:gd name="connsiteX529" fmla="*/ 1116378 w 4009365"/>
                <a:gd name="connsiteY529" fmla="*/ 532352 h 871769"/>
                <a:gd name="connsiteX530" fmla="*/ 1116378 w 4009365"/>
                <a:gd name="connsiteY530" fmla="*/ 538353 h 871769"/>
                <a:gd name="connsiteX531" fmla="*/ 1117291 w 4009365"/>
                <a:gd name="connsiteY531" fmla="*/ 539432 h 871769"/>
                <a:gd name="connsiteX532" fmla="*/ 1117291 w 4009365"/>
                <a:gd name="connsiteY532" fmla="*/ 541976 h 871769"/>
                <a:gd name="connsiteX533" fmla="*/ 1118563 w 4009365"/>
                <a:gd name="connsiteY533" fmla="*/ 543607 h 871769"/>
                <a:gd name="connsiteX534" fmla="*/ 1117706 w 4009365"/>
                <a:gd name="connsiteY534" fmla="*/ 545211 h 871769"/>
                <a:gd name="connsiteX535" fmla="*/ 1158660 w 4009365"/>
                <a:gd name="connsiteY535" fmla="*/ 613515 h 871769"/>
                <a:gd name="connsiteX536" fmla="*/ 1128905 w 4009365"/>
                <a:gd name="connsiteY536" fmla="*/ 547866 h 871769"/>
                <a:gd name="connsiteX537" fmla="*/ 1160458 w 4009365"/>
                <a:gd name="connsiteY537" fmla="*/ 547866 h 871769"/>
                <a:gd name="connsiteX538" fmla="*/ 1160458 w 4009365"/>
                <a:gd name="connsiteY538" fmla="*/ 469303 h 871769"/>
                <a:gd name="connsiteX539" fmla="*/ 1157554 w 4009365"/>
                <a:gd name="connsiteY539" fmla="*/ 464823 h 871769"/>
                <a:gd name="connsiteX540" fmla="*/ 1160458 w 4009365"/>
                <a:gd name="connsiteY540" fmla="*/ 464823 h 871769"/>
                <a:gd name="connsiteX541" fmla="*/ 1160458 w 4009365"/>
                <a:gd name="connsiteY541" fmla="*/ 462307 h 871769"/>
                <a:gd name="connsiteX542" fmla="*/ 1159241 w 4009365"/>
                <a:gd name="connsiteY542" fmla="*/ 460592 h 871769"/>
                <a:gd name="connsiteX543" fmla="*/ 1159241 w 4009365"/>
                <a:gd name="connsiteY543" fmla="*/ 450195 h 871769"/>
                <a:gd name="connsiteX544" fmla="*/ 1157554 w 4009365"/>
                <a:gd name="connsiteY544" fmla="*/ 448259 h 871769"/>
                <a:gd name="connsiteX545" fmla="*/ 1161066 w 4009365"/>
                <a:gd name="connsiteY545" fmla="*/ 448259 h 871769"/>
                <a:gd name="connsiteX546" fmla="*/ 1183548 w 4009365"/>
                <a:gd name="connsiteY546" fmla="*/ 393367 h 871769"/>
                <a:gd name="connsiteX547" fmla="*/ 1183797 w 4009365"/>
                <a:gd name="connsiteY547" fmla="*/ 393367 h 871769"/>
                <a:gd name="connsiteX548" fmla="*/ 1183797 w 4009365"/>
                <a:gd name="connsiteY548" fmla="*/ 384435 h 871769"/>
                <a:gd name="connsiteX549" fmla="*/ 1180645 w 4009365"/>
                <a:gd name="connsiteY549" fmla="*/ 384435 h 871769"/>
                <a:gd name="connsiteX550" fmla="*/ 1180645 w 4009365"/>
                <a:gd name="connsiteY550" fmla="*/ 382499 h 871769"/>
                <a:gd name="connsiteX551" fmla="*/ 1183797 w 4009365"/>
                <a:gd name="connsiteY551" fmla="*/ 382499 h 871769"/>
                <a:gd name="connsiteX552" fmla="*/ 2634543 w 4009365"/>
                <a:gd name="connsiteY552" fmla="*/ 348043 h 871769"/>
                <a:gd name="connsiteX553" fmla="*/ 2629952 w 4009365"/>
                <a:gd name="connsiteY553" fmla="*/ 352606 h 871769"/>
                <a:gd name="connsiteX554" fmla="*/ 2629952 w 4009365"/>
                <a:gd name="connsiteY554" fmla="*/ 379236 h 871769"/>
                <a:gd name="connsiteX555" fmla="*/ 2639106 w 4009365"/>
                <a:gd name="connsiteY555" fmla="*/ 379236 h 871769"/>
                <a:gd name="connsiteX556" fmla="*/ 2639106 w 4009365"/>
                <a:gd name="connsiteY556" fmla="*/ 352606 h 871769"/>
                <a:gd name="connsiteX557" fmla="*/ 2634543 w 4009365"/>
                <a:gd name="connsiteY557" fmla="*/ 348043 h 871769"/>
                <a:gd name="connsiteX558" fmla="*/ 2622597 w 4009365"/>
                <a:gd name="connsiteY558" fmla="*/ 348015 h 871769"/>
                <a:gd name="connsiteX559" fmla="*/ 2618034 w 4009365"/>
                <a:gd name="connsiteY559" fmla="*/ 352578 h 871769"/>
                <a:gd name="connsiteX560" fmla="*/ 2618034 w 4009365"/>
                <a:gd name="connsiteY560" fmla="*/ 379208 h 871769"/>
                <a:gd name="connsiteX561" fmla="*/ 2627187 w 4009365"/>
                <a:gd name="connsiteY561" fmla="*/ 379208 h 871769"/>
                <a:gd name="connsiteX562" fmla="*/ 2627187 w 4009365"/>
                <a:gd name="connsiteY562" fmla="*/ 352578 h 871769"/>
                <a:gd name="connsiteX563" fmla="*/ 2627159 w 4009365"/>
                <a:gd name="connsiteY563" fmla="*/ 352578 h 871769"/>
                <a:gd name="connsiteX564" fmla="*/ 2622597 w 4009365"/>
                <a:gd name="connsiteY564" fmla="*/ 348015 h 871769"/>
                <a:gd name="connsiteX565" fmla="*/ 2623592 w 4009365"/>
                <a:gd name="connsiteY565" fmla="*/ 303908 h 871769"/>
                <a:gd name="connsiteX566" fmla="*/ 2623592 w 4009365"/>
                <a:gd name="connsiteY566" fmla="*/ 309467 h 871769"/>
                <a:gd name="connsiteX567" fmla="*/ 2633741 w 4009365"/>
                <a:gd name="connsiteY567" fmla="*/ 309467 h 871769"/>
                <a:gd name="connsiteX568" fmla="*/ 2633741 w 4009365"/>
                <a:gd name="connsiteY568" fmla="*/ 303908 h 871769"/>
                <a:gd name="connsiteX569" fmla="*/ 2628653 w 4009365"/>
                <a:gd name="connsiteY569" fmla="*/ 292571 h 871769"/>
                <a:gd name="connsiteX570" fmla="*/ 2623592 w 4009365"/>
                <a:gd name="connsiteY570" fmla="*/ 297631 h 871769"/>
                <a:gd name="connsiteX571" fmla="*/ 2623592 w 4009365"/>
                <a:gd name="connsiteY571" fmla="*/ 299318 h 871769"/>
                <a:gd name="connsiteX572" fmla="*/ 2633741 w 4009365"/>
                <a:gd name="connsiteY572" fmla="*/ 299318 h 871769"/>
                <a:gd name="connsiteX573" fmla="*/ 2633741 w 4009365"/>
                <a:gd name="connsiteY573" fmla="*/ 297631 h 871769"/>
                <a:gd name="connsiteX574" fmla="*/ 2633713 w 4009365"/>
                <a:gd name="connsiteY574" fmla="*/ 297631 h 871769"/>
                <a:gd name="connsiteX575" fmla="*/ 2628653 w 4009365"/>
                <a:gd name="connsiteY575" fmla="*/ 292571 h 871769"/>
                <a:gd name="connsiteX576" fmla="*/ 2636340 w 4009365"/>
                <a:gd name="connsiteY576" fmla="*/ 270780 h 871769"/>
                <a:gd name="connsiteX577" fmla="*/ 2636340 w 4009365"/>
                <a:gd name="connsiteY577" fmla="*/ 280458 h 871769"/>
                <a:gd name="connsiteX578" fmla="*/ 2640737 w 4009365"/>
                <a:gd name="connsiteY578" fmla="*/ 280458 h 871769"/>
                <a:gd name="connsiteX579" fmla="*/ 2640737 w 4009365"/>
                <a:gd name="connsiteY579" fmla="*/ 270780 h 871769"/>
                <a:gd name="connsiteX580" fmla="*/ 2630174 w 4009365"/>
                <a:gd name="connsiteY580" fmla="*/ 270752 h 871769"/>
                <a:gd name="connsiteX581" fmla="*/ 2630174 w 4009365"/>
                <a:gd name="connsiteY581" fmla="*/ 280431 h 871769"/>
                <a:gd name="connsiteX582" fmla="*/ 2634183 w 4009365"/>
                <a:gd name="connsiteY582" fmla="*/ 280431 h 871769"/>
                <a:gd name="connsiteX583" fmla="*/ 2634183 w 4009365"/>
                <a:gd name="connsiteY583" fmla="*/ 270752 h 871769"/>
                <a:gd name="connsiteX584" fmla="*/ 2623177 w 4009365"/>
                <a:gd name="connsiteY584" fmla="*/ 270752 h 871769"/>
                <a:gd name="connsiteX585" fmla="*/ 2623177 w 4009365"/>
                <a:gd name="connsiteY585" fmla="*/ 280431 h 871769"/>
                <a:gd name="connsiteX586" fmla="*/ 2628542 w 4009365"/>
                <a:gd name="connsiteY586" fmla="*/ 280431 h 871769"/>
                <a:gd name="connsiteX587" fmla="*/ 2628542 w 4009365"/>
                <a:gd name="connsiteY587" fmla="*/ 270752 h 871769"/>
                <a:gd name="connsiteX588" fmla="*/ 2616596 w 4009365"/>
                <a:gd name="connsiteY588" fmla="*/ 270752 h 871769"/>
                <a:gd name="connsiteX589" fmla="*/ 2616596 w 4009365"/>
                <a:gd name="connsiteY589" fmla="*/ 280431 h 871769"/>
                <a:gd name="connsiteX590" fmla="*/ 2620993 w 4009365"/>
                <a:gd name="connsiteY590" fmla="*/ 280431 h 871769"/>
                <a:gd name="connsiteX591" fmla="*/ 2620993 w 4009365"/>
                <a:gd name="connsiteY591" fmla="*/ 270752 h 871769"/>
                <a:gd name="connsiteX592" fmla="*/ 1661231 w 4009365"/>
                <a:gd name="connsiteY592" fmla="*/ 265028 h 871769"/>
                <a:gd name="connsiteX593" fmla="*/ 1691622 w 4009365"/>
                <a:gd name="connsiteY593" fmla="*/ 265028 h 871769"/>
                <a:gd name="connsiteX594" fmla="*/ 1746099 w 4009365"/>
                <a:gd name="connsiteY594" fmla="*/ 265028 h 871769"/>
                <a:gd name="connsiteX595" fmla="*/ 1776490 w 4009365"/>
                <a:gd name="connsiteY595" fmla="*/ 265028 h 871769"/>
                <a:gd name="connsiteX596" fmla="*/ 1776490 w 4009365"/>
                <a:gd name="connsiteY596" fmla="*/ 273960 h 871769"/>
                <a:gd name="connsiteX597" fmla="*/ 1786307 w 4009365"/>
                <a:gd name="connsiteY597" fmla="*/ 273960 h 871769"/>
                <a:gd name="connsiteX598" fmla="*/ 1786307 w 4009365"/>
                <a:gd name="connsiteY598" fmla="*/ 298074 h 871769"/>
                <a:gd name="connsiteX599" fmla="*/ 1795239 w 4009365"/>
                <a:gd name="connsiteY599" fmla="*/ 298074 h 871769"/>
                <a:gd name="connsiteX600" fmla="*/ 1795239 w 4009365"/>
                <a:gd name="connsiteY600" fmla="*/ 307006 h 871769"/>
                <a:gd name="connsiteX601" fmla="*/ 1866695 w 4009365"/>
                <a:gd name="connsiteY601" fmla="*/ 307006 h 871769"/>
                <a:gd name="connsiteX602" fmla="*/ 1866695 w 4009365"/>
                <a:gd name="connsiteY602" fmla="*/ 298074 h 871769"/>
                <a:gd name="connsiteX603" fmla="*/ 1899768 w 4009365"/>
                <a:gd name="connsiteY603" fmla="*/ 298074 h 871769"/>
                <a:gd name="connsiteX604" fmla="*/ 1902174 w 4009365"/>
                <a:gd name="connsiteY604" fmla="*/ 619930 h 871769"/>
                <a:gd name="connsiteX605" fmla="*/ 1857044 w 4009365"/>
                <a:gd name="connsiteY605" fmla="*/ 619930 h 871769"/>
                <a:gd name="connsiteX606" fmla="*/ 1843107 w 4009365"/>
                <a:gd name="connsiteY606" fmla="*/ 619930 h 871769"/>
                <a:gd name="connsiteX607" fmla="*/ 1843107 w 4009365"/>
                <a:gd name="connsiteY607" fmla="*/ 633840 h 871769"/>
                <a:gd name="connsiteX608" fmla="*/ 1843107 w 4009365"/>
                <a:gd name="connsiteY608" fmla="*/ 649132 h 871769"/>
                <a:gd name="connsiteX609" fmla="*/ 1731830 w 4009365"/>
                <a:gd name="connsiteY609" fmla="*/ 649132 h 871769"/>
                <a:gd name="connsiteX610" fmla="*/ 1723451 w 4009365"/>
                <a:gd name="connsiteY610" fmla="*/ 649132 h 871769"/>
                <a:gd name="connsiteX611" fmla="*/ 1723451 w 4009365"/>
                <a:gd name="connsiteY611" fmla="*/ 456416 h 871769"/>
                <a:gd name="connsiteX612" fmla="*/ 1724613 w 4009365"/>
                <a:gd name="connsiteY612" fmla="*/ 455061 h 871769"/>
                <a:gd name="connsiteX613" fmla="*/ 1737112 w 4009365"/>
                <a:gd name="connsiteY613" fmla="*/ 440682 h 871769"/>
                <a:gd name="connsiteX614" fmla="*/ 1727958 w 4009365"/>
                <a:gd name="connsiteY614" fmla="*/ 435787 h 871769"/>
                <a:gd name="connsiteX615" fmla="*/ 1732134 w 4009365"/>
                <a:gd name="connsiteY615" fmla="*/ 430865 h 871769"/>
                <a:gd name="connsiteX616" fmla="*/ 1723700 w 4009365"/>
                <a:gd name="connsiteY616" fmla="*/ 421048 h 871769"/>
                <a:gd name="connsiteX617" fmla="*/ 1719801 w 4009365"/>
                <a:gd name="connsiteY617" fmla="*/ 416485 h 871769"/>
                <a:gd name="connsiteX618" fmla="*/ 1715238 w 4009365"/>
                <a:gd name="connsiteY618" fmla="*/ 411176 h 871769"/>
                <a:gd name="connsiteX619" fmla="*/ 1711394 w 4009365"/>
                <a:gd name="connsiteY619" fmla="*/ 411176 h 871769"/>
                <a:gd name="connsiteX620" fmla="*/ 1696185 w 4009365"/>
                <a:gd name="connsiteY620" fmla="*/ 411176 h 871769"/>
                <a:gd name="connsiteX621" fmla="*/ 1695577 w 4009365"/>
                <a:gd name="connsiteY621" fmla="*/ 411176 h 871769"/>
                <a:gd name="connsiteX622" fmla="*/ 1680727 w 4009365"/>
                <a:gd name="connsiteY622" fmla="*/ 411176 h 871769"/>
                <a:gd name="connsiteX623" fmla="*/ 1665573 w 4009365"/>
                <a:gd name="connsiteY623" fmla="*/ 411176 h 871769"/>
                <a:gd name="connsiteX624" fmla="*/ 1651525 w 4009365"/>
                <a:gd name="connsiteY624" fmla="*/ 411176 h 871769"/>
                <a:gd name="connsiteX625" fmla="*/ 1636343 w 4009365"/>
                <a:gd name="connsiteY625" fmla="*/ 411176 h 871769"/>
                <a:gd name="connsiteX626" fmla="*/ 1629762 w 4009365"/>
                <a:gd name="connsiteY626" fmla="*/ 411176 h 871769"/>
                <a:gd name="connsiteX627" fmla="*/ 1629762 w 4009365"/>
                <a:gd name="connsiteY627" fmla="*/ 407470 h 871769"/>
                <a:gd name="connsiteX628" fmla="*/ 1635403 w 4009365"/>
                <a:gd name="connsiteY628" fmla="*/ 400225 h 871769"/>
                <a:gd name="connsiteX629" fmla="*/ 1628434 w 4009365"/>
                <a:gd name="connsiteY629" fmla="*/ 390933 h 871769"/>
                <a:gd name="connsiteX630" fmla="*/ 1625144 w 4009365"/>
                <a:gd name="connsiteY630" fmla="*/ 386536 h 871769"/>
                <a:gd name="connsiteX631" fmla="*/ 1622655 w 4009365"/>
                <a:gd name="connsiteY631" fmla="*/ 383218 h 871769"/>
                <a:gd name="connsiteX632" fmla="*/ 1618866 w 4009365"/>
                <a:gd name="connsiteY632" fmla="*/ 381642 h 871769"/>
                <a:gd name="connsiteX633" fmla="*/ 1615078 w 4009365"/>
                <a:gd name="connsiteY633" fmla="*/ 380038 h 871769"/>
                <a:gd name="connsiteX634" fmla="*/ 1606975 w 4009365"/>
                <a:gd name="connsiteY634" fmla="*/ 376664 h 871769"/>
                <a:gd name="connsiteX635" fmla="*/ 1605897 w 4009365"/>
                <a:gd name="connsiteY635" fmla="*/ 377466 h 871769"/>
                <a:gd name="connsiteX636" fmla="*/ 1601694 w 4009365"/>
                <a:gd name="connsiteY636" fmla="*/ 376415 h 871769"/>
                <a:gd name="connsiteX637" fmla="*/ 1593730 w 4009365"/>
                <a:gd name="connsiteY637" fmla="*/ 374369 h 871769"/>
                <a:gd name="connsiteX638" fmla="*/ 1593619 w 4009365"/>
                <a:gd name="connsiteY638" fmla="*/ 374452 h 871769"/>
                <a:gd name="connsiteX639" fmla="*/ 1591849 w 4009365"/>
                <a:gd name="connsiteY639" fmla="*/ 373844 h 871769"/>
                <a:gd name="connsiteX640" fmla="*/ 1590632 w 4009365"/>
                <a:gd name="connsiteY640" fmla="*/ 373844 h 871769"/>
                <a:gd name="connsiteX641" fmla="*/ 1589416 w 4009365"/>
                <a:gd name="connsiteY641" fmla="*/ 373844 h 871769"/>
                <a:gd name="connsiteX642" fmla="*/ 1577967 w 4009365"/>
                <a:gd name="connsiteY642" fmla="*/ 360045 h 871769"/>
                <a:gd name="connsiteX643" fmla="*/ 1575036 w 4009365"/>
                <a:gd name="connsiteY643" fmla="*/ 356477 h 871769"/>
                <a:gd name="connsiteX644" fmla="*/ 1570473 w 4009365"/>
                <a:gd name="connsiteY644" fmla="*/ 351002 h 871769"/>
                <a:gd name="connsiteX645" fmla="*/ 1563339 w 4009365"/>
                <a:gd name="connsiteY645" fmla="*/ 351002 h 871769"/>
                <a:gd name="connsiteX646" fmla="*/ 1558084 w 4009365"/>
                <a:gd name="connsiteY646" fmla="*/ 351002 h 871769"/>
                <a:gd name="connsiteX647" fmla="*/ 1542875 w 4009365"/>
                <a:gd name="connsiteY647" fmla="*/ 351002 h 871769"/>
                <a:gd name="connsiteX648" fmla="*/ 1542875 w 4009365"/>
                <a:gd name="connsiteY648" fmla="*/ 351362 h 871769"/>
                <a:gd name="connsiteX649" fmla="*/ 1537953 w 4009365"/>
                <a:gd name="connsiteY649" fmla="*/ 351362 h 871769"/>
                <a:gd name="connsiteX650" fmla="*/ 1537953 w 4009365"/>
                <a:gd name="connsiteY650" fmla="*/ 298074 h 871769"/>
                <a:gd name="connsiteX651" fmla="*/ 1570999 w 4009365"/>
                <a:gd name="connsiteY651" fmla="*/ 298074 h 871769"/>
                <a:gd name="connsiteX652" fmla="*/ 1570999 w 4009365"/>
                <a:gd name="connsiteY652" fmla="*/ 307006 h 871769"/>
                <a:gd name="connsiteX653" fmla="*/ 1642482 w 4009365"/>
                <a:gd name="connsiteY653" fmla="*/ 307006 h 871769"/>
                <a:gd name="connsiteX654" fmla="*/ 1642482 w 4009365"/>
                <a:gd name="connsiteY654" fmla="*/ 298074 h 871769"/>
                <a:gd name="connsiteX655" fmla="*/ 1651414 w 4009365"/>
                <a:gd name="connsiteY655" fmla="*/ 298074 h 871769"/>
                <a:gd name="connsiteX656" fmla="*/ 1651414 w 4009365"/>
                <a:gd name="connsiteY656" fmla="*/ 273960 h 871769"/>
                <a:gd name="connsiteX657" fmla="*/ 1661231 w 4009365"/>
                <a:gd name="connsiteY657" fmla="*/ 273960 h 871769"/>
                <a:gd name="connsiteX658" fmla="*/ 2628653 w 4009365"/>
                <a:gd name="connsiteY658" fmla="*/ 238149 h 871769"/>
                <a:gd name="connsiteX659" fmla="*/ 2630754 w 4009365"/>
                <a:gd name="connsiteY659" fmla="*/ 240334 h 871769"/>
                <a:gd name="connsiteX660" fmla="*/ 2629399 w 4009365"/>
                <a:gd name="connsiteY660" fmla="*/ 242380 h 871769"/>
                <a:gd name="connsiteX661" fmla="*/ 2629399 w 4009365"/>
                <a:gd name="connsiteY661" fmla="*/ 244675 h 871769"/>
                <a:gd name="connsiteX662" fmla="*/ 2630893 w 4009365"/>
                <a:gd name="connsiteY662" fmla="*/ 244675 h 871769"/>
                <a:gd name="connsiteX663" fmla="*/ 2630893 w 4009365"/>
                <a:gd name="connsiteY663" fmla="*/ 254354 h 871769"/>
                <a:gd name="connsiteX664" fmla="*/ 2643419 w 4009365"/>
                <a:gd name="connsiteY664" fmla="*/ 267932 h 871769"/>
                <a:gd name="connsiteX665" fmla="*/ 2644774 w 4009365"/>
                <a:gd name="connsiteY665" fmla="*/ 267932 h 871769"/>
                <a:gd name="connsiteX666" fmla="*/ 2644774 w 4009365"/>
                <a:gd name="connsiteY666" fmla="*/ 270752 h 871769"/>
                <a:gd name="connsiteX667" fmla="*/ 2642231 w 4009365"/>
                <a:gd name="connsiteY667" fmla="*/ 270752 h 871769"/>
                <a:gd name="connsiteX668" fmla="*/ 2642231 w 4009365"/>
                <a:gd name="connsiteY668" fmla="*/ 280431 h 871769"/>
                <a:gd name="connsiteX669" fmla="*/ 2643558 w 4009365"/>
                <a:gd name="connsiteY669" fmla="*/ 280431 h 871769"/>
                <a:gd name="connsiteX670" fmla="*/ 2643558 w 4009365"/>
                <a:gd name="connsiteY670" fmla="*/ 283860 h 871769"/>
                <a:gd name="connsiteX671" fmla="*/ 2649061 w 4009365"/>
                <a:gd name="connsiteY671" fmla="*/ 283860 h 871769"/>
                <a:gd name="connsiteX672" fmla="*/ 2651605 w 4009365"/>
                <a:gd name="connsiteY672" fmla="*/ 286985 h 871769"/>
                <a:gd name="connsiteX673" fmla="*/ 2651605 w 4009365"/>
                <a:gd name="connsiteY673" fmla="*/ 290718 h 871769"/>
                <a:gd name="connsiteX674" fmla="*/ 2649061 w 4009365"/>
                <a:gd name="connsiteY674" fmla="*/ 292654 h 871769"/>
                <a:gd name="connsiteX675" fmla="*/ 2649061 w 4009365"/>
                <a:gd name="connsiteY675" fmla="*/ 302802 h 871769"/>
                <a:gd name="connsiteX676" fmla="*/ 2652434 w 4009365"/>
                <a:gd name="connsiteY676" fmla="*/ 307863 h 871769"/>
                <a:gd name="connsiteX677" fmla="*/ 2652434 w 4009365"/>
                <a:gd name="connsiteY677" fmla="*/ 312923 h 871769"/>
                <a:gd name="connsiteX678" fmla="*/ 2650720 w 4009365"/>
                <a:gd name="connsiteY678" fmla="*/ 316214 h 871769"/>
                <a:gd name="connsiteX679" fmla="*/ 2654149 w 4009365"/>
                <a:gd name="connsiteY679" fmla="*/ 320086 h 871769"/>
                <a:gd name="connsiteX680" fmla="*/ 2654149 w 4009365"/>
                <a:gd name="connsiteY680" fmla="*/ 330373 h 871769"/>
                <a:gd name="connsiteX681" fmla="*/ 2657661 w 4009365"/>
                <a:gd name="connsiteY681" fmla="*/ 330373 h 871769"/>
                <a:gd name="connsiteX682" fmla="*/ 2657301 w 4009365"/>
                <a:gd name="connsiteY682" fmla="*/ 336484 h 871769"/>
                <a:gd name="connsiteX683" fmla="*/ 2655200 w 4009365"/>
                <a:gd name="connsiteY683" fmla="*/ 337535 h 871769"/>
                <a:gd name="connsiteX684" fmla="*/ 2655200 w 4009365"/>
                <a:gd name="connsiteY684" fmla="*/ 387034 h 871769"/>
                <a:gd name="connsiteX685" fmla="*/ 2660122 w 4009365"/>
                <a:gd name="connsiteY685" fmla="*/ 389108 h 871769"/>
                <a:gd name="connsiteX686" fmla="*/ 2660122 w 4009365"/>
                <a:gd name="connsiteY686" fmla="*/ 395220 h 871769"/>
                <a:gd name="connsiteX687" fmla="*/ 2657301 w 4009365"/>
                <a:gd name="connsiteY687" fmla="*/ 397294 h 871769"/>
                <a:gd name="connsiteX688" fmla="*/ 2660121 w 4009365"/>
                <a:gd name="connsiteY688" fmla="*/ 553147 h 871769"/>
                <a:gd name="connsiteX689" fmla="*/ 2597211 w 4009365"/>
                <a:gd name="connsiteY689" fmla="*/ 553147 h 871769"/>
                <a:gd name="connsiteX690" fmla="*/ 2600059 w 4009365"/>
                <a:gd name="connsiteY690" fmla="*/ 397266 h 871769"/>
                <a:gd name="connsiteX691" fmla="*/ 2597211 w 4009365"/>
                <a:gd name="connsiteY691" fmla="*/ 395192 h 871769"/>
                <a:gd name="connsiteX692" fmla="*/ 2597211 w 4009365"/>
                <a:gd name="connsiteY692" fmla="*/ 389081 h 871769"/>
                <a:gd name="connsiteX693" fmla="*/ 2602133 w 4009365"/>
                <a:gd name="connsiteY693" fmla="*/ 387007 h 871769"/>
                <a:gd name="connsiteX694" fmla="*/ 2602133 w 4009365"/>
                <a:gd name="connsiteY694" fmla="*/ 337507 h 871769"/>
                <a:gd name="connsiteX695" fmla="*/ 2600059 w 4009365"/>
                <a:gd name="connsiteY695" fmla="*/ 336456 h 871769"/>
                <a:gd name="connsiteX696" fmla="*/ 2599700 w 4009365"/>
                <a:gd name="connsiteY696" fmla="*/ 330345 h 871769"/>
                <a:gd name="connsiteX697" fmla="*/ 2603212 w 4009365"/>
                <a:gd name="connsiteY697" fmla="*/ 330345 h 871769"/>
                <a:gd name="connsiteX698" fmla="*/ 2603212 w 4009365"/>
                <a:gd name="connsiteY698" fmla="*/ 320058 h 871769"/>
                <a:gd name="connsiteX699" fmla="*/ 2606641 w 4009365"/>
                <a:gd name="connsiteY699" fmla="*/ 316187 h 871769"/>
                <a:gd name="connsiteX700" fmla="*/ 2604926 w 4009365"/>
                <a:gd name="connsiteY700" fmla="*/ 312896 h 871769"/>
                <a:gd name="connsiteX701" fmla="*/ 2604926 w 4009365"/>
                <a:gd name="connsiteY701" fmla="*/ 307835 h 871769"/>
                <a:gd name="connsiteX702" fmla="*/ 2608272 w 4009365"/>
                <a:gd name="connsiteY702" fmla="*/ 302775 h 871769"/>
                <a:gd name="connsiteX703" fmla="*/ 2608272 w 4009365"/>
                <a:gd name="connsiteY703" fmla="*/ 292626 h 871769"/>
                <a:gd name="connsiteX704" fmla="*/ 2605728 w 4009365"/>
                <a:gd name="connsiteY704" fmla="*/ 290690 h 871769"/>
                <a:gd name="connsiteX705" fmla="*/ 2605728 w 4009365"/>
                <a:gd name="connsiteY705" fmla="*/ 286957 h 871769"/>
                <a:gd name="connsiteX706" fmla="*/ 2608272 w 4009365"/>
                <a:gd name="connsiteY706" fmla="*/ 283832 h 871769"/>
                <a:gd name="connsiteX707" fmla="*/ 2613775 w 4009365"/>
                <a:gd name="connsiteY707" fmla="*/ 283832 h 871769"/>
                <a:gd name="connsiteX708" fmla="*/ 2613775 w 4009365"/>
                <a:gd name="connsiteY708" fmla="*/ 280403 h 871769"/>
                <a:gd name="connsiteX709" fmla="*/ 2615130 w 4009365"/>
                <a:gd name="connsiteY709" fmla="*/ 280403 h 871769"/>
                <a:gd name="connsiteX710" fmla="*/ 2615130 w 4009365"/>
                <a:gd name="connsiteY710" fmla="*/ 270725 h 871769"/>
                <a:gd name="connsiteX711" fmla="*/ 2612586 w 4009365"/>
                <a:gd name="connsiteY711" fmla="*/ 270725 h 871769"/>
                <a:gd name="connsiteX712" fmla="*/ 2612586 w 4009365"/>
                <a:gd name="connsiteY712" fmla="*/ 267904 h 871769"/>
                <a:gd name="connsiteX713" fmla="*/ 2613914 w 4009365"/>
                <a:gd name="connsiteY713" fmla="*/ 267904 h 871769"/>
                <a:gd name="connsiteX714" fmla="*/ 2626440 w 4009365"/>
                <a:gd name="connsiteY714" fmla="*/ 254326 h 871769"/>
                <a:gd name="connsiteX715" fmla="*/ 2626440 w 4009365"/>
                <a:gd name="connsiteY715" fmla="*/ 244648 h 871769"/>
                <a:gd name="connsiteX716" fmla="*/ 2627768 w 4009365"/>
                <a:gd name="connsiteY716" fmla="*/ 244648 h 871769"/>
                <a:gd name="connsiteX717" fmla="*/ 2627768 w 4009365"/>
                <a:gd name="connsiteY717" fmla="*/ 242297 h 871769"/>
                <a:gd name="connsiteX718" fmla="*/ 2626579 w 4009365"/>
                <a:gd name="connsiteY718" fmla="*/ 240334 h 871769"/>
                <a:gd name="connsiteX719" fmla="*/ 2628653 w 4009365"/>
                <a:gd name="connsiteY719" fmla="*/ 238149 h 871769"/>
                <a:gd name="connsiteX720" fmla="*/ 1976562 w 4009365"/>
                <a:gd name="connsiteY720" fmla="*/ 214589 h 871769"/>
                <a:gd name="connsiteX721" fmla="*/ 1976562 w 4009365"/>
                <a:gd name="connsiteY721" fmla="*/ 220866 h 871769"/>
                <a:gd name="connsiteX722" fmla="*/ 1977834 w 4009365"/>
                <a:gd name="connsiteY722" fmla="*/ 220866 h 871769"/>
                <a:gd name="connsiteX723" fmla="*/ 1977834 w 4009365"/>
                <a:gd name="connsiteY723" fmla="*/ 222968 h 871769"/>
                <a:gd name="connsiteX724" fmla="*/ 1978829 w 4009365"/>
                <a:gd name="connsiteY724" fmla="*/ 223963 h 871769"/>
                <a:gd name="connsiteX725" fmla="*/ 1978829 w 4009365"/>
                <a:gd name="connsiteY725" fmla="*/ 214589 h 871769"/>
                <a:gd name="connsiteX726" fmla="*/ 1965003 w 4009365"/>
                <a:gd name="connsiteY726" fmla="*/ 214533 h 871769"/>
                <a:gd name="connsiteX727" fmla="*/ 1965003 w 4009365"/>
                <a:gd name="connsiteY727" fmla="*/ 223935 h 871769"/>
                <a:gd name="connsiteX728" fmla="*/ 1965998 w 4009365"/>
                <a:gd name="connsiteY728" fmla="*/ 222940 h 871769"/>
                <a:gd name="connsiteX729" fmla="*/ 1965998 w 4009365"/>
                <a:gd name="connsiteY729" fmla="*/ 220838 h 871769"/>
                <a:gd name="connsiteX730" fmla="*/ 1967270 w 4009365"/>
                <a:gd name="connsiteY730" fmla="*/ 220838 h 871769"/>
                <a:gd name="connsiteX731" fmla="*/ 1967270 w 4009365"/>
                <a:gd name="connsiteY731" fmla="*/ 214533 h 871769"/>
                <a:gd name="connsiteX732" fmla="*/ 2526143 w 4009365"/>
                <a:gd name="connsiteY732" fmla="*/ 138874 h 871769"/>
                <a:gd name="connsiteX733" fmla="*/ 2533526 w 4009365"/>
                <a:gd name="connsiteY733" fmla="*/ 138874 h 871769"/>
                <a:gd name="connsiteX734" fmla="*/ 2533526 w 4009365"/>
                <a:gd name="connsiteY734" fmla="*/ 160112 h 871769"/>
                <a:gd name="connsiteX735" fmla="*/ 2576001 w 4009365"/>
                <a:gd name="connsiteY735" fmla="*/ 160112 h 871769"/>
                <a:gd name="connsiteX736" fmla="*/ 2579596 w 4009365"/>
                <a:gd name="connsiteY736" fmla="*/ 570873 h 871769"/>
                <a:gd name="connsiteX737" fmla="*/ 2675719 w 4009365"/>
                <a:gd name="connsiteY737" fmla="*/ 570873 h 871769"/>
                <a:gd name="connsiteX738" fmla="*/ 2680337 w 4009365"/>
                <a:gd name="connsiteY738" fmla="*/ 275481 h 871769"/>
                <a:gd name="connsiteX739" fmla="*/ 2686808 w 4009365"/>
                <a:gd name="connsiteY739" fmla="*/ 275481 h 871769"/>
                <a:gd name="connsiteX740" fmla="*/ 2686808 w 4009365"/>
                <a:gd name="connsiteY740" fmla="*/ 257949 h 871769"/>
                <a:gd name="connsiteX741" fmla="*/ 2680337 w 4009365"/>
                <a:gd name="connsiteY741" fmla="*/ 257949 h 871769"/>
                <a:gd name="connsiteX742" fmla="*/ 2680337 w 4009365"/>
                <a:gd name="connsiteY742" fmla="*/ 241329 h 871769"/>
                <a:gd name="connsiteX743" fmla="*/ 2764375 w 4009365"/>
                <a:gd name="connsiteY743" fmla="*/ 241329 h 871769"/>
                <a:gd name="connsiteX744" fmla="*/ 2764375 w 4009365"/>
                <a:gd name="connsiteY744" fmla="*/ 213648 h 871769"/>
                <a:gd name="connsiteX745" fmla="*/ 2865006 w 4009365"/>
                <a:gd name="connsiteY745" fmla="*/ 213648 h 871769"/>
                <a:gd name="connsiteX746" fmla="*/ 2865006 w 4009365"/>
                <a:gd name="connsiteY746" fmla="*/ 241329 h 871769"/>
                <a:gd name="connsiteX747" fmla="*/ 2949044 w 4009365"/>
                <a:gd name="connsiteY747" fmla="*/ 241329 h 871769"/>
                <a:gd name="connsiteX748" fmla="*/ 2949044 w 4009365"/>
                <a:gd name="connsiteY748" fmla="*/ 257949 h 871769"/>
                <a:gd name="connsiteX749" fmla="*/ 2943513 w 4009365"/>
                <a:gd name="connsiteY749" fmla="*/ 257949 h 871769"/>
                <a:gd name="connsiteX750" fmla="*/ 2943513 w 4009365"/>
                <a:gd name="connsiteY750" fmla="*/ 275481 h 871769"/>
                <a:gd name="connsiteX751" fmla="*/ 2949044 w 4009365"/>
                <a:gd name="connsiteY751" fmla="*/ 275481 h 871769"/>
                <a:gd name="connsiteX752" fmla="*/ 2954243 w 4009365"/>
                <a:gd name="connsiteY752" fmla="*/ 840272 h 871769"/>
                <a:gd name="connsiteX753" fmla="*/ 2962981 w 4009365"/>
                <a:gd name="connsiteY753" fmla="*/ 666028 h 871769"/>
                <a:gd name="connsiteX754" fmla="*/ 2967406 w 4009365"/>
                <a:gd name="connsiteY754" fmla="*/ 660276 h 871769"/>
                <a:gd name="connsiteX755" fmla="*/ 2967406 w 4009365"/>
                <a:gd name="connsiteY755" fmla="*/ 590756 h 871769"/>
                <a:gd name="connsiteX756" fmla="*/ 2970614 w 4009365"/>
                <a:gd name="connsiteY756" fmla="*/ 589180 h 871769"/>
                <a:gd name="connsiteX757" fmla="*/ 2969176 w 4009365"/>
                <a:gd name="connsiteY757" fmla="*/ 587355 h 871769"/>
                <a:gd name="connsiteX758" fmla="*/ 2969176 w 4009365"/>
                <a:gd name="connsiteY758" fmla="*/ 583815 h 871769"/>
                <a:gd name="connsiteX759" fmla="*/ 2973600 w 4009365"/>
                <a:gd name="connsiteY759" fmla="*/ 582349 h 871769"/>
                <a:gd name="connsiteX760" fmla="*/ 2973600 w 4009365"/>
                <a:gd name="connsiteY760" fmla="*/ 574828 h 871769"/>
                <a:gd name="connsiteX761" fmla="*/ 2972107 w 4009365"/>
                <a:gd name="connsiteY761" fmla="*/ 573224 h 871769"/>
                <a:gd name="connsiteX762" fmla="*/ 2975950 w 4009365"/>
                <a:gd name="connsiteY762" fmla="*/ 563324 h 871769"/>
                <a:gd name="connsiteX763" fmla="*/ 2977278 w 4009365"/>
                <a:gd name="connsiteY763" fmla="*/ 563324 h 871769"/>
                <a:gd name="connsiteX764" fmla="*/ 2979352 w 4009365"/>
                <a:gd name="connsiteY764" fmla="*/ 558734 h 871769"/>
                <a:gd name="connsiteX765" fmla="*/ 2978633 w 4009365"/>
                <a:gd name="connsiteY765" fmla="*/ 557545 h 871769"/>
                <a:gd name="connsiteX766" fmla="*/ 2980403 w 4009365"/>
                <a:gd name="connsiteY766" fmla="*/ 556798 h 871769"/>
                <a:gd name="connsiteX767" fmla="*/ 2979214 w 4009365"/>
                <a:gd name="connsiteY767" fmla="*/ 554724 h 871769"/>
                <a:gd name="connsiteX768" fmla="*/ 2981426 w 4009365"/>
                <a:gd name="connsiteY768" fmla="*/ 550880 h 871769"/>
                <a:gd name="connsiteX769" fmla="*/ 2983334 w 4009365"/>
                <a:gd name="connsiteY769" fmla="*/ 554724 h 871769"/>
                <a:gd name="connsiteX770" fmla="*/ 2982145 w 4009365"/>
                <a:gd name="connsiteY770" fmla="*/ 556494 h 871769"/>
                <a:gd name="connsiteX771" fmla="*/ 2984496 w 4009365"/>
                <a:gd name="connsiteY771" fmla="*/ 557379 h 871769"/>
                <a:gd name="connsiteX772" fmla="*/ 2983168 w 4009365"/>
                <a:gd name="connsiteY772" fmla="*/ 559010 h 871769"/>
                <a:gd name="connsiteX773" fmla="*/ 2989528 w 4009365"/>
                <a:gd name="connsiteY773" fmla="*/ 573196 h 871769"/>
                <a:gd name="connsiteX774" fmla="*/ 2987758 w 4009365"/>
                <a:gd name="connsiteY774" fmla="*/ 575409 h 871769"/>
                <a:gd name="connsiteX775" fmla="*/ 2988007 w 4009365"/>
                <a:gd name="connsiteY775" fmla="*/ 580552 h 871769"/>
                <a:gd name="connsiteX776" fmla="*/ 3031312 w 4009365"/>
                <a:gd name="connsiteY776" fmla="*/ 559121 h 871769"/>
                <a:gd name="connsiteX777" fmla="*/ 3031312 w 4009365"/>
                <a:gd name="connsiteY777" fmla="*/ 542778 h 871769"/>
                <a:gd name="connsiteX778" fmla="*/ 3033386 w 4009365"/>
                <a:gd name="connsiteY778" fmla="*/ 542778 h 871769"/>
                <a:gd name="connsiteX779" fmla="*/ 3034852 w 4009365"/>
                <a:gd name="connsiteY779" fmla="*/ 537164 h 871769"/>
                <a:gd name="connsiteX780" fmla="*/ 3034271 w 4009365"/>
                <a:gd name="connsiteY780" fmla="*/ 536583 h 871769"/>
                <a:gd name="connsiteX781" fmla="*/ 3035156 w 4009365"/>
                <a:gd name="connsiteY781" fmla="*/ 535118 h 871769"/>
                <a:gd name="connsiteX782" fmla="*/ 3034409 w 4009365"/>
                <a:gd name="connsiteY782" fmla="*/ 533210 h 871769"/>
                <a:gd name="connsiteX783" fmla="*/ 3036318 w 4009365"/>
                <a:gd name="connsiteY783" fmla="*/ 530859 h 871769"/>
                <a:gd name="connsiteX784" fmla="*/ 3038088 w 4009365"/>
                <a:gd name="connsiteY784" fmla="*/ 533071 h 871769"/>
                <a:gd name="connsiteX785" fmla="*/ 3037202 w 4009365"/>
                <a:gd name="connsiteY785" fmla="*/ 534979 h 871769"/>
                <a:gd name="connsiteX786" fmla="*/ 3038088 w 4009365"/>
                <a:gd name="connsiteY786" fmla="*/ 536307 h 871769"/>
                <a:gd name="connsiteX787" fmla="*/ 3037341 w 4009365"/>
                <a:gd name="connsiteY787" fmla="*/ 537772 h 871769"/>
                <a:gd name="connsiteX788" fmla="*/ 3039249 w 4009365"/>
                <a:gd name="connsiteY788" fmla="*/ 543386 h 871769"/>
                <a:gd name="connsiteX789" fmla="*/ 3041323 w 4009365"/>
                <a:gd name="connsiteY789" fmla="*/ 543524 h 871769"/>
                <a:gd name="connsiteX790" fmla="*/ 3041323 w 4009365"/>
                <a:gd name="connsiteY790" fmla="*/ 554143 h 871769"/>
                <a:gd name="connsiteX791" fmla="*/ 3054762 w 4009365"/>
                <a:gd name="connsiteY791" fmla="*/ 547506 h 871769"/>
                <a:gd name="connsiteX792" fmla="*/ 3054762 w 4009365"/>
                <a:gd name="connsiteY792" fmla="*/ 533486 h 871769"/>
                <a:gd name="connsiteX793" fmla="*/ 3057417 w 4009365"/>
                <a:gd name="connsiteY793" fmla="*/ 533486 h 871769"/>
                <a:gd name="connsiteX794" fmla="*/ 3060376 w 4009365"/>
                <a:gd name="connsiteY794" fmla="*/ 525356 h 871769"/>
                <a:gd name="connsiteX795" fmla="*/ 3058744 w 4009365"/>
                <a:gd name="connsiteY795" fmla="*/ 525356 h 871769"/>
                <a:gd name="connsiteX796" fmla="*/ 3057583 w 4009365"/>
                <a:gd name="connsiteY796" fmla="*/ 520932 h 871769"/>
                <a:gd name="connsiteX797" fmla="*/ 3066432 w 4009365"/>
                <a:gd name="connsiteY797" fmla="*/ 515760 h 871769"/>
                <a:gd name="connsiteX798" fmla="*/ 3067483 w 4009365"/>
                <a:gd name="connsiteY798" fmla="*/ 450360 h 871769"/>
                <a:gd name="connsiteX799" fmla="*/ 3065851 w 4009365"/>
                <a:gd name="connsiteY799" fmla="*/ 448286 h 871769"/>
                <a:gd name="connsiteX800" fmla="*/ 3065851 w 4009365"/>
                <a:gd name="connsiteY800" fmla="*/ 445466 h 871769"/>
                <a:gd name="connsiteX801" fmla="*/ 3067483 w 4009365"/>
                <a:gd name="connsiteY801" fmla="*/ 444138 h 871769"/>
                <a:gd name="connsiteX802" fmla="*/ 3068064 w 4009365"/>
                <a:gd name="connsiteY802" fmla="*/ 425251 h 871769"/>
                <a:gd name="connsiteX803" fmla="*/ 3065713 w 4009365"/>
                <a:gd name="connsiteY803" fmla="*/ 423177 h 871769"/>
                <a:gd name="connsiteX804" fmla="*/ 3065713 w 4009365"/>
                <a:gd name="connsiteY804" fmla="*/ 420523 h 871769"/>
                <a:gd name="connsiteX805" fmla="*/ 3068064 w 4009365"/>
                <a:gd name="connsiteY805" fmla="*/ 419333 h 871769"/>
                <a:gd name="connsiteX806" fmla="*/ 3068064 w 4009365"/>
                <a:gd name="connsiteY806" fmla="*/ 411950 h 871769"/>
                <a:gd name="connsiteX807" fmla="*/ 3067179 w 4009365"/>
                <a:gd name="connsiteY807" fmla="*/ 410623 h 871769"/>
                <a:gd name="connsiteX808" fmla="*/ 3067013 w 4009365"/>
                <a:gd name="connsiteY808" fmla="*/ 408410 h 871769"/>
                <a:gd name="connsiteX809" fmla="*/ 3071161 w 4009365"/>
                <a:gd name="connsiteY809" fmla="*/ 402852 h 871769"/>
                <a:gd name="connsiteX810" fmla="*/ 3071161 w 4009365"/>
                <a:gd name="connsiteY810" fmla="*/ 397653 h 871769"/>
                <a:gd name="connsiteX811" fmla="*/ 3069972 w 4009365"/>
                <a:gd name="connsiteY811" fmla="*/ 395137 h 871769"/>
                <a:gd name="connsiteX812" fmla="*/ 3076166 w 4009365"/>
                <a:gd name="connsiteY812" fmla="*/ 383025 h 871769"/>
                <a:gd name="connsiteX813" fmla="*/ 3075585 w 4009365"/>
                <a:gd name="connsiteY813" fmla="*/ 379928 h 871769"/>
                <a:gd name="connsiteX814" fmla="*/ 3077659 w 4009365"/>
                <a:gd name="connsiteY814" fmla="*/ 376969 h 871769"/>
                <a:gd name="connsiteX815" fmla="*/ 3079125 w 4009365"/>
                <a:gd name="connsiteY815" fmla="*/ 379623 h 871769"/>
                <a:gd name="connsiteX816" fmla="*/ 3078240 w 4009365"/>
                <a:gd name="connsiteY816" fmla="*/ 382859 h 871769"/>
                <a:gd name="connsiteX817" fmla="*/ 3080010 w 4009365"/>
                <a:gd name="connsiteY817" fmla="*/ 385209 h 871769"/>
                <a:gd name="connsiteX818" fmla="*/ 3099007 w 4009365"/>
                <a:gd name="connsiteY818" fmla="*/ 257285 h 871769"/>
                <a:gd name="connsiteX819" fmla="*/ 3097127 w 4009365"/>
                <a:gd name="connsiteY819" fmla="*/ 254078 h 871769"/>
                <a:gd name="connsiteX820" fmla="*/ 3100280 w 4009365"/>
                <a:gd name="connsiteY820" fmla="*/ 250289 h 871769"/>
                <a:gd name="connsiteX821" fmla="*/ 3100280 w 4009365"/>
                <a:gd name="connsiteY821" fmla="*/ 237430 h 871769"/>
                <a:gd name="connsiteX822" fmla="*/ 3094445 w 4009365"/>
                <a:gd name="connsiteY822" fmla="*/ 237458 h 871769"/>
                <a:gd name="connsiteX823" fmla="*/ 3093145 w 4009365"/>
                <a:gd name="connsiteY823" fmla="*/ 238758 h 871769"/>
                <a:gd name="connsiteX824" fmla="*/ 3091845 w 4009365"/>
                <a:gd name="connsiteY824" fmla="*/ 237458 h 871769"/>
                <a:gd name="connsiteX825" fmla="*/ 3091845 w 4009365"/>
                <a:gd name="connsiteY825" fmla="*/ 237403 h 871769"/>
                <a:gd name="connsiteX826" fmla="*/ 3090573 w 4009365"/>
                <a:gd name="connsiteY826" fmla="*/ 235854 h 871769"/>
                <a:gd name="connsiteX827" fmla="*/ 3091873 w 4009365"/>
                <a:gd name="connsiteY827" fmla="*/ 234305 h 871769"/>
                <a:gd name="connsiteX828" fmla="*/ 3093145 w 4009365"/>
                <a:gd name="connsiteY828" fmla="*/ 233227 h 871769"/>
                <a:gd name="connsiteX829" fmla="*/ 3094417 w 4009365"/>
                <a:gd name="connsiteY829" fmla="*/ 234278 h 871769"/>
                <a:gd name="connsiteX830" fmla="*/ 3100280 w 4009365"/>
                <a:gd name="connsiteY830" fmla="*/ 234278 h 871769"/>
                <a:gd name="connsiteX831" fmla="*/ 3100280 w 4009365"/>
                <a:gd name="connsiteY831" fmla="*/ 228526 h 871769"/>
                <a:gd name="connsiteX832" fmla="*/ 3100141 w 4009365"/>
                <a:gd name="connsiteY832" fmla="*/ 228526 h 871769"/>
                <a:gd name="connsiteX833" fmla="*/ 3099007 w 4009365"/>
                <a:gd name="connsiteY833" fmla="*/ 227392 h 871769"/>
                <a:gd name="connsiteX834" fmla="*/ 3100141 w 4009365"/>
                <a:gd name="connsiteY834" fmla="*/ 226258 h 871769"/>
                <a:gd name="connsiteX835" fmla="*/ 3100280 w 4009365"/>
                <a:gd name="connsiteY835" fmla="*/ 226258 h 871769"/>
                <a:gd name="connsiteX836" fmla="*/ 3100280 w 4009365"/>
                <a:gd name="connsiteY836" fmla="*/ 225954 h 871769"/>
                <a:gd name="connsiteX837" fmla="*/ 3101911 w 4009365"/>
                <a:gd name="connsiteY837" fmla="*/ 224323 h 871769"/>
                <a:gd name="connsiteX838" fmla="*/ 3103543 w 4009365"/>
                <a:gd name="connsiteY838" fmla="*/ 225954 h 871769"/>
                <a:gd name="connsiteX839" fmla="*/ 3103543 w 4009365"/>
                <a:gd name="connsiteY839" fmla="*/ 226258 h 871769"/>
                <a:gd name="connsiteX840" fmla="*/ 3104677 w 4009365"/>
                <a:gd name="connsiteY840" fmla="*/ 227392 h 871769"/>
                <a:gd name="connsiteX841" fmla="*/ 3103543 w 4009365"/>
                <a:gd name="connsiteY841" fmla="*/ 228526 h 871769"/>
                <a:gd name="connsiteX842" fmla="*/ 3103543 w 4009365"/>
                <a:gd name="connsiteY842" fmla="*/ 234278 h 871769"/>
                <a:gd name="connsiteX843" fmla="*/ 3109516 w 4009365"/>
                <a:gd name="connsiteY843" fmla="*/ 234278 h 871769"/>
                <a:gd name="connsiteX844" fmla="*/ 3110622 w 4009365"/>
                <a:gd name="connsiteY844" fmla="*/ 233227 h 871769"/>
                <a:gd name="connsiteX845" fmla="*/ 3111728 w 4009365"/>
                <a:gd name="connsiteY845" fmla="*/ 234278 h 871769"/>
                <a:gd name="connsiteX846" fmla="*/ 3113221 w 4009365"/>
                <a:gd name="connsiteY846" fmla="*/ 235826 h 871769"/>
                <a:gd name="connsiteX847" fmla="*/ 3111728 w 4009365"/>
                <a:gd name="connsiteY847" fmla="*/ 237403 h 871769"/>
                <a:gd name="connsiteX848" fmla="*/ 3111728 w 4009365"/>
                <a:gd name="connsiteY848" fmla="*/ 237956 h 871769"/>
                <a:gd name="connsiteX849" fmla="*/ 3110622 w 4009365"/>
                <a:gd name="connsiteY849" fmla="*/ 239062 h 871769"/>
                <a:gd name="connsiteX850" fmla="*/ 3109516 w 4009365"/>
                <a:gd name="connsiteY850" fmla="*/ 237956 h 871769"/>
                <a:gd name="connsiteX851" fmla="*/ 3109516 w 4009365"/>
                <a:gd name="connsiteY851" fmla="*/ 237403 h 871769"/>
                <a:gd name="connsiteX852" fmla="*/ 3103543 w 4009365"/>
                <a:gd name="connsiteY852" fmla="*/ 237403 h 871769"/>
                <a:gd name="connsiteX853" fmla="*/ 3103543 w 4009365"/>
                <a:gd name="connsiteY853" fmla="*/ 250289 h 871769"/>
                <a:gd name="connsiteX854" fmla="*/ 3106584 w 4009365"/>
                <a:gd name="connsiteY854" fmla="*/ 254022 h 871769"/>
                <a:gd name="connsiteX855" fmla="*/ 3104455 w 4009365"/>
                <a:gd name="connsiteY855" fmla="*/ 257368 h 871769"/>
                <a:gd name="connsiteX856" fmla="*/ 3123426 w 4009365"/>
                <a:gd name="connsiteY856" fmla="*/ 385126 h 871769"/>
                <a:gd name="connsiteX857" fmla="*/ 3125195 w 4009365"/>
                <a:gd name="connsiteY857" fmla="*/ 382776 h 871769"/>
                <a:gd name="connsiteX858" fmla="*/ 3124310 w 4009365"/>
                <a:gd name="connsiteY858" fmla="*/ 379540 h 871769"/>
                <a:gd name="connsiteX859" fmla="*/ 3125776 w 4009365"/>
                <a:gd name="connsiteY859" fmla="*/ 376886 h 871769"/>
                <a:gd name="connsiteX860" fmla="*/ 3127850 w 4009365"/>
                <a:gd name="connsiteY860" fmla="*/ 379845 h 871769"/>
                <a:gd name="connsiteX861" fmla="*/ 3127269 w 4009365"/>
                <a:gd name="connsiteY861" fmla="*/ 382942 h 871769"/>
                <a:gd name="connsiteX862" fmla="*/ 3133464 w 4009365"/>
                <a:gd name="connsiteY862" fmla="*/ 395054 h 871769"/>
                <a:gd name="connsiteX863" fmla="*/ 3132302 w 4009365"/>
                <a:gd name="connsiteY863" fmla="*/ 397570 h 871769"/>
                <a:gd name="connsiteX864" fmla="*/ 3132302 w 4009365"/>
                <a:gd name="connsiteY864" fmla="*/ 402769 h 871769"/>
                <a:gd name="connsiteX865" fmla="*/ 3136422 w 4009365"/>
                <a:gd name="connsiteY865" fmla="*/ 408327 h 871769"/>
                <a:gd name="connsiteX866" fmla="*/ 3136284 w 4009365"/>
                <a:gd name="connsiteY866" fmla="*/ 410540 h 871769"/>
                <a:gd name="connsiteX867" fmla="*/ 3135399 w 4009365"/>
                <a:gd name="connsiteY867" fmla="*/ 411867 h 871769"/>
                <a:gd name="connsiteX868" fmla="*/ 3135399 w 4009365"/>
                <a:gd name="connsiteY868" fmla="*/ 419251 h 871769"/>
                <a:gd name="connsiteX869" fmla="*/ 3137750 w 4009365"/>
                <a:gd name="connsiteY869" fmla="*/ 420440 h 871769"/>
                <a:gd name="connsiteX870" fmla="*/ 3137750 w 4009365"/>
                <a:gd name="connsiteY870" fmla="*/ 423094 h 871769"/>
                <a:gd name="connsiteX871" fmla="*/ 3135399 w 4009365"/>
                <a:gd name="connsiteY871" fmla="*/ 425168 h 871769"/>
                <a:gd name="connsiteX872" fmla="*/ 3135980 w 4009365"/>
                <a:gd name="connsiteY872" fmla="*/ 444056 h 871769"/>
                <a:gd name="connsiteX873" fmla="*/ 3137612 w 4009365"/>
                <a:gd name="connsiteY873" fmla="*/ 445383 h 871769"/>
                <a:gd name="connsiteX874" fmla="*/ 3137612 w 4009365"/>
                <a:gd name="connsiteY874" fmla="*/ 448203 h 871769"/>
                <a:gd name="connsiteX875" fmla="*/ 3135980 w 4009365"/>
                <a:gd name="connsiteY875" fmla="*/ 450277 h 871769"/>
                <a:gd name="connsiteX876" fmla="*/ 3137003 w 4009365"/>
                <a:gd name="connsiteY876" fmla="*/ 515677 h 871769"/>
                <a:gd name="connsiteX877" fmla="*/ 3145852 w 4009365"/>
                <a:gd name="connsiteY877" fmla="*/ 520849 h 871769"/>
                <a:gd name="connsiteX878" fmla="*/ 3144691 w 4009365"/>
                <a:gd name="connsiteY878" fmla="*/ 525273 h 871769"/>
                <a:gd name="connsiteX879" fmla="*/ 3143059 w 4009365"/>
                <a:gd name="connsiteY879" fmla="*/ 525273 h 871769"/>
                <a:gd name="connsiteX880" fmla="*/ 3146018 w 4009365"/>
                <a:gd name="connsiteY880" fmla="*/ 533403 h 871769"/>
                <a:gd name="connsiteX881" fmla="*/ 3148673 w 4009365"/>
                <a:gd name="connsiteY881" fmla="*/ 533403 h 871769"/>
                <a:gd name="connsiteX882" fmla="*/ 3148673 w 4009365"/>
                <a:gd name="connsiteY882" fmla="*/ 547423 h 871769"/>
                <a:gd name="connsiteX883" fmla="*/ 3162112 w 4009365"/>
                <a:gd name="connsiteY883" fmla="*/ 554060 h 871769"/>
                <a:gd name="connsiteX884" fmla="*/ 3162112 w 4009365"/>
                <a:gd name="connsiteY884" fmla="*/ 543441 h 871769"/>
                <a:gd name="connsiteX885" fmla="*/ 3164186 w 4009365"/>
                <a:gd name="connsiteY885" fmla="*/ 543303 h 871769"/>
                <a:gd name="connsiteX886" fmla="*/ 3166122 w 4009365"/>
                <a:gd name="connsiteY886" fmla="*/ 537689 h 871769"/>
                <a:gd name="connsiteX887" fmla="*/ 3165375 w 4009365"/>
                <a:gd name="connsiteY887" fmla="*/ 536224 h 871769"/>
                <a:gd name="connsiteX888" fmla="*/ 3166260 w 4009365"/>
                <a:gd name="connsiteY888" fmla="*/ 534896 h 871769"/>
                <a:gd name="connsiteX889" fmla="*/ 3165375 w 4009365"/>
                <a:gd name="connsiteY889" fmla="*/ 532988 h 871769"/>
                <a:gd name="connsiteX890" fmla="*/ 3167145 w 4009365"/>
                <a:gd name="connsiteY890" fmla="*/ 530776 h 871769"/>
                <a:gd name="connsiteX891" fmla="*/ 3169053 w 4009365"/>
                <a:gd name="connsiteY891" fmla="*/ 533127 h 871769"/>
                <a:gd name="connsiteX892" fmla="*/ 3168307 w 4009365"/>
                <a:gd name="connsiteY892" fmla="*/ 535035 h 871769"/>
                <a:gd name="connsiteX893" fmla="*/ 3169191 w 4009365"/>
                <a:gd name="connsiteY893" fmla="*/ 536500 h 871769"/>
                <a:gd name="connsiteX894" fmla="*/ 3168611 w 4009365"/>
                <a:gd name="connsiteY894" fmla="*/ 537081 h 871769"/>
                <a:gd name="connsiteX895" fmla="*/ 3170077 w 4009365"/>
                <a:gd name="connsiteY895" fmla="*/ 542695 h 871769"/>
                <a:gd name="connsiteX896" fmla="*/ 3172151 w 4009365"/>
                <a:gd name="connsiteY896" fmla="*/ 542695 h 871769"/>
                <a:gd name="connsiteX897" fmla="*/ 3172151 w 4009365"/>
                <a:gd name="connsiteY897" fmla="*/ 559038 h 871769"/>
                <a:gd name="connsiteX898" fmla="*/ 3215455 w 4009365"/>
                <a:gd name="connsiteY898" fmla="*/ 580469 h 871769"/>
                <a:gd name="connsiteX899" fmla="*/ 3215704 w 4009365"/>
                <a:gd name="connsiteY899" fmla="*/ 575326 h 871769"/>
                <a:gd name="connsiteX900" fmla="*/ 3213935 w 4009365"/>
                <a:gd name="connsiteY900" fmla="*/ 573113 h 871769"/>
                <a:gd name="connsiteX901" fmla="*/ 3220267 w 4009365"/>
                <a:gd name="connsiteY901" fmla="*/ 558927 h 871769"/>
                <a:gd name="connsiteX902" fmla="*/ 3218940 w 4009365"/>
                <a:gd name="connsiteY902" fmla="*/ 557296 h 871769"/>
                <a:gd name="connsiteX903" fmla="*/ 3221290 w 4009365"/>
                <a:gd name="connsiteY903" fmla="*/ 556411 h 871769"/>
                <a:gd name="connsiteX904" fmla="*/ 3220129 w 4009365"/>
                <a:gd name="connsiteY904" fmla="*/ 554641 h 871769"/>
                <a:gd name="connsiteX905" fmla="*/ 3222037 w 4009365"/>
                <a:gd name="connsiteY905" fmla="*/ 550797 h 871769"/>
                <a:gd name="connsiteX906" fmla="*/ 3224249 w 4009365"/>
                <a:gd name="connsiteY906" fmla="*/ 554641 h 871769"/>
                <a:gd name="connsiteX907" fmla="*/ 3223060 w 4009365"/>
                <a:gd name="connsiteY907" fmla="*/ 556715 h 871769"/>
                <a:gd name="connsiteX908" fmla="*/ 3224830 w 4009365"/>
                <a:gd name="connsiteY908" fmla="*/ 557462 h 871769"/>
                <a:gd name="connsiteX909" fmla="*/ 3224083 w 4009365"/>
                <a:gd name="connsiteY909" fmla="*/ 558651 h 871769"/>
                <a:gd name="connsiteX910" fmla="*/ 3226157 w 4009365"/>
                <a:gd name="connsiteY910" fmla="*/ 563241 h 871769"/>
                <a:gd name="connsiteX911" fmla="*/ 3227485 w 4009365"/>
                <a:gd name="connsiteY911" fmla="*/ 563241 h 871769"/>
                <a:gd name="connsiteX912" fmla="*/ 3231328 w 4009365"/>
                <a:gd name="connsiteY912" fmla="*/ 573141 h 871769"/>
                <a:gd name="connsiteX913" fmla="*/ 3229863 w 4009365"/>
                <a:gd name="connsiteY913" fmla="*/ 574745 h 871769"/>
                <a:gd name="connsiteX914" fmla="*/ 3229863 w 4009365"/>
                <a:gd name="connsiteY914" fmla="*/ 582267 h 871769"/>
                <a:gd name="connsiteX915" fmla="*/ 3234287 w 4009365"/>
                <a:gd name="connsiteY915" fmla="*/ 583732 h 871769"/>
                <a:gd name="connsiteX916" fmla="*/ 3234287 w 4009365"/>
                <a:gd name="connsiteY916" fmla="*/ 587272 h 871769"/>
                <a:gd name="connsiteX917" fmla="*/ 3232849 w 4009365"/>
                <a:gd name="connsiteY917" fmla="*/ 589097 h 871769"/>
                <a:gd name="connsiteX918" fmla="*/ 3236057 w 4009365"/>
                <a:gd name="connsiteY918" fmla="*/ 590673 h 871769"/>
                <a:gd name="connsiteX919" fmla="*/ 3236057 w 4009365"/>
                <a:gd name="connsiteY919" fmla="*/ 660193 h 871769"/>
                <a:gd name="connsiteX920" fmla="*/ 3240482 w 4009365"/>
                <a:gd name="connsiteY920" fmla="*/ 665945 h 871769"/>
                <a:gd name="connsiteX921" fmla="*/ 3249082 w 4009365"/>
                <a:gd name="connsiteY921" fmla="*/ 840189 h 871769"/>
                <a:gd name="connsiteX922" fmla="*/ 3253755 w 4009365"/>
                <a:gd name="connsiteY922" fmla="*/ 602619 h 871769"/>
                <a:gd name="connsiteX923" fmla="*/ 3299549 w 4009365"/>
                <a:gd name="connsiteY923" fmla="*/ 553009 h 871769"/>
                <a:gd name="connsiteX924" fmla="*/ 3299549 w 4009365"/>
                <a:gd name="connsiteY924" fmla="*/ 518028 h 871769"/>
                <a:gd name="connsiteX925" fmla="*/ 3314979 w 4009365"/>
                <a:gd name="connsiteY925" fmla="*/ 518028 h 871769"/>
                <a:gd name="connsiteX926" fmla="*/ 3314979 w 4009365"/>
                <a:gd name="connsiteY926" fmla="*/ 536279 h 871769"/>
                <a:gd name="connsiteX927" fmla="*/ 3348827 w 4009365"/>
                <a:gd name="connsiteY927" fmla="*/ 499611 h 871769"/>
                <a:gd name="connsiteX928" fmla="*/ 3451863 w 4009365"/>
                <a:gd name="connsiteY928" fmla="*/ 602619 h 871769"/>
                <a:gd name="connsiteX929" fmla="*/ 3458832 w 4009365"/>
                <a:gd name="connsiteY929" fmla="*/ 602619 h 871769"/>
                <a:gd name="connsiteX930" fmla="*/ 3458832 w 4009365"/>
                <a:gd name="connsiteY930" fmla="*/ 580469 h 871769"/>
                <a:gd name="connsiteX931" fmla="*/ 3455347 w 4009365"/>
                <a:gd name="connsiteY931" fmla="*/ 580469 h 871769"/>
                <a:gd name="connsiteX932" fmla="*/ 3455347 w 4009365"/>
                <a:gd name="connsiteY932" fmla="*/ 577234 h 871769"/>
                <a:gd name="connsiteX933" fmla="*/ 3458832 w 4009365"/>
                <a:gd name="connsiteY933" fmla="*/ 577234 h 871769"/>
                <a:gd name="connsiteX934" fmla="*/ 3458832 w 4009365"/>
                <a:gd name="connsiteY934" fmla="*/ 485812 h 871769"/>
                <a:gd name="connsiteX935" fmla="*/ 3454103 w 4009365"/>
                <a:gd name="connsiteY935" fmla="*/ 477184 h 871769"/>
                <a:gd name="connsiteX936" fmla="*/ 3458832 w 4009365"/>
                <a:gd name="connsiteY936" fmla="*/ 477184 h 871769"/>
                <a:gd name="connsiteX937" fmla="*/ 3458832 w 4009365"/>
                <a:gd name="connsiteY937" fmla="*/ 455283 h 871769"/>
                <a:gd name="connsiteX938" fmla="*/ 3460187 w 4009365"/>
                <a:gd name="connsiteY938" fmla="*/ 455283 h 871769"/>
                <a:gd name="connsiteX939" fmla="*/ 3460187 w 4009365"/>
                <a:gd name="connsiteY939" fmla="*/ 450056 h 871769"/>
                <a:gd name="connsiteX940" fmla="*/ 3461321 w 4009365"/>
                <a:gd name="connsiteY940" fmla="*/ 450056 h 871769"/>
                <a:gd name="connsiteX941" fmla="*/ 3461321 w 4009365"/>
                <a:gd name="connsiteY941" fmla="*/ 445189 h 871769"/>
                <a:gd name="connsiteX942" fmla="*/ 3462067 w 4009365"/>
                <a:gd name="connsiteY942" fmla="*/ 445189 h 871769"/>
                <a:gd name="connsiteX943" fmla="*/ 3462067 w 4009365"/>
                <a:gd name="connsiteY943" fmla="*/ 439714 h 871769"/>
                <a:gd name="connsiteX944" fmla="*/ 3463173 w 4009365"/>
                <a:gd name="connsiteY944" fmla="*/ 439714 h 871769"/>
                <a:gd name="connsiteX945" fmla="*/ 3463173 w 4009365"/>
                <a:gd name="connsiteY945" fmla="*/ 434736 h 871769"/>
                <a:gd name="connsiteX946" fmla="*/ 3464418 w 4009365"/>
                <a:gd name="connsiteY946" fmla="*/ 434736 h 871769"/>
                <a:gd name="connsiteX947" fmla="*/ 3466492 w 4009365"/>
                <a:gd name="connsiteY947" fmla="*/ 422928 h 871769"/>
                <a:gd name="connsiteX948" fmla="*/ 3468676 w 4009365"/>
                <a:gd name="connsiteY948" fmla="*/ 434736 h 871769"/>
                <a:gd name="connsiteX949" fmla="*/ 3469783 w 4009365"/>
                <a:gd name="connsiteY949" fmla="*/ 434736 h 871769"/>
                <a:gd name="connsiteX950" fmla="*/ 3469783 w 4009365"/>
                <a:gd name="connsiteY950" fmla="*/ 439714 h 871769"/>
                <a:gd name="connsiteX951" fmla="*/ 3470888 w 4009365"/>
                <a:gd name="connsiteY951" fmla="*/ 439714 h 871769"/>
                <a:gd name="connsiteX952" fmla="*/ 3470888 w 4009365"/>
                <a:gd name="connsiteY952" fmla="*/ 445189 h 871769"/>
                <a:gd name="connsiteX953" fmla="*/ 3471884 w 4009365"/>
                <a:gd name="connsiteY953" fmla="*/ 445189 h 871769"/>
                <a:gd name="connsiteX954" fmla="*/ 3471884 w 4009365"/>
                <a:gd name="connsiteY954" fmla="*/ 450056 h 871769"/>
                <a:gd name="connsiteX955" fmla="*/ 3473018 w 4009365"/>
                <a:gd name="connsiteY955" fmla="*/ 450056 h 871769"/>
                <a:gd name="connsiteX956" fmla="*/ 3473018 w 4009365"/>
                <a:gd name="connsiteY956" fmla="*/ 455283 h 871769"/>
                <a:gd name="connsiteX957" fmla="*/ 3475258 w 4009365"/>
                <a:gd name="connsiteY957" fmla="*/ 455283 h 871769"/>
                <a:gd name="connsiteX958" fmla="*/ 3475258 w 4009365"/>
                <a:gd name="connsiteY958" fmla="*/ 458905 h 871769"/>
                <a:gd name="connsiteX959" fmla="*/ 3477996 w 4009365"/>
                <a:gd name="connsiteY959" fmla="*/ 458905 h 871769"/>
                <a:gd name="connsiteX960" fmla="*/ 3477996 w 4009365"/>
                <a:gd name="connsiteY960" fmla="*/ 465127 h 871769"/>
                <a:gd name="connsiteX961" fmla="*/ 3482835 w 4009365"/>
                <a:gd name="connsiteY961" fmla="*/ 465127 h 871769"/>
                <a:gd name="connsiteX962" fmla="*/ 3482835 w 4009365"/>
                <a:gd name="connsiteY962" fmla="*/ 455310 h 871769"/>
                <a:gd name="connsiteX963" fmla="*/ 3490550 w 4009365"/>
                <a:gd name="connsiteY963" fmla="*/ 455310 h 871769"/>
                <a:gd name="connsiteX964" fmla="*/ 3490550 w 4009365"/>
                <a:gd name="connsiteY964" fmla="*/ 448840 h 871769"/>
                <a:gd name="connsiteX965" fmla="*/ 3494726 w 4009365"/>
                <a:gd name="connsiteY965" fmla="*/ 448840 h 871769"/>
                <a:gd name="connsiteX966" fmla="*/ 3494726 w 4009365"/>
                <a:gd name="connsiteY966" fmla="*/ 455310 h 871769"/>
                <a:gd name="connsiteX967" fmla="*/ 3502137 w 4009365"/>
                <a:gd name="connsiteY967" fmla="*/ 455310 h 871769"/>
                <a:gd name="connsiteX968" fmla="*/ 3502137 w 4009365"/>
                <a:gd name="connsiteY968" fmla="*/ 465127 h 871769"/>
                <a:gd name="connsiteX969" fmla="*/ 3506976 w 4009365"/>
                <a:gd name="connsiteY969" fmla="*/ 465127 h 871769"/>
                <a:gd name="connsiteX970" fmla="*/ 3506976 w 4009365"/>
                <a:gd name="connsiteY970" fmla="*/ 458905 h 871769"/>
                <a:gd name="connsiteX971" fmla="*/ 3509852 w 4009365"/>
                <a:gd name="connsiteY971" fmla="*/ 458905 h 871769"/>
                <a:gd name="connsiteX972" fmla="*/ 3509852 w 4009365"/>
                <a:gd name="connsiteY972" fmla="*/ 455283 h 871769"/>
                <a:gd name="connsiteX973" fmla="*/ 3510958 w 4009365"/>
                <a:gd name="connsiteY973" fmla="*/ 455283 h 871769"/>
                <a:gd name="connsiteX974" fmla="*/ 3510958 w 4009365"/>
                <a:gd name="connsiteY974" fmla="*/ 450056 h 871769"/>
                <a:gd name="connsiteX975" fmla="*/ 3512064 w 4009365"/>
                <a:gd name="connsiteY975" fmla="*/ 450056 h 871769"/>
                <a:gd name="connsiteX976" fmla="*/ 3512064 w 4009365"/>
                <a:gd name="connsiteY976" fmla="*/ 445189 h 871769"/>
                <a:gd name="connsiteX977" fmla="*/ 3512811 w 4009365"/>
                <a:gd name="connsiteY977" fmla="*/ 445189 h 871769"/>
                <a:gd name="connsiteX978" fmla="*/ 3512811 w 4009365"/>
                <a:gd name="connsiteY978" fmla="*/ 439714 h 871769"/>
                <a:gd name="connsiteX979" fmla="*/ 3513917 w 4009365"/>
                <a:gd name="connsiteY979" fmla="*/ 439714 h 871769"/>
                <a:gd name="connsiteX980" fmla="*/ 3513917 w 4009365"/>
                <a:gd name="connsiteY980" fmla="*/ 434736 h 871769"/>
                <a:gd name="connsiteX981" fmla="*/ 3515134 w 4009365"/>
                <a:gd name="connsiteY981" fmla="*/ 434736 h 871769"/>
                <a:gd name="connsiteX982" fmla="*/ 3517208 w 4009365"/>
                <a:gd name="connsiteY982" fmla="*/ 422928 h 871769"/>
                <a:gd name="connsiteX983" fmla="*/ 3519392 w 4009365"/>
                <a:gd name="connsiteY983" fmla="*/ 434736 h 871769"/>
                <a:gd name="connsiteX984" fmla="*/ 3520499 w 4009365"/>
                <a:gd name="connsiteY984" fmla="*/ 434736 h 871769"/>
                <a:gd name="connsiteX985" fmla="*/ 3520499 w 4009365"/>
                <a:gd name="connsiteY985" fmla="*/ 439714 h 871769"/>
                <a:gd name="connsiteX986" fmla="*/ 3521632 w 4009365"/>
                <a:gd name="connsiteY986" fmla="*/ 439714 h 871769"/>
                <a:gd name="connsiteX987" fmla="*/ 3521632 w 4009365"/>
                <a:gd name="connsiteY987" fmla="*/ 445189 h 871769"/>
                <a:gd name="connsiteX988" fmla="*/ 3522628 w 4009365"/>
                <a:gd name="connsiteY988" fmla="*/ 445189 h 871769"/>
                <a:gd name="connsiteX989" fmla="*/ 3522628 w 4009365"/>
                <a:gd name="connsiteY989" fmla="*/ 450056 h 871769"/>
                <a:gd name="connsiteX990" fmla="*/ 3523761 w 4009365"/>
                <a:gd name="connsiteY990" fmla="*/ 450056 h 871769"/>
                <a:gd name="connsiteX991" fmla="*/ 3523761 w 4009365"/>
                <a:gd name="connsiteY991" fmla="*/ 455283 h 871769"/>
                <a:gd name="connsiteX992" fmla="*/ 3525504 w 4009365"/>
                <a:gd name="connsiteY992" fmla="*/ 455283 h 871769"/>
                <a:gd name="connsiteX993" fmla="*/ 3525504 w 4009365"/>
                <a:gd name="connsiteY993" fmla="*/ 477184 h 871769"/>
                <a:gd name="connsiteX994" fmla="*/ 3529486 w 4009365"/>
                <a:gd name="connsiteY994" fmla="*/ 477184 h 871769"/>
                <a:gd name="connsiteX995" fmla="*/ 3525504 w 4009365"/>
                <a:gd name="connsiteY995" fmla="*/ 485757 h 871769"/>
                <a:gd name="connsiteX996" fmla="*/ 3525504 w 4009365"/>
                <a:gd name="connsiteY996" fmla="*/ 577206 h 871769"/>
                <a:gd name="connsiteX997" fmla="*/ 3527744 w 4009365"/>
                <a:gd name="connsiteY997" fmla="*/ 577206 h 871769"/>
                <a:gd name="connsiteX998" fmla="*/ 3527744 w 4009365"/>
                <a:gd name="connsiteY998" fmla="*/ 580441 h 871769"/>
                <a:gd name="connsiteX999" fmla="*/ 3525504 w 4009365"/>
                <a:gd name="connsiteY999" fmla="*/ 580441 h 871769"/>
                <a:gd name="connsiteX1000" fmla="*/ 3525504 w 4009365"/>
                <a:gd name="connsiteY1000" fmla="*/ 602592 h 871769"/>
                <a:gd name="connsiteX1001" fmla="*/ 3535072 w 4009365"/>
                <a:gd name="connsiteY1001" fmla="*/ 602592 h 871769"/>
                <a:gd name="connsiteX1002" fmla="*/ 3585263 w 4009365"/>
                <a:gd name="connsiteY1002" fmla="*/ 566753 h 871769"/>
                <a:gd name="connsiteX1003" fmla="*/ 3614630 w 4009365"/>
                <a:gd name="connsiteY1003" fmla="*/ 586110 h 871769"/>
                <a:gd name="connsiteX1004" fmla="*/ 3614630 w 4009365"/>
                <a:gd name="connsiteY1004" fmla="*/ 570707 h 871769"/>
                <a:gd name="connsiteX1005" fmla="*/ 3624585 w 4009365"/>
                <a:gd name="connsiteY1005" fmla="*/ 570707 h 871769"/>
                <a:gd name="connsiteX1006" fmla="*/ 3624585 w 4009365"/>
                <a:gd name="connsiteY1006" fmla="*/ 592664 h 871769"/>
                <a:gd name="connsiteX1007" fmla="*/ 3632052 w 4009365"/>
                <a:gd name="connsiteY1007" fmla="*/ 597586 h 871769"/>
                <a:gd name="connsiteX1008" fmla="*/ 3639573 w 4009365"/>
                <a:gd name="connsiteY1008" fmla="*/ 839497 h 871769"/>
                <a:gd name="connsiteX1009" fmla="*/ 3645989 w 4009365"/>
                <a:gd name="connsiteY1009" fmla="*/ 597586 h 871769"/>
                <a:gd name="connsiteX1010" fmla="*/ 3645989 w 4009365"/>
                <a:gd name="connsiteY1010" fmla="*/ 590092 h 871769"/>
                <a:gd name="connsiteX1011" fmla="*/ 3639739 w 4009365"/>
                <a:gd name="connsiteY1011" fmla="*/ 585972 h 871769"/>
                <a:gd name="connsiteX1012" fmla="*/ 3638522 w 4009365"/>
                <a:gd name="connsiteY1012" fmla="*/ 585170 h 871769"/>
                <a:gd name="connsiteX1013" fmla="*/ 3638522 w 4009365"/>
                <a:gd name="connsiteY1013" fmla="*/ 556798 h 871769"/>
                <a:gd name="connsiteX1014" fmla="*/ 3600721 w 4009365"/>
                <a:gd name="connsiteY1014" fmla="*/ 556798 h 871769"/>
                <a:gd name="connsiteX1015" fmla="*/ 3600721 w 4009365"/>
                <a:gd name="connsiteY1015" fmla="*/ 560255 h 871769"/>
                <a:gd name="connsiteX1016" fmla="*/ 3592950 w 4009365"/>
                <a:gd name="connsiteY1016" fmla="*/ 555111 h 871769"/>
                <a:gd name="connsiteX1017" fmla="*/ 3584986 w 4009365"/>
                <a:gd name="connsiteY1017" fmla="*/ 549857 h 871769"/>
                <a:gd name="connsiteX1018" fmla="*/ 3577215 w 4009365"/>
                <a:gd name="connsiteY1018" fmla="*/ 555415 h 871769"/>
                <a:gd name="connsiteX1019" fmla="*/ 3541736 w 4009365"/>
                <a:gd name="connsiteY1019" fmla="*/ 580746 h 871769"/>
                <a:gd name="connsiteX1020" fmla="*/ 3541736 w 4009365"/>
                <a:gd name="connsiteY1020" fmla="*/ 563269 h 871769"/>
                <a:gd name="connsiteX1021" fmla="*/ 3539496 w 4009365"/>
                <a:gd name="connsiteY1021" fmla="*/ 563269 h 871769"/>
                <a:gd name="connsiteX1022" fmla="*/ 3539496 w 4009365"/>
                <a:gd name="connsiteY1022" fmla="*/ 505501 h 871769"/>
                <a:gd name="connsiteX1023" fmla="*/ 3543396 w 4009365"/>
                <a:gd name="connsiteY1023" fmla="*/ 505501 h 871769"/>
                <a:gd name="connsiteX1024" fmla="*/ 3952968 w 4009365"/>
                <a:gd name="connsiteY1024" fmla="*/ 605772 h 871769"/>
                <a:gd name="connsiteX1025" fmla="*/ 3955263 w 4009365"/>
                <a:gd name="connsiteY1025" fmla="*/ 600518 h 871769"/>
                <a:gd name="connsiteX1026" fmla="*/ 3990310 w 4009365"/>
                <a:gd name="connsiteY1026" fmla="*/ 614497 h 871769"/>
                <a:gd name="connsiteX1027" fmla="*/ 3997717 w 4009365"/>
                <a:gd name="connsiteY1027" fmla="*/ 663027 h 871769"/>
                <a:gd name="connsiteX1028" fmla="*/ 3997241 w 4009365"/>
                <a:gd name="connsiteY1028" fmla="*/ 664480 h 871769"/>
                <a:gd name="connsiteX1029" fmla="*/ 3993342 w 4009365"/>
                <a:gd name="connsiteY1029" fmla="*/ 671061 h 871769"/>
                <a:gd name="connsiteX1030" fmla="*/ 3965218 w 4009365"/>
                <a:gd name="connsiteY1030" fmla="*/ 684501 h 871769"/>
                <a:gd name="connsiteX1031" fmla="*/ 3983912 w 4009365"/>
                <a:gd name="connsiteY1031" fmla="*/ 750288 h 871769"/>
                <a:gd name="connsiteX1032" fmla="*/ 3983912 w 4009365"/>
                <a:gd name="connsiteY1032" fmla="*/ 750260 h 871769"/>
                <a:gd name="connsiteX1033" fmla="*/ 4003292 w 4009365"/>
                <a:gd name="connsiteY1033" fmla="*/ 750260 h 871769"/>
                <a:gd name="connsiteX1034" fmla="*/ 4009365 w 4009365"/>
                <a:gd name="connsiteY1034" fmla="*/ 870516 h 871769"/>
                <a:gd name="connsiteX1035" fmla="*/ 902730 w 4009365"/>
                <a:gd name="connsiteY1035" fmla="*/ 871769 h 871769"/>
                <a:gd name="connsiteX1036" fmla="*/ 1005130 w 4009365"/>
                <a:gd name="connsiteY1036" fmla="*/ 757312 h 871769"/>
                <a:gd name="connsiteX1037" fmla="*/ 868385 w 4009365"/>
                <a:gd name="connsiteY1037" fmla="*/ 757312 h 871769"/>
                <a:gd name="connsiteX1038" fmla="*/ 845018 w 4009365"/>
                <a:gd name="connsiteY1038" fmla="*/ 757312 h 871769"/>
                <a:gd name="connsiteX1039" fmla="*/ 845018 w 4009365"/>
                <a:gd name="connsiteY1039" fmla="*/ 764336 h 871769"/>
                <a:gd name="connsiteX1040" fmla="*/ 847479 w 4009365"/>
                <a:gd name="connsiteY1040" fmla="*/ 764336 h 871769"/>
                <a:gd name="connsiteX1041" fmla="*/ 847479 w 4009365"/>
                <a:gd name="connsiteY1041" fmla="*/ 768484 h 871769"/>
                <a:gd name="connsiteX1042" fmla="*/ 846843 w 4009365"/>
                <a:gd name="connsiteY1042" fmla="*/ 768484 h 871769"/>
                <a:gd name="connsiteX1043" fmla="*/ 851323 w 4009365"/>
                <a:gd name="connsiteY1043" fmla="*/ 853130 h 871769"/>
                <a:gd name="connsiteX1044" fmla="*/ 863518 w 4009365"/>
                <a:gd name="connsiteY1044" fmla="*/ 853130 h 871769"/>
                <a:gd name="connsiteX1045" fmla="*/ 863518 w 4009365"/>
                <a:gd name="connsiteY1045" fmla="*/ 871769 h 871769"/>
                <a:gd name="connsiteX1046" fmla="*/ 816950 w 4009365"/>
                <a:gd name="connsiteY1046" fmla="*/ 871769 h 871769"/>
                <a:gd name="connsiteX1047" fmla="*/ 816950 w 4009365"/>
                <a:gd name="connsiteY1047" fmla="*/ 853130 h 871769"/>
                <a:gd name="connsiteX1048" fmla="*/ 829421 w 4009365"/>
                <a:gd name="connsiteY1048" fmla="*/ 853130 h 871769"/>
                <a:gd name="connsiteX1049" fmla="*/ 832685 w 4009365"/>
                <a:gd name="connsiteY1049" fmla="*/ 768484 h 871769"/>
                <a:gd name="connsiteX1050" fmla="*/ 831634 w 4009365"/>
                <a:gd name="connsiteY1050" fmla="*/ 768484 h 871769"/>
                <a:gd name="connsiteX1051" fmla="*/ 831634 w 4009365"/>
                <a:gd name="connsiteY1051" fmla="*/ 764336 h 871769"/>
                <a:gd name="connsiteX1052" fmla="*/ 833901 w 4009365"/>
                <a:gd name="connsiteY1052" fmla="*/ 764336 h 871769"/>
                <a:gd name="connsiteX1053" fmla="*/ 833901 w 4009365"/>
                <a:gd name="connsiteY1053" fmla="*/ 757312 h 871769"/>
                <a:gd name="connsiteX1054" fmla="*/ 811475 w 4009365"/>
                <a:gd name="connsiteY1054" fmla="*/ 757312 h 871769"/>
                <a:gd name="connsiteX1055" fmla="*/ 810341 w 4009365"/>
                <a:gd name="connsiteY1055" fmla="*/ 757312 h 871769"/>
                <a:gd name="connsiteX1056" fmla="*/ 100537 w 4009365"/>
                <a:gd name="connsiteY1056" fmla="*/ 757312 h 871769"/>
                <a:gd name="connsiteX1057" fmla="*/ 76976 w 4009365"/>
                <a:gd name="connsiteY1057" fmla="*/ 757312 h 871769"/>
                <a:gd name="connsiteX1058" fmla="*/ 76976 w 4009365"/>
                <a:gd name="connsiteY1058" fmla="*/ 764336 h 871769"/>
                <a:gd name="connsiteX1059" fmla="*/ 79244 w 4009365"/>
                <a:gd name="connsiteY1059" fmla="*/ 764336 h 871769"/>
                <a:gd name="connsiteX1060" fmla="*/ 79244 w 4009365"/>
                <a:gd name="connsiteY1060" fmla="*/ 768484 h 871769"/>
                <a:gd name="connsiteX1061" fmla="*/ 78193 w 4009365"/>
                <a:gd name="connsiteY1061" fmla="*/ 768484 h 871769"/>
                <a:gd name="connsiteX1062" fmla="*/ 81484 w 4009365"/>
                <a:gd name="connsiteY1062" fmla="*/ 853130 h 871769"/>
                <a:gd name="connsiteX1063" fmla="*/ 93955 w 4009365"/>
                <a:gd name="connsiteY1063" fmla="*/ 853130 h 871769"/>
                <a:gd name="connsiteX1064" fmla="*/ 93955 w 4009365"/>
                <a:gd name="connsiteY1064" fmla="*/ 871769 h 871769"/>
                <a:gd name="connsiteX1065" fmla="*/ 47387 w 4009365"/>
                <a:gd name="connsiteY1065" fmla="*/ 871769 h 871769"/>
                <a:gd name="connsiteX1066" fmla="*/ 47387 w 4009365"/>
                <a:gd name="connsiteY1066" fmla="*/ 853130 h 871769"/>
                <a:gd name="connsiteX1067" fmla="*/ 59582 w 4009365"/>
                <a:gd name="connsiteY1067" fmla="*/ 853130 h 871769"/>
                <a:gd name="connsiteX1068" fmla="*/ 64062 w 4009365"/>
                <a:gd name="connsiteY1068" fmla="*/ 768484 h 871769"/>
                <a:gd name="connsiteX1069" fmla="*/ 63426 w 4009365"/>
                <a:gd name="connsiteY1069" fmla="*/ 768484 h 871769"/>
                <a:gd name="connsiteX1070" fmla="*/ 63426 w 4009365"/>
                <a:gd name="connsiteY1070" fmla="*/ 764336 h 871769"/>
                <a:gd name="connsiteX1071" fmla="*/ 65860 w 4009365"/>
                <a:gd name="connsiteY1071" fmla="*/ 764336 h 871769"/>
                <a:gd name="connsiteX1072" fmla="*/ 65860 w 4009365"/>
                <a:gd name="connsiteY1072" fmla="*/ 757312 h 871769"/>
                <a:gd name="connsiteX1073" fmla="*/ 43654 w 4009365"/>
                <a:gd name="connsiteY1073" fmla="*/ 757312 h 871769"/>
                <a:gd name="connsiteX1074" fmla="*/ 42520 w 4009365"/>
                <a:gd name="connsiteY1074" fmla="*/ 757312 h 871769"/>
                <a:gd name="connsiteX1075" fmla="*/ 0 w 4009365"/>
                <a:gd name="connsiteY1075" fmla="*/ 757312 h 871769"/>
                <a:gd name="connsiteX1076" fmla="*/ 466 w 4009365"/>
                <a:gd name="connsiteY1076" fmla="*/ 748076 h 871769"/>
                <a:gd name="connsiteX1077" fmla="*/ 9696 w 4009365"/>
                <a:gd name="connsiteY1077" fmla="*/ 748076 h 871769"/>
                <a:gd name="connsiteX1078" fmla="*/ 8645 w 4009365"/>
                <a:gd name="connsiteY1078" fmla="*/ 679136 h 871769"/>
                <a:gd name="connsiteX1079" fmla="*/ 3605 w 4009365"/>
                <a:gd name="connsiteY1079" fmla="*/ 685927 h 871769"/>
                <a:gd name="connsiteX1080" fmla="*/ 4032 w 4009365"/>
                <a:gd name="connsiteY1080" fmla="*/ 677460 h 871769"/>
                <a:gd name="connsiteX1081" fmla="*/ 6156 w 4009365"/>
                <a:gd name="connsiteY1081" fmla="*/ 674601 h 871769"/>
                <a:gd name="connsiteX1082" fmla="*/ 4153 w 4009365"/>
                <a:gd name="connsiteY1082" fmla="*/ 675071 h 871769"/>
                <a:gd name="connsiteX1083" fmla="*/ 4182 w 4009365"/>
                <a:gd name="connsiteY1083" fmla="*/ 674487 h 871769"/>
                <a:gd name="connsiteX1084" fmla="*/ 4963 w 4009365"/>
                <a:gd name="connsiteY1084" fmla="*/ 669372 h 871769"/>
                <a:gd name="connsiteX1085" fmla="*/ 8102 w 4009365"/>
                <a:gd name="connsiteY1085" fmla="*/ 668683 h 871769"/>
                <a:gd name="connsiteX1086" fmla="*/ 71390 w 4009365"/>
                <a:gd name="connsiteY1086" fmla="*/ 641472 h 871769"/>
                <a:gd name="connsiteX1087" fmla="*/ 423997 w 4009365"/>
                <a:gd name="connsiteY1087" fmla="*/ 695507 h 871769"/>
                <a:gd name="connsiteX1088" fmla="*/ 453171 w 4009365"/>
                <a:gd name="connsiteY1088" fmla="*/ 695341 h 871769"/>
                <a:gd name="connsiteX1089" fmla="*/ 453171 w 4009365"/>
                <a:gd name="connsiteY1089" fmla="*/ 695285 h 871769"/>
                <a:gd name="connsiteX1090" fmla="*/ 455411 w 4009365"/>
                <a:gd name="connsiteY1090" fmla="*/ 695285 h 871769"/>
                <a:gd name="connsiteX1091" fmla="*/ 457651 w 4009365"/>
                <a:gd name="connsiteY1091" fmla="*/ 695285 h 871769"/>
                <a:gd name="connsiteX1092" fmla="*/ 457651 w 4009365"/>
                <a:gd name="connsiteY1092" fmla="*/ 695341 h 871769"/>
                <a:gd name="connsiteX1093" fmla="*/ 486825 w 4009365"/>
                <a:gd name="connsiteY1093" fmla="*/ 695507 h 871769"/>
                <a:gd name="connsiteX1094" fmla="*/ 839432 w 4009365"/>
                <a:gd name="connsiteY1094" fmla="*/ 641472 h 871769"/>
                <a:gd name="connsiteX1095" fmla="*/ 1194583 w 4009365"/>
                <a:gd name="connsiteY1095" fmla="*/ 695894 h 871769"/>
                <a:gd name="connsiteX1096" fmla="*/ 1221738 w 4009365"/>
                <a:gd name="connsiteY1096" fmla="*/ 750315 h 871769"/>
                <a:gd name="connsiteX1097" fmla="*/ 1241345 w 4009365"/>
                <a:gd name="connsiteY1097" fmla="*/ 788919 h 871769"/>
                <a:gd name="connsiteX1098" fmla="*/ 1241538 w 4009365"/>
                <a:gd name="connsiteY1098" fmla="*/ 450803 h 871769"/>
                <a:gd name="connsiteX1099" fmla="*/ 1236643 w 4009365"/>
                <a:gd name="connsiteY1099" fmla="*/ 445162 h 871769"/>
                <a:gd name="connsiteX1100" fmla="*/ 1239077 w 4009365"/>
                <a:gd name="connsiteY1100" fmla="*/ 443862 h 871769"/>
                <a:gd name="connsiteX1101" fmla="*/ 1239409 w 4009365"/>
                <a:gd name="connsiteY1101" fmla="*/ 433105 h 871769"/>
                <a:gd name="connsiteX1102" fmla="*/ 1237611 w 4009365"/>
                <a:gd name="connsiteY1102" fmla="*/ 430976 h 871769"/>
                <a:gd name="connsiteX1103" fmla="*/ 1241510 w 4009365"/>
                <a:gd name="connsiteY1103" fmla="*/ 426413 h 871769"/>
                <a:gd name="connsiteX1104" fmla="*/ 1246405 w 4009365"/>
                <a:gd name="connsiteY1104" fmla="*/ 426413 h 871769"/>
                <a:gd name="connsiteX1105" fmla="*/ 1246405 w 4009365"/>
                <a:gd name="connsiteY1105" fmla="*/ 434239 h 871769"/>
                <a:gd name="connsiteX1106" fmla="*/ 1253595 w 4009365"/>
                <a:gd name="connsiteY1106" fmla="*/ 434239 h 871769"/>
                <a:gd name="connsiteX1107" fmla="*/ 1253595 w 4009365"/>
                <a:gd name="connsiteY1107" fmla="*/ 426413 h 871769"/>
                <a:gd name="connsiteX1108" fmla="*/ 1261753 w 4009365"/>
                <a:gd name="connsiteY1108" fmla="*/ 426413 h 871769"/>
                <a:gd name="connsiteX1109" fmla="*/ 1261753 w 4009365"/>
                <a:gd name="connsiteY1109" fmla="*/ 434239 h 871769"/>
                <a:gd name="connsiteX1110" fmla="*/ 1269412 w 4009365"/>
                <a:gd name="connsiteY1110" fmla="*/ 434239 h 871769"/>
                <a:gd name="connsiteX1111" fmla="*/ 1269412 w 4009365"/>
                <a:gd name="connsiteY1111" fmla="*/ 426413 h 871769"/>
                <a:gd name="connsiteX1112" fmla="*/ 1277570 w 4009365"/>
                <a:gd name="connsiteY1112" fmla="*/ 426413 h 871769"/>
                <a:gd name="connsiteX1113" fmla="*/ 1277570 w 4009365"/>
                <a:gd name="connsiteY1113" fmla="*/ 434239 h 871769"/>
                <a:gd name="connsiteX1114" fmla="*/ 1284262 w 4009365"/>
                <a:gd name="connsiteY1114" fmla="*/ 434239 h 871769"/>
                <a:gd name="connsiteX1115" fmla="*/ 1284262 w 4009365"/>
                <a:gd name="connsiteY1115" fmla="*/ 426413 h 871769"/>
                <a:gd name="connsiteX1116" fmla="*/ 1293084 w 4009365"/>
                <a:gd name="connsiteY1116" fmla="*/ 426413 h 871769"/>
                <a:gd name="connsiteX1117" fmla="*/ 1293084 w 4009365"/>
                <a:gd name="connsiteY1117" fmla="*/ 434239 h 871769"/>
                <a:gd name="connsiteX1118" fmla="*/ 1299444 w 4009365"/>
                <a:gd name="connsiteY1118" fmla="*/ 434239 h 871769"/>
                <a:gd name="connsiteX1119" fmla="*/ 1299444 w 4009365"/>
                <a:gd name="connsiteY1119" fmla="*/ 426413 h 871769"/>
                <a:gd name="connsiteX1120" fmla="*/ 1307768 w 4009365"/>
                <a:gd name="connsiteY1120" fmla="*/ 426413 h 871769"/>
                <a:gd name="connsiteX1121" fmla="*/ 1307768 w 4009365"/>
                <a:gd name="connsiteY1121" fmla="*/ 434239 h 871769"/>
                <a:gd name="connsiteX1122" fmla="*/ 1313464 w 4009365"/>
                <a:gd name="connsiteY1122" fmla="*/ 434239 h 871769"/>
                <a:gd name="connsiteX1123" fmla="*/ 1313464 w 4009365"/>
                <a:gd name="connsiteY1123" fmla="*/ 426413 h 871769"/>
                <a:gd name="connsiteX1124" fmla="*/ 1321954 w 4009365"/>
                <a:gd name="connsiteY1124" fmla="*/ 426413 h 871769"/>
                <a:gd name="connsiteX1125" fmla="*/ 1321954 w 4009365"/>
                <a:gd name="connsiteY1125" fmla="*/ 434239 h 871769"/>
                <a:gd name="connsiteX1126" fmla="*/ 1328314 w 4009365"/>
                <a:gd name="connsiteY1126" fmla="*/ 434239 h 871769"/>
                <a:gd name="connsiteX1127" fmla="*/ 1334315 w 4009365"/>
                <a:gd name="connsiteY1127" fmla="*/ 666250 h 871769"/>
                <a:gd name="connsiteX1128" fmla="*/ 1336416 w 4009365"/>
                <a:gd name="connsiteY1128" fmla="*/ 428736 h 871769"/>
                <a:gd name="connsiteX1129" fmla="*/ 1332047 w 4009365"/>
                <a:gd name="connsiteY1129" fmla="*/ 421242 h 871769"/>
                <a:gd name="connsiteX1130" fmla="*/ 1335227 w 4009365"/>
                <a:gd name="connsiteY1130" fmla="*/ 417702 h 871769"/>
                <a:gd name="connsiteX1131" fmla="*/ 1335227 w 4009365"/>
                <a:gd name="connsiteY1131" fmla="*/ 402299 h 871769"/>
                <a:gd name="connsiteX1132" fmla="*/ 1333513 w 4009365"/>
                <a:gd name="connsiteY1132" fmla="*/ 400087 h 871769"/>
                <a:gd name="connsiteX1133" fmla="*/ 1336804 w 4009365"/>
                <a:gd name="connsiteY1133" fmla="*/ 395690 h 871769"/>
                <a:gd name="connsiteX1134" fmla="*/ 1340592 w 4009365"/>
                <a:gd name="connsiteY1134" fmla="*/ 394114 h 871769"/>
                <a:gd name="connsiteX1135" fmla="*/ 1343662 w 4009365"/>
                <a:gd name="connsiteY1135" fmla="*/ 396437 h 871769"/>
                <a:gd name="connsiteX1136" fmla="*/ 1346095 w 4009365"/>
                <a:gd name="connsiteY1136" fmla="*/ 392648 h 871769"/>
                <a:gd name="connsiteX1137" fmla="*/ 1351847 w 4009365"/>
                <a:gd name="connsiteY1137" fmla="*/ 391182 h 871769"/>
                <a:gd name="connsiteX1138" fmla="*/ 1354889 w 4009365"/>
                <a:gd name="connsiteY1138" fmla="*/ 394003 h 871769"/>
                <a:gd name="connsiteX1139" fmla="*/ 1357461 w 4009365"/>
                <a:gd name="connsiteY1139" fmla="*/ 390104 h 871769"/>
                <a:gd name="connsiteX1140" fmla="*/ 1360392 w 4009365"/>
                <a:gd name="connsiteY1140" fmla="*/ 389136 h 871769"/>
                <a:gd name="connsiteX1141" fmla="*/ 1366144 w 4009365"/>
                <a:gd name="connsiteY1141" fmla="*/ 389136 h 871769"/>
                <a:gd name="connsiteX1142" fmla="*/ 1366144 w 4009365"/>
                <a:gd name="connsiteY1142" fmla="*/ 399755 h 871769"/>
                <a:gd name="connsiteX1143" fmla="*/ 1374329 w 4009365"/>
                <a:gd name="connsiteY1143" fmla="*/ 399506 h 871769"/>
                <a:gd name="connsiteX1144" fmla="*/ 1374329 w 4009365"/>
                <a:gd name="connsiteY1144" fmla="*/ 389108 h 871769"/>
                <a:gd name="connsiteX1145" fmla="*/ 1384478 w 4009365"/>
                <a:gd name="connsiteY1145" fmla="*/ 389108 h 871769"/>
                <a:gd name="connsiteX1146" fmla="*/ 1384616 w 4009365"/>
                <a:gd name="connsiteY1146" fmla="*/ 398870 h 871769"/>
                <a:gd name="connsiteX1147" fmla="*/ 1392442 w 4009365"/>
                <a:gd name="connsiteY1147" fmla="*/ 398621 h 871769"/>
                <a:gd name="connsiteX1148" fmla="*/ 1392442 w 4009365"/>
                <a:gd name="connsiteY1148" fmla="*/ 389081 h 871769"/>
                <a:gd name="connsiteX1149" fmla="*/ 1401014 w 4009365"/>
                <a:gd name="connsiteY1149" fmla="*/ 389938 h 871769"/>
                <a:gd name="connsiteX1150" fmla="*/ 1404056 w 4009365"/>
                <a:gd name="connsiteY1150" fmla="*/ 394943 h 871769"/>
                <a:gd name="connsiteX1151" fmla="*/ 1407236 w 4009365"/>
                <a:gd name="connsiteY1151" fmla="*/ 391763 h 871769"/>
                <a:gd name="connsiteX1152" fmla="*/ 1414343 w 4009365"/>
                <a:gd name="connsiteY1152" fmla="*/ 392980 h 871769"/>
                <a:gd name="connsiteX1153" fmla="*/ 1417026 w 4009365"/>
                <a:gd name="connsiteY1153" fmla="*/ 397736 h 871769"/>
                <a:gd name="connsiteX1154" fmla="*/ 1420316 w 4009365"/>
                <a:gd name="connsiteY1154" fmla="*/ 394556 h 871769"/>
                <a:gd name="connsiteX1155" fmla="*/ 1424464 w 4009365"/>
                <a:gd name="connsiteY1155" fmla="*/ 395303 h 871769"/>
                <a:gd name="connsiteX1156" fmla="*/ 1427893 w 4009365"/>
                <a:gd name="connsiteY1156" fmla="*/ 400197 h 871769"/>
                <a:gd name="connsiteX1157" fmla="*/ 1426677 w 4009365"/>
                <a:gd name="connsiteY1157" fmla="*/ 401801 h 871769"/>
                <a:gd name="connsiteX1158" fmla="*/ 1426511 w 4009365"/>
                <a:gd name="connsiteY1158" fmla="*/ 405700 h 871769"/>
                <a:gd name="connsiteX1159" fmla="*/ 1426511 w 4009365"/>
                <a:gd name="connsiteY1159" fmla="*/ 417923 h 871769"/>
                <a:gd name="connsiteX1160" fmla="*/ 1427921 w 4009365"/>
                <a:gd name="connsiteY1160" fmla="*/ 419416 h 871769"/>
                <a:gd name="connsiteX1161" fmla="*/ 1429746 w 4009365"/>
                <a:gd name="connsiteY1161" fmla="*/ 428210 h 871769"/>
                <a:gd name="connsiteX1162" fmla="*/ 1424492 w 4009365"/>
                <a:gd name="connsiteY1162" fmla="*/ 432248 h 871769"/>
                <a:gd name="connsiteX1163" fmla="*/ 1429193 w 4009365"/>
                <a:gd name="connsiteY1163" fmla="*/ 721777 h 871769"/>
                <a:gd name="connsiteX1164" fmla="*/ 1429746 w 4009365"/>
                <a:gd name="connsiteY1164" fmla="*/ 437502 h 871769"/>
                <a:gd name="connsiteX1165" fmla="*/ 1436936 w 4009365"/>
                <a:gd name="connsiteY1165" fmla="*/ 430008 h 871769"/>
                <a:gd name="connsiteX1166" fmla="*/ 1433783 w 4009365"/>
                <a:gd name="connsiteY1166" fmla="*/ 417951 h 871769"/>
                <a:gd name="connsiteX1167" fmla="*/ 1431101 w 4009365"/>
                <a:gd name="connsiteY1167" fmla="*/ 413913 h 871769"/>
                <a:gd name="connsiteX1168" fmla="*/ 1431184 w 4009365"/>
                <a:gd name="connsiteY1168" fmla="*/ 413471 h 871769"/>
                <a:gd name="connsiteX1169" fmla="*/ 1431184 w 4009365"/>
                <a:gd name="connsiteY1169" fmla="*/ 403267 h 871769"/>
                <a:gd name="connsiteX1170" fmla="*/ 1433258 w 4009365"/>
                <a:gd name="connsiteY1170" fmla="*/ 401193 h 871769"/>
                <a:gd name="connsiteX1171" fmla="*/ 1428280 w 4009365"/>
                <a:gd name="connsiteY1171" fmla="*/ 391293 h 871769"/>
                <a:gd name="connsiteX1172" fmla="*/ 1421063 w 4009365"/>
                <a:gd name="connsiteY1172" fmla="*/ 389413 h 871769"/>
                <a:gd name="connsiteX1173" fmla="*/ 1418381 w 4009365"/>
                <a:gd name="connsiteY1173" fmla="*/ 391210 h 871769"/>
                <a:gd name="connsiteX1174" fmla="*/ 1416168 w 4009365"/>
                <a:gd name="connsiteY1174" fmla="*/ 388030 h 871769"/>
                <a:gd name="connsiteX1175" fmla="*/ 1408343 w 4009365"/>
                <a:gd name="connsiteY1175" fmla="*/ 386647 h 871769"/>
                <a:gd name="connsiteX1176" fmla="*/ 1404665 w 4009365"/>
                <a:gd name="connsiteY1176" fmla="*/ 388279 h 871769"/>
                <a:gd name="connsiteX1177" fmla="*/ 1403199 w 4009365"/>
                <a:gd name="connsiteY1177" fmla="*/ 384573 h 871769"/>
                <a:gd name="connsiteX1178" fmla="*/ 1392304 w 4009365"/>
                <a:gd name="connsiteY1178" fmla="*/ 383218 h 871769"/>
                <a:gd name="connsiteX1179" fmla="*/ 1388405 w 4009365"/>
                <a:gd name="connsiteY1179" fmla="*/ 386288 h 871769"/>
                <a:gd name="connsiteX1180" fmla="*/ 1382791 w 4009365"/>
                <a:gd name="connsiteY1180" fmla="*/ 386150 h 871769"/>
                <a:gd name="connsiteX1181" fmla="*/ 1385473 w 4009365"/>
                <a:gd name="connsiteY1181" fmla="*/ 383965 h 871769"/>
                <a:gd name="connsiteX1182" fmla="*/ 1385473 w 4009365"/>
                <a:gd name="connsiteY1182" fmla="*/ 381393 h 871769"/>
                <a:gd name="connsiteX1183" fmla="*/ 1384257 w 4009365"/>
                <a:gd name="connsiteY1183" fmla="*/ 379319 h 871769"/>
                <a:gd name="connsiteX1184" fmla="*/ 1384865 w 4009365"/>
                <a:gd name="connsiteY1184" fmla="*/ 377743 h 871769"/>
                <a:gd name="connsiteX1185" fmla="*/ 1384976 w 4009365"/>
                <a:gd name="connsiteY1185" fmla="*/ 370525 h 871769"/>
                <a:gd name="connsiteX1186" fmla="*/ 1383510 w 4009365"/>
                <a:gd name="connsiteY1186" fmla="*/ 369779 h 871769"/>
                <a:gd name="connsiteX1187" fmla="*/ 1386441 w 4009365"/>
                <a:gd name="connsiteY1187" fmla="*/ 366239 h 871769"/>
                <a:gd name="connsiteX1188" fmla="*/ 1391695 w 4009365"/>
                <a:gd name="connsiteY1188" fmla="*/ 366239 h 871769"/>
                <a:gd name="connsiteX1189" fmla="*/ 1391695 w 4009365"/>
                <a:gd name="connsiteY1189" fmla="*/ 374093 h 871769"/>
                <a:gd name="connsiteX1190" fmla="*/ 1398553 w 4009365"/>
                <a:gd name="connsiteY1190" fmla="*/ 374093 h 871769"/>
                <a:gd name="connsiteX1191" fmla="*/ 1398553 w 4009365"/>
                <a:gd name="connsiteY1191" fmla="*/ 366599 h 871769"/>
                <a:gd name="connsiteX1192" fmla="*/ 1407624 w 4009365"/>
                <a:gd name="connsiteY1192" fmla="*/ 366599 h 871769"/>
                <a:gd name="connsiteX1193" fmla="*/ 1407624 w 4009365"/>
                <a:gd name="connsiteY1193" fmla="*/ 374093 h 871769"/>
                <a:gd name="connsiteX1194" fmla="*/ 1415117 w 4009365"/>
                <a:gd name="connsiteY1194" fmla="*/ 374093 h 871769"/>
                <a:gd name="connsiteX1195" fmla="*/ 1415117 w 4009365"/>
                <a:gd name="connsiteY1195" fmla="*/ 366599 h 871769"/>
                <a:gd name="connsiteX1196" fmla="*/ 1423994 w 4009365"/>
                <a:gd name="connsiteY1196" fmla="*/ 366599 h 871769"/>
                <a:gd name="connsiteX1197" fmla="*/ 1423994 w 4009365"/>
                <a:gd name="connsiteY1197" fmla="*/ 374093 h 871769"/>
                <a:gd name="connsiteX1198" fmla="*/ 1430686 w 4009365"/>
                <a:gd name="connsiteY1198" fmla="*/ 374093 h 871769"/>
                <a:gd name="connsiteX1199" fmla="*/ 1430686 w 4009365"/>
                <a:gd name="connsiteY1199" fmla="*/ 366599 h 871769"/>
                <a:gd name="connsiteX1200" fmla="*/ 1439231 w 4009365"/>
                <a:gd name="connsiteY1200" fmla="*/ 366599 h 871769"/>
                <a:gd name="connsiteX1201" fmla="*/ 1439231 w 4009365"/>
                <a:gd name="connsiteY1201" fmla="*/ 374093 h 871769"/>
                <a:gd name="connsiteX1202" fmla="*/ 1446255 w 4009365"/>
                <a:gd name="connsiteY1202" fmla="*/ 374093 h 871769"/>
                <a:gd name="connsiteX1203" fmla="*/ 1446255 w 4009365"/>
                <a:gd name="connsiteY1203" fmla="*/ 366239 h 871769"/>
                <a:gd name="connsiteX1204" fmla="*/ 1455464 w 4009365"/>
                <a:gd name="connsiteY1204" fmla="*/ 366239 h 871769"/>
                <a:gd name="connsiteX1205" fmla="*/ 1455464 w 4009365"/>
                <a:gd name="connsiteY1205" fmla="*/ 374093 h 871769"/>
                <a:gd name="connsiteX1206" fmla="*/ 1462571 w 4009365"/>
                <a:gd name="connsiteY1206" fmla="*/ 374093 h 871769"/>
                <a:gd name="connsiteX1207" fmla="*/ 1462571 w 4009365"/>
                <a:gd name="connsiteY1207" fmla="*/ 366239 h 871769"/>
                <a:gd name="connsiteX1208" fmla="*/ 1471226 w 4009365"/>
                <a:gd name="connsiteY1208" fmla="*/ 366239 h 871769"/>
                <a:gd name="connsiteX1209" fmla="*/ 1471226 w 4009365"/>
                <a:gd name="connsiteY1209" fmla="*/ 374093 h 871769"/>
                <a:gd name="connsiteX1210" fmla="*/ 1478554 w 4009365"/>
                <a:gd name="connsiteY1210" fmla="*/ 374093 h 871769"/>
                <a:gd name="connsiteX1211" fmla="*/ 1478554 w 4009365"/>
                <a:gd name="connsiteY1211" fmla="*/ 366239 h 871769"/>
                <a:gd name="connsiteX1212" fmla="*/ 1487182 w 4009365"/>
                <a:gd name="connsiteY1212" fmla="*/ 366239 h 871769"/>
                <a:gd name="connsiteX1213" fmla="*/ 1487182 w 4009365"/>
                <a:gd name="connsiteY1213" fmla="*/ 374093 h 871769"/>
                <a:gd name="connsiteX1214" fmla="*/ 1494261 w 4009365"/>
                <a:gd name="connsiteY1214" fmla="*/ 374093 h 871769"/>
                <a:gd name="connsiteX1215" fmla="*/ 1494261 w 4009365"/>
                <a:gd name="connsiteY1215" fmla="*/ 366239 h 871769"/>
                <a:gd name="connsiteX1216" fmla="*/ 1503470 w 4009365"/>
                <a:gd name="connsiteY1216" fmla="*/ 366239 h 871769"/>
                <a:gd name="connsiteX1217" fmla="*/ 1503470 w 4009365"/>
                <a:gd name="connsiteY1217" fmla="*/ 374093 h 871769"/>
                <a:gd name="connsiteX1218" fmla="*/ 1510466 w 4009365"/>
                <a:gd name="connsiteY1218" fmla="*/ 374093 h 871769"/>
                <a:gd name="connsiteX1219" fmla="*/ 1510466 w 4009365"/>
                <a:gd name="connsiteY1219" fmla="*/ 366599 h 871769"/>
                <a:gd name="connsiteX1220" fmla="*/ 1519038 w 4009365"/>
                <a:gd name="connsiteY1220" fmla="*/ 366599 h 871769"/>
                <a:gd name="connsiteX1221" fmla="*/ 1519038 w 4009365"/>
                <a:gd name="connsiteY1221" fmla="*/ 374093 h 871769"/>
                <a:gd name="connsiteX1222" fmla="*/ 1525703 w 4009365"/>
                <a:gd name="connsiteY1222" fmla="*/ 374093 h 871769"/>
                <a:gd name="connsiteX1223" fmla="*/ 1525703 w 4009365"/>
                <a:gd name="connsiteY1223" fmla="*/ 366599 h 871769"/>
                <a:gd name="connsiteX1224" fmla="*/ 1534607 w 4009365"/>
                <a:gd name="connsiteY1224" fmla="*/ 366599 h 871769"/>
                <a:gd name="connsiteX1225" fmla="*/ 1534607 w 4009365"/>
                <a:gd name="connsiteY1225" fmla="*/ 374093 h 871769"/>
                <a:gd name="connsiteX1226" fmla="*/ 1542101 w 4009365"/>
                <a:gd name="connsiteY1226" fmla="*/ 374093 h 871769"/>
                <a:gd name="connsiteX1227" fmla="*/ 1542101 w 4009365"/>
                <a:gd name="connsiteY1227" fmla="*/ 366599 h 871769"/>
                <a:gd name="connsiteX1228" fmla="*/ 1551144 w 4009365"/>
                <a:gd name="connsiteY1228" fmla="*/ 366599 h 871769"/>
                <a:gd name="connsiteX1229" fmla="*/ 1551144 w 4009365"/>
                <a:gd name="connsiteY1229" fmla="*/ 374093 h 871769"/>
                <a:gd name="connsiteX1230" fmla="*/ 1558002 w 4009365"/>
                <a:gd name="connsiteY1230" fmla="*/ 374093 h 871769"/>
                <a:gd name="connsiteX1231" fmla="*/ 1558002 w 4009365"/>
                <a:gd name="connsiteY1231" fmla="*/ 366239 h 871769"/>
                <a:gd name="connsiteX1232" fmla="*/ 1563256 w 4009365"/>
                <a:gd name="connsiteY1232" fmla="*/ 366239 h 871769"/>
                <a:gd name="connsiteX1233" fmla="*/ 1566187 w 4009365"/>
                <a:gd name="connsiteY1233" fmla="*/ 369779 h 871769"/>
                <a:gd name="connsiteX1234" fmla="*/ 1564722 w 4009365"/>
                <a:gd name="connsiteY1234" fmla="*/ 370525 h 871769"/>
                <a:gd name="connsiteX1235" fmla="*/ 1564832 w 4009365"/>
                <a:gd name="connsiteY1235" fmla="*/ 377743 h 871769"/>
                <a:gd name="connsiteX1236" fmla="*/ 1565441 w 4009365"/>
                <a:gd name="connsiteY1236" fmla="*/ 379319 h 871769"/>
                <a:gd name="connsiteX1237" fmla="*/ 1564224 w 4009365"/>
                <a:gd name="connsiteY1237" fmla="*/ 381393 h 871769"/>
                <a:gd name="connsiteX1238" fmla="*/ 1564224 w 4009365"/>
                <a:gd name="connsiteY1238" fmla="*/ 383965 h 871769"/>
                <a:gd name="connsiteX1239" fmla="*/ 1566906 w 4009365"/>
                <a:gd name="connsiteY1239" fmla="*/ 386150 h 871769"/>
                <a:gd name="connsiteX1240" fmla="*/ 1561293 w 4009365"/>
                <a:gd name="connsiteY1240" fmla="*/ 386288 h 871769"/>
                <a:gd name="connsiteX1241" fmla="*/ 1557366 w 4009365"/>
                <a:gd name="connsiteY1241" fmla="*/ 383218 h 871769"/>
                <a:gd name="connsiteX1242" fmla="*/ 1546498 w 4009365"/>
                <a:gd name="connsiteY1242" fmla="*/ 384573 h 871769"/>
                <a:gd name="connsiteX1243" fmla="*/ 1545033 w 4009365"/>
                <a:gd name="connsiteY1243" fmla="*/ 388279 h 871769"/>
                <a:gd name="connsiteX1244" fmla="*/ 1541355 w 4009365"/>
                <a:gd name="connsiteY1244" fmla="*/ 386647 h 871769"/>
                <a:gd name="connsiteX1245" fmla="*/ 1533529 w 4009365"/>
                <a:gd name="connsiteY1245" fmla="*/ 388030 h 871769"/>
                <a:gd name="connsiteX1246" fmla="*/ 1531317 w 4009365"/>
                <a:gd name="connsiteY1246" fmla="*/ 391210 h 871769"/>
                <a:gd name="connsiteX1247" fmla="*/ 1528634 w 4009365"/>
                <a:gd name="connsiteY1247" fmla="*/ 389413 h 871769"/>
                <a:gd name="connsiteX1248" fmla="*/ 1521417 w 4009365"/>
                <a:gd name="connsiteY1248" fmla="*/ 391293 h 871769"/>
                <a:gd name="connsiteX1249" fmla="*/ 1516439 w 4009365"/>
                <a:gd name="connsiteY1249" fmla="*/ 401193 h 871769"/>
                <a:gd name="connsiteX1250" fmla="*/ 1518513 w 4009365"/>
                <a:gd name="connsiteY1250" fmla="*/ 403267 h 871769"/>
                <a:gd name="connsiteX1251" fmla="*/ 1518513 w 4009365"/>
                <a:gd name="connsiteY1251" fmla="*/ 413471 h 871769"/>
                <a:gd name="connsiteX1252" fmla="*/ 1518596 w 4009365"/>
                <a:gd name="connsiteY1252" fmla="*/ 413913 h 871769"/>
                <a:gd name="connsiteX1253" fmla="*/ 1515914 w 4009365"/>
                <a:gd name="connsiteY1253" fmla="*/ 417951 h 871769"/>
                <a:gd name="connsiteX1254" fmla="*/ 1512761 w 4009365"/>
                <a:gd name="connsiteY1254" fmla="*/ 430008 h 871769"/>
                <a:gd name="connsiteX1255" fmla="*/ 1519951 w 4009365"/>
                <a:gd name="connsiteY1255" fmla="*/ 437502 h 871769"/>
                <a:gd name="connsiteX1256" fmla="*/ 1520504 w 4009365"/>
                <a:gd name="connsiteY1256" fmla="*/ 721777 h 871769"/>
                <a:gd name="connsiteX1257" fmla="*/ 1525205 w 4009365"/>
                <a:gd name="connsiteY1257" fmla="*/ 432248 h 871769"/>
                <a:gd name="connsiteX1258" fmla="*/ 1519951 w 4009365"/>
                <a:gd name="connsiteY1258" fmla="*/ 428210 h 871769"/>
                <a:gd name="connsiteX1259" fmla="*/ 1521776 w 4009365"/>
                <a:gd name="connsiteY1259" fmla="*/ 419416 h 871769"/>
                <a:gd name="connsiteX1260" fmla="*/ 1523186 w 4009365"/>
                <a:gd name="connsiteY1260" fmla="*/ 417923 h 871769"/>
                <a:gd name="connsiteX1261" fmla="*/ 1523186 w 4009365"/>
                <a:gd name="connsiteY1261" fmla="*/ 405700 h 871769"/>
                <a:gd name="connsiteX1262" fmla="*/ 1522993 w 4009365"/>
                <a:gd name="connsiteY1262" fmla="*/ 401801 h 871769"/>
                <a:gd name="connsiteX1263" fmla="*/ 1521776 w 4009365"/>
                <a:gd name="connsiteY1263" fmla="*/ 400197 h 871769"/>
                <a:gd name="connsiteX1264" fmla="*/ 1525205 w 4009365"/>
                <a:gd name="connsiteY1264" fmla="*/ 395303 h 871769"/>
                <a:gd name="connsiteX1265" fmla="*/ 1529381 w 4009365"/>
                <a:gd name="connsiteY1265" fmla="*/ 394556 h 871769"/>
                <a:gd name="connsiteX1266" fmla="*/ 1532672 w 4009365"/>
                <a:gd name="connsiteY1266" fmla="*/ 397736 h 871769"/>
                <a:gd name="connsiteX1267" fmla="*/ 1535354 w 4009365"/>
                <a:gd name="connsiteY1267" fmla="*/ 392980 h 871769"/>
                <a:gd name="connsiteX1268" fmla="*/ 1542461 w 4009365"/>
                <a:gd name="connsiteY1268" fmla="*/ 391763 h 871769"/>
                <a:gd name="connsiteX1269" fmla="*/ 1545641 w 4009365"/>
                <a:gd name="connsiteY1269" fmla="*/ 394943 h 871769"/>
                <a:gd name="connsiteX1270" fmla="*/ 1548683 w 4009365"/>
                <a:gd name="connsiteY1270" fmla="*/ 389938 h 871769"/>
                <a:gd name="connsiteX1271" fmla="*/ 1557255 w 4009365"/>
                <a:gd name="connsiteY1271" fmla="*/ 389081 h 871769"/>
                <a:gd name="connsiteX1272" fmla="*/ 1557255 w 4009365"/>
                <a:gd name="connsiteY1272" fmla="*/ 398621 h 871769"/>
                <a:gd name="connsiteX1273" fmla="*/ 1565081 w 4009365"/>
                <a:gd name="connsiteY1273" fmla="*/ 398870 h 871769"/>
                <a:gd name="connsiteX1274" fmla="*/ 1565219 w 4009365"/>
                <a:gd name="connsiteY1274" fmla="*/ 389108 h 871769"/>
                <a:gd name="connsiteX1275" fmla="*/ 1575368 w 4009365"/>
                <a:gd name="connsiteY1275" fmla="*/ 389108 h 871769"/>
                <a:gd name="connsiteX1276" fmla="*/ 1575368 w 4009365"/>
                <a:gd name="connsiteY1276" fmla="*/ 399506 h 871769"/>
                <a:gd name="connsiteX1277" fmla="*/ 1583554 w 4009365"/>
                <a:gd name="connsiteY1277" fmla="*/ 399755 h 871769"/>
                <a:gd name="connsiteX1278" fmla="*/ 1583554 w 4009365"/>
                <a:gd name="connsiteY1278" fmla="*/ 389136 h 871769"/>
                <a:gd name="connsiteX1279" fmla="*/ 1589306 w 4009365"/>
                <a:gd name="connsiteY1279" fmla="*/ 389136 h 871769"/>
                <a:gd name="connsiteX1280" fmla="*/ 1592237 w 4009365"/>
                <a:gd name="connsiteY1280" fmla="*/ 390104 h 871769"/>
                <a:gd name="connsiteX1281" fmla="*/ 1594808 w 4009365"/>
                <a:gd name="connsiteY1281" fmla="*/ 394003 h 871769"/>
                <a:gd name="connsiteX1282" fmla="*/ 1597850 w 4009365"/>
                <a:gd name="connsiteY1282" fmla="*/ 391182 h 871769"/>
                <a:gd name="connsiteX1283" fmla="*/ 1603602 w 4009365"/>
                <a:gd name="connsiteY1283" fmla="*/ 392648 h 871769"/>
                <a:gd name="connsiteX1284" fmla="*/ 1606063 w 4009365"/>
                <a:gd name="connsiteY1284" fmla="*/ 396437 h 871769"/>
                <a:gd name="connsiteX1285" fmla="*/ 1609105 w 4009365"/>
                <a:gd name="connsiteY1285" fmla="*/ 394114 h 871769"/>
                <a:gd name="connsiteX1286" fmla="*/ 1612894 w 4009365"/>
                <a:gd name="connsiteY1286" fmla="*/ 395690 h 871769"/>
                <a:gd name="connsiteX1287" fmla="*/ 1616184 w 4009365"/>
                <a:gd name="connsiteY1287" fmla="*/ 400087 h 871769"/>
                <a:gd name="connsiteX1288" fmla="*/ 1614470 w 4009365"/>
                <a:gd name="connsiteY1288" fmla="*/ 402299 h 871769"/>
                <a:gd name="connsiteX1289" fmla="*/ 1614470 w 4009365"/>
                <a:gd name="connsiteY1289" fmla="*/ 417702 h 871769"/>
                <a:gd name="connsiteX1290" fmla="*/ 1617650 w 4009365"/>
                <a:gd name="connsiteY1290" fmla="*/ 421242 h 871769"/>
                <a:gd name="connsiteX1291" fmla="*/ 1613253 w 4009365"/>
                <a:gd name="connsiteY1291" fmla="*/ 428736 h 871769"/>
                <a:gd name="connsiteX1292" fmla="*/ 1615383 w 4009365"/>
                <a:gd name="connsiteY1292" fmla="*/ 666250 h 871769"/>
                <a:gd name="connsiteX1293" fmla="*/ 1620581 w 4009365"/>
                <a:gd name="connsiteY1293" fmla="*/ 449724 h 871769"/>
                <a:gd name="connsiteX1294" fmla="*/ 1620581 w 4009365"/>
                <a:gd name="connsiteY1294" fmla="*/ 434073 h 871769"/>
                <a:gd name="connsiteX1295" fmla="*/ 1621411 w 4009365"/>
                <a:gd name="connsiteY1295" fmla="*/ 434073 h 871769"/>
                <a:gd name="connsiteX1296" fmla="*/ 1621411 w 4009365"/>
                <a:gd name="connsiteY1296" fmla="*/ 434239 h 871769"/>
                <a:gd name="connsiteX1297" fmla="*/ 1627771 w 4009365"/>
                <a:gd name="connsiteY1297" fmla="*/ 434239 h 871769"/>
                <a:gd name="connsiteX1298" fmla="*/ 1627771 w 4009365"/>
                <a:gd name="connsiteY1298" fmla="*/ 426413 h 871769"/>
                <a:gd name="connsiteX1299" fmla="*/ 1636261 w 4009365"/>
                <a:gd name="connsiteY1299" fmla="*/ 426413 h 871769"/>
                <a:gd name="connsiteX1300" fmla="*/ 1636261 w 4009365"/>
                <a:gd name="connsiteY1300" fmla="*/ 434239 h 871769"/>
                <a:gd name="connsiteX1301" fmla="*/ 1641957 w 4009365"/>
                <a:gd name="connsiteY1301" fmla="*/ 434239 h 871769"/>
                <a:gd name="connsiteX1302" fmla="*/ 1641957 w 4009365"/>
                <a:gd name="connsiteY1302" fmla="*/ 426413 h 871769"/>
                <a:gd name="connsiteX1303" fmla="*/ 1650281 w 4009365"/>
                <a:gd name="connsiteY1303" fmla="*/ 426413 h 871769"/>
                <a:gd name="connsiteX1304" fmla="*/ 1650281 w 4009365"/>
                <a:gd name="connsiteY1304" fmla="*/ 434239 h 871769"/>
                <a:gd name="connsiteX1305" fmla="*/ 1656641 w 4009365"/>
                <a:gd name="connsiteY1305" fmla="*/ 434239 h 871769"/>
                <a:gd name="connsiteX1306" fmla="*/ 1656641 w 4009365"/>
                <a:gd name="connsiteY1306" fmla="*/ 426413 h 871769"/>
                <a:gd name="connsiteX1307" fmla="*/ 1665463 w 4009365"/>
                <a:gd name="connsiteY1307" fmla="*/ 426413 h 871769"/>
                <a:gd name="connsiteX1308" fmla="*/ 1665463 w 4009365"/>
                <a:gd name="connsiteY1308" fmla="*/ 434239 h 871769"/>
                <a:gd name="connsiteX1309" fmla="*/ 1672155 w 4009365"/>
                <a:gd name="connsiteY1309" fmla="*/ 434239 h 871769"/>
                <a:gd name="connsiteX1310" fmla="*/ 1672155 w 4009365"/>
                <a:gd name="connsiteY1310" fmla="*/ 426413 h 871769"/>
                <a:gd name="connsiteX1311" fmla="*/ 1680312 w 4009365"/>
                <a:gd name="connsiteY1311" fmla="*/ 426413 h 871769"/>
                <a:gd name="connsiteX1312" fmla="*/ 1680312 w 4009365"/>
                <a:gd name="connsiteY1312" fmla="*/ 434239 h 871769"/>
                <a:gd name="connsiteX1313" fmla="*/ 1687972 w 4009365"/>
                <a:gd name="connsiteY1313" fmla="*/ 434239 h 871769"/>
                <a:gd name="connsiteX1314" fmla="*/ 1687972 w 4009365"/>
                <a:gd name="connsiteY1314" fmla="*/ 426413 h 871769"/>
                <a:gd name="connsiteX1315" fmla="*/ 1696130 w 4009365"/>
                <a:gd name="connsiteY1315" fmla="*/ 426413 h 871769"/>
                <a:gd name="connsiteX1316" fmla="*/ 1696130 w 4009365"/>
                <a:gd name="connsiteY1316" fmla="*/ 434239 h 871769"/>
                <a:gd name="connsiteX1317" fmla="*/ 1703292 w 4009365"/>
                <a:gd name="connsiteY1317" fmla="*/ 434239 h 871769"/>
                <a:gd name="connsiteX1318" fmla="*/ 1703292 w 4009365"/>
                <a:gd name="connsiteY1318" fmla="*/ 426413 h 871769"/>
                <a:gd name="connsiteX1319" fmla="*/ 1708187 w 4009365"/>
                <a:gd name="connsiteY1319" fmla="*/ 426413 h 871769"/>
                <a:gd name="connsiteX1320" fmla="*/ 1712114 w 4009365"/>
                <a:gd name="connsiteY1320" fmla="*/ 430976 h 871769"/>
                <a:gd name="connsiteX1321" fmla="*/ 1710316 w 4009365"/>
                <a:gd name="connsiteY1321" fmla="*/ 433105 h 871769"/>
                <a:gd name="connsiteX1322" fmla="*/ 1710648 w 4009365"/>
                <a:gd name="connsiteY1322" fmla="*/ 443862 h 871769"/>
                <a:gd name="connsiteX1323" fmla="*/ 1713109 w 4009365"/>
                <a:gd name="connsiteY1323" fmla="*/ 445162 h 871769"/>
                <a:gd name="connsiteX1324" fmla="*/ 1708215 w 4009365"/>
                <a:gd name="connsiteY1324" fmla="*/ 450803 h 871769"/>
                <a:gd name="connsiteX1325" fmla="*/ 1718833 w 4009365"/>
                <a:gd name="connsiteY1325" fmla="*/ 837645 h 871769"/>
                <a:gd name="connsiteX1326" fmla="*/ 1723009 w 4009365"/>
                <a:gd name="connsiteY1326" fmla="*/ 669347 h 871769"/>
                <a:gd name="connsiteX1327" fmla="*/ 1731803 w 4009365"/>
                <a:gd name="connsiteY1327" fmla="*/ 669153 h 871769"/>
                <a:gd name="connsiteX1328" fmla="*/ 1731803 w 4009365"/>
                <a:gd name="connsiteY1328" fmla="*/ 663125 h 871769"/>
                <a:gd name="connsiteX1329" fmla="*/ 1856989 w 4009365"/>
                <a:gd name="connsiteY1329" fmla="*/ 663125 h 871769"/>
                <a:gd name="connsiteX1330" fmla="*/ 1856989 w 4009365"/>
                <a:gd name="connsiteY1330" fmla="*/ 633923 h 871769"/>
                <a:gd name="connsiteX1331" fmla="*/ 1921089 w 4009365"/>
                <a:gd name="connsiteY1331" fmla="*/ 633923 h 871769"/>
                <a:gd name="connsiteX1332" fmla="*/ 1921089 w 4009365"/>
                <a:gd name="connsiteY1332" fmla="*/ 371549 h 871769"/>
                <a:gd name="connsiteX1333" fmla="*/ 1923108 w 4009365"/>
                <a:gd name="connsiteY1333" fmla="*/ 371549 h 871769"/>
                <a:gd name="connsiteX1334" fmla="*/ 1923108 w 4009365"/>
                <a:gd name="connsiteY1334" fmla="*/ 363502 h 871769"/>
                <a:gd name="connsiteX1335" fmla="*/ 1922693 w 4009365"/>
                <a:gd name="connsiteY1335" fmla="*/ 362340 h 871769"/>
                <a:gd name="connsiteX1336" fmla="*/ 1922693 w 4009365"/>
                <a:gd name="connsiteY1336" fmla="*/ 360570 h 871769"/>
                <a:gd name="connsiteX1337" fmla="*/ 1923523 w 4009365"/>
                <a:gd name="connsiteY1337" fmla="*/ 359907 h 871769"/>
                <a:gd name="connsiteX1338" fmla="*/ 1923523 w 4009365"/>
                <a:gd name="connsiteY1338" fmla="*/ 356644 h 871769"/>
                <a:gd name="connsiteX1339" fmla="*/ 1924352 w 4009365"/>
                <a:gd name="connsiteY1339" fmla="*/ 356229 h 871769"/>
                <a:gd name="connsiteX1340" fmla="*/ 1924352 w 4009365"/>
                <a:gd name="connsiteY1340" fmla="*/ 337867 h 871769"/>
                <a:gd name="connsiteX1341" fmla="*/ 1922666 w 4009365"/>
                <a:gd name="connsiteY1341" fmla="*/ 335433 h 871769"/>
                <a:gd name="connsiteX1342" fmla="*/ 1922666 w 4009365"/>
                <a:gd name="connsiteY1342" fmla="*/ 329294 h 871769"/>
                <a:gd name="connsiteX1343" fmla="*/ 1924352 w 4009365"/>
                <a:gd name="connsiteY1343" fmla="*/ 324510 h 871769"/>
                <a:gd name="connsiteX1344" fmla="*/ 1925348 w 4009365"/>
                <a:gd name="connsiteY1344" fmla="*/ 324510 h 871769"/>
                <a:gd name="connsiteX1345" fmla="*/ 1925348 w 4009365"/>
                <a:gd name="connsiteY1345" fmla="*/ 317127 h 871769"/>
                <a:gd name="connsiteX1346" fmla="*/ 1931902 w 4009365"/>
                <a:gd name="connsiteY1346" fmla="*/ 312675 h 871769"/>
                <a:gd name="connsiteX1347" fmla="*/ 1934833 w 4009365"/>
                <a:gd name="connsiteY1347" fmla="*/ 312675 h 871769"/>
                <a:gd name="connsiteX1348" fmla="*/ 1934833 w 4009365"/>
                <a:gd name="connsiteY1348" fmla="*/ 311430 h 871769"/>
                <a:gd name="connsiteX1349" fmla="*/ 1936520 w 4009365"/>
                <a:gd name="connsiteY1349" fmla="*/ 310822 h 871769"/>
                <a:gd name="connsiteX1350" fmla="*/ 1936520 w 4009365"/>
                <a:gd name="connsiteY1350" fmla="*/ 306038 h 871769"/>
                <a:gd name="connsiteX1351" fmla="*/ 1938207 w 4009365"/>
                <a:gd name="connsiteY1351" fmla="*/ 304545 h 871769"/>
                <a:gd name="connsiteX1352" fmla="*/ 1938207 w 4009365"/>
                <a:gd name="connsiteY1352" fmla="*/ 300922 h 871769"/>
                <a:gd name="connsiteX1353" fmla="*/ 1939451 w 4009365"/>
                <a:gd name="connsiteY1353" fmla="*/ 300922 h 871769"/>
                <a:gd name="connsiteX1354" fmla="*/ 1939451 w 4009365"/>
                <a:gd name="connsiteY1354" fmla="*/ 303411 h 871769"/>
                <a:gd name="connsiteX1355" fmla="*/ 1943322 w 4009365"/>
                <a:gd name="connsiteY1355" fmla="*/ 299982 h 871769"/>
                <a:gd name="connsiteX1356" fmla="*/ 1943322 w 4009365"/>
                <a:gd name="connsiteY1356" fmla="*/ 257202 h 871769"/>
                <a:gd name="connsiteX1357" fmla="*/ 1946835 w 4009365"/>
                <a:gd name="connsiteY1357" fmla="*/ 252335 h 871769"/>
                <a:gd name="connsiteX1358" fmla="*/ 1946835 w 4009365"/>
                <a:gd name="connsiteY1358" fmla="*/ 246639 h 871769"/>
                <a:gd name="connsiteX1359" fmla="*/ 1948189 w 4009365"/>
                <a:gd name="connsiteY1359" fmla="*/ 244371 h 871769"/>
                <a:gd name="connsiteX1360" fmla="*/ 1947277 w 4009365"/>
                <a:gd name="connsiteY1360" fmla="*/ 243127 h 871769"/>
                <a:gd name="connsiteX1361" fmla="*/ 1948687 w 4009365"/>
                <a:gd name="connsiteY1361" fmla="*/ 240113 h 871769"/>
                <a:gd name="connsiteX1362" fmla="*/ 1950125 w 4009365"/>
                <a:gd name="connsiteY1362" fmla="*/ 242214 h 871769"/>
                <a:gd name="connsiteX1363" fmla="*/ 1952227 w 4009365"/>
                <a:gd name="connsiteY1363" fmla="*/ 240113 h 871769"/>
                <a:gd name="connsiteX1364" fmla="*/ 1952227 w 4009365"/>
                <a:gd name="connsiteY1364" fmla="*/ 236020 h 871769"/>
                <a:gd name="connsiteX1365" fmla="*/ 1954080 w 4009365"/>
                <a:gd name="connsiteY1365" fmla="*/ 234167 h 871769"/>
                <a:gd name="connsiteX1366" fmla="*/ 1954080 w 4009365"/>
                <a:gd name="connsiteY1366" fmla="*/ 229632 h 871769"/>
                <a:gd name="connsiteX1367" fmla="*/ 1957758 w 4009365"/>
                <a:gd name="connsiteY1367" fmla="*/ 226203 h 871769"/>
                <a:gd name="connsiteX1368" fmla="*/ 1962790 w 4009365"/>
                <a:gd name="connsiteY1368" fmla="*/ 226203 h 871769"/>
                <a:gd name="connsiteX1369" fmla="*/ 1963454 w 4009365"/>
                <a:gd name="connsiteY1369" fmla="*/ 225539 h 871769"/>
                <a:gd name="connsiteX1370" fmla="*/ 1963454 w 4009365"/>
                <a:gd name="connsiteY1370" fmla="*/ 203306 h 871769"/>
                <a:gd name="connsiteX1371" fmla="*/ 1968570 w 4009365"/>
                <a:gd name="connsiteY1371" fmla="*/ 199379 h 871769"/>
                <a:gd name="connsiteX1372" fmla="*/ 1968570 w 4009365"/>
                <a:gd name="connsiteY1372" fmla="*/ 197941 h 871769"/>
                <a:gd name="connsiteX1373" fmla="*/ 1971363 w 4009365"/>
                <a:gd name="connsiteY1373" fmla="*/ 196448 h 871769"/>
                <a:gd name="connsiteX1374" fmla="*/ 1971363 w 4009365"/>
                <a:gd name="connsiteY1374" fmla="*/ 192217 h 871769"/>
                <a:gd name="connsiteX1375" fmla="*/ 1970589 w 4009365"/>
                <a:gd name="connsiteY1375" fmla="*/ 191498 h 871769"/>
                <a:gd name="connsiteX1376" fmla="*/ 1967989 w 4009365"/>
                <a:gd name="connsiteY1376" fmla="*/ 190834 h 871769"/>
                <a:gd name="connsiteX1377" fmla="*/ 1964726 w 4009365"/>
                <a:gd name="connsiteY1377" fmla="*/ 187488 h 871769"/>
                <a:gd name="connsiteX1378" fmla="*/ 1965113 w 4009365"/>
                <a:gd name="connsiteY1378" fmla="*/ 185995 h 871769"/>
                <a:gd name="connsiteX1379" fmla="*/ 1967796 w 4009365"/>
                <a:gd name="connsiteY1379" fmla="*/ 186410 h 871769"/>
                <a:gd name="connsiteX1380" fmla="*/ 1970063 w 4009365"/>
                <a:gd name="connsiteY1380" fmla="*/ 187074 h 871769"/>
                <a:gd name="connsiteX1381" fmla="*/ 1971391 w 4009365"/>
                <a:gd name="connsiteY1381" fmla="*/ 187682 h 871769"/>
                <a:gd name="connsiteX1382" fmla="*/ 1971391 w 4009365"/>
                <a:gd name="connsiteY1382" fmla="*/ 185497 h 871769"/>
                <a:gd name="connsiteX1383" fmla="*/ 1970616 w 4009365"/>
                <a:gd name="connsiteY1383" fmla="*/ 185719 h 871769"/>
                <a:gd name="connsiteX1384" fmla="*/ 1968487 w 4009365"/>
                <a:gd name="connsiteY1384" fmla="*/ 185331 h 871769"/>
                <a:gd name="connsiteX1385" fmla="*/ 1964505 w 4009365"/>
                <a:gd name="connsiteY1385" fmla="*/ 184723 h 871769"/>
                <a:gd name="connsiteX1386" fmla="*/ 1964118 w 4009365"/>
                <a:gd name="connsiteY1386" fmla="*/ 183451 h 871769"/>
                <a:gd name="connsiteX1387" fmla="*/ 1966164 w 4009365"/>
                <a:gd name="connsiteY1387" fmla="*/ 182787 h 871769"/>
                <a:gd name="connsiteX1388" fmla="*/ 1968238 w 4009365"/>
                <a:gd name="connsiteY1388" fmla="*/ 181377 h 871769"/>
                <a:gd name="connsiteX1389" fmla="*/ 1971391 w 4009365"/>
                <a:gd name="connsiteY1389" fmla="*/ 182151 h 871769"/>
                <a:gd name="connsiteX1390" fmla="*/ 1971391 w 4009365"/>
                <a:gd name="connsiteY1390" fmla="*/ 180879 h 871769"/>
                <a:gd name="connsiteX1391" fmla="*/ 1970395 w 4009365"/>
                <a:gd name="connsiteY1391" fmla="*/ 180133 h 871769"/>
                <a:gd name="connsiteX1392" fmla="*/ 1968293 w 4009365"/>
                <a:gd name="connsiteY1392" fmla="*/ 179663 h 871769"/>
                <a:gd name="connsiteX1393" fmla="*/ 1965030 w 4009365"/>
                <a:gd name="connsiteY1393" fmla="*/ 178612 h 871769"/>
                <a:gd name="connsiteX1394" fmla="*/ 1962182 w 4009365"/>
                <a:gd name="connsiteY1394" fmla="*/ 178363 h 871769"/>
                <a:gd name="connsiteX1395" fmla="*/ 1961076 w 4009365"/>
                <a:gd name="connsiteY1395" fmla="*/ 174906 h 871769"/>
                <a:gd name="connsiteX1396" fmla="*/ 1962763 w 4009365"/>
                <a:gd name="connsiteY1396" fmla="*/ 173938 h 871769"/>
                <a:gd name="connsiteX1397" fmla="*/ 1966579 w 4009365"/>
                <a:gd name="connsiteY1397" fmla="*/ 174298 h 871769"/>
                <a:gd name="connsiteX1398" fmla="*/ 1971418 w 4009365"/>
                <a:gd name="connsiteY1398" fmla="*/ 174657 h 871769"/>
                <a:gd name="connsiteX1399" fmla="*/ 1971418 w 4009365"/>
                <a:gd name="connsiteY1399" fmla="*/ 171422 h 871769"/>
                <a:gd name="connsiteX1400" fmla="*/ 1972248 w 4009365"/>
                <a:gd name="connsiteY1400" fmla="*/ 171422 h 871769"/>
                <a:gd name="connsiteX1401" fmla="*/ 1972248 w 4009365"/>
                <a:gd name="connsiteY1401" fmla="*/ 196420 h 871769"/>
                <a:gd name="connsiteX1402" fmla="*/ 1975207 w 4009365"/>
                <a:gd name="connsiteY1402" fmla="*/ 197997 h 871769"/>
                <a:gd name="connsiteX1403" fmla="*/ 1975207 w 4009365"/>
                <a:gd name="connsiteY1403" fmla="*/ 199407 h 871769"/>
                <a:gd name="connsiteX1404" fmla="*/ 1980323 w 4009365"/>
                <a:gd name="connsiteY1404" fmla="*/ 203361 h 871769"/>
                <a:gd name="connsiteX1405" fmla="*/ 1980323 w 4009365"/>
                <a:gd name="connsiteY1405" fmla="*/ 225595 h 871769"/>
                <a:gd name="connsiteX1406" fmla="*/ 1980986 w 4009365"/>
                <a:gd name="connsiteY1406" fmla="*/ 226258 h 871769"/>
                <a:gd name="connsiteX1407" fmla="*/ 1986019 w 4009365"/>
                <a:gd name="connsiteY1407" fmla="*/ 226258 h 871769"/>
                <a:gd name="connsiteX1408" fmla="*/ 1989725 w 4009365"/>
                <a:gd name="connsiteY1408" fmla="*/ 229715 h 871769"/>
                <a:gd name="connsiteX1409" fmla="*/ 1989725 w 4009365"/>
                <a:gd name="connsiteY1409" fmla="*/ 234250 h 871769"/>
                <a:gd name="connsiteX1410" fmla="*/ 1991577 w 4009365"/>
                <a:gd name="connsiteY1410" fmla="*/ 236103 h 871769"/>
                <a:gd name="connsiteX1411" fmla="*/ 1991577 w 4009365"/>
                <a:gd name="connsiteY1411" fmla="*/ 240223 h 871769"/>
                <a:gd name="connsiteX1412" fmla="*/ 1993679 w 4009365"/>
                <a:gd name="connsiteY1412" fmla="*/ 242325 h 871769"/>
                <a:gd name="connsiteX1413" fmla="*/ 1995117 w 4009365"/>
                <a:gd name="connsiteY1413" fmla="*/ 240223 h 871769"/>
                <a:gd name="connsiteX1414" fmla="*/ 1996527 w 4009365"/>
                <a:gd name="connsiteY1414" fmla="*/ 243237 h 871769"/>
                <a:gd name="connsiteX1415" fmla="*/ 1995615 w 4009365"/>
                <a:gd name="connsiteY1415" fmla="*/ 244509 h 871769"/>
                <a:gd name="connsiteX1416" fmla="*/ 1996970 w 4009365"/>
                <a:gd name="connsiteY1416" fmla="*/ 246777 h 871769"/>
                <a:gd name="connsiteX1417" fmla="*/ 1996970 w 4009365"/>
                <a:gd name="connsiteY1417" fmla="*/ 252474 h 871769"/>
                <a:gd name="connsiteX1418" fmla="*/ 2000482 w 4009365"/>
                <a:gd name="connsiteY1418" fmla="*/ 257341 h 871769"/>
                <a:gd name="connsiteX1419" fmla="*/ 2000482 w 4009365"/>
                <a:gd name="connsiteY1419" fmla="*/ 300120 h 871769"/>
                <a:gd name="connsiteX1420" fmla="*/ 2004353 w 4009365"/>
                <a:gd name="connsiteY1420" fmla="*/ 303549 h 871769"/>
                <a:gd name="connsiteX1421" fmla="*/ 2004353 w 4009365"/>
                <a:gd name="connsiteY1421" fmla="*/ 301033 h 871769"/>
                <a:gd name="connsiteX1422" fmla="*/ 2005625 w 4009365"/>
                <a:gd name="connsiteY1422" fmla="*/ 301033 h 871769"/>
                <a:gd name="connsiteX1423" fmla="*/ 2005625 w 4009365"/>
                <a:gd name="connsiteY1423" fmla="*/ 304655 h 871769"/>
                <a:gd name="connsiteX1424" fmla="*/ 2007312 w 4009365"/>
                <a:gd name="connsiteY1424" fmla="*/ 306149 h 871769"/>
                <a:gd name="connsiteX1425" fmla="*/ 2007312 w 4009365"/>
                <a:gd name="connsiteY1425" fmla="*/ 310933 h 871769"/>
                <a:gd name="connsiteX1426" fmla="*/ 2008999 w 4009365"/>
                <a:gd name="connsiteY1426" fmla="*/ 311513 h 871769"/>
                <a:gd name="connsiteX1427" fmla="*/ 2008999 w 4009365"/>
                <a:gd name="connsiteY1427" fmla="*/ 312785 h 871769"/>
                <a:gd name="connsiteX1428" fmla="*/ 2011930 w 4009365"/>
                <a:gd name="connsiteY1428" fmla="*/ 312785 h 871769"/>
                <a:gd name="connsiteX1429" fmla="*/ 2018484 w 4009365"/>
                <a:gd name="connsiteY1429" fmla="*/ 317238 h 871769"/>
                <a:gd name="connsiteX1430" fmla="*/ 2018484 w 4009365"/>
                <a:gd name="connsiteY1430" fmla="*/ 324621 h 871769"/>
                <a:gd name="connsiteX1431" fmla="*/ 2019480 w 4009365"/>
                <a:gd name="connsiteY1431" fmla="*/ 324621 h 871769"/>
                <a:gd name="connsiteX1432" fmla="*/ 2021166 w 4009365"/>
                <a:gd name="connsiteY1432" fmla="*/ 329405 h 871769"/>
                <a:gd name="connsiteX1433" fmla="*/ 2021166 w 4009365"/>
                <a:gd name="connsiteY1433" fmla="*/ 335516 h 871769"/>
                <a:gd name="connsiteX1434" fmla="*/ 2019480 w 4009365"/>
                <a:gd name="connsiteY1434" fmla="*/ 337950 h 871769"/>
                <a:gd name="connsiteX1435" fmla="*/ 2019480 w 4009365"/>
                <a:gd name="connsiteY1435" fmla="*/ 356312 h 871769"/>
                <a:gd name="connsiteX1436" fmla="*/ 2020337 w 4009365"/>
                <a:gd name="connsiteY1436" fmla="*/ 356726 h 871769"/>
                <a:gd name="connsiteX1437" fmla="*/ 2020337 w 4009365"/>
                <a:gd name="connsiteY1437" fmla="*/ 360017 h 871769"/>
                <a:gd name="connsiteX1438" fmla="*/ 2021166 w 4009365"/>
                <a:gd name="connsiteY1438" fmla="*/ 360681 h 871769"/>
                <a:gd name="connsiteX1439" fmla="*/ 2021166 w 4009365"/>
                <a:gd name="connsiteY1439" fmla="*/ 362451 h 871769"/>
                <a:gd name="connsiteX1440" fmla="*/ 2020752 w 4009365"/>
                <a:gd name="connsiteY1440" fmla="*/ 363612 h 871769"/>
                <a:gd name="connsiteX1441" fmla="*/ 2020752 w 4009365"/>
                <a:gd name="connsiteY1441" fmla="*/ 371659 h 871769"/>
                <a:gd name="connsiteX1442" fmla="*/ 2022770 w 4009365"/>
                <a:gd name="connsiteY1442" fmla="*/ 371659 h 871769"/>
                <a:gd name="connsiteX1443" fmla="*/ 2022770 w 4009365"/>
                <a:gd name="connsiteY1443" fmla="*/ 634033 h 871769"/>
                <a:gd name="connsiteX1444" fmla="*/ 2086871 w 4009365"/>
                <a:gd name="connsiteY1444" fmla="*/ 634033 h 871769"/>
                <a:gd name="connsiteX1445" fmla="*/ 2086871 w 4009365"/>
                <a:gd name="connsiteY1445" fmla="*/ 663235 h 871769"/>
                <a:gd name="connsiteX1446" fmla="*/ 2212057 w 4009365"/>
                <a:gd name="connsiteY1446" fmla="*/ 663235 h 871769"/>
                <a:gd name="connsiteX1447" fmla="*/ 2212057 w 4009365"/>
                <a:gd name="connsiteY1447" fmla="*/ 669264 h 871769"/>
                <a:gd name="connsiteX1448" fmla="*/ 2220602 w 4009365"/>
                <a:gd name="connsiteY1448" fmla="*/ 668600 h 871769"/>
                <a:gd name="connsiteX1449" fmla="*/ 2228206 w 4009365"/>
                <a:gd name="connsiteY1449" fmla="*/ 843230 h 871769"/>
                <a:gd name="connsiteX1450" fmla="*/ 2237387 w 4009365"/>
                <a:gd name="connsiteY1450" fmla="*/ 623027 h 871769"/>
                <a:gd name="connsiteX1451" fmla="*/ 2256689 w 4009365"/>
                <a:gd name="connsiteY1451" fmla="*/ 623027 h 871769"/>
                <a:gd name="connsiteX1452" fmla="*/ 2376428 w 4009365"/>
                <a:gd name="connsiteY1452" fmla="*/ 540704 h 871769"/>
                <a:gd name="connsiteX1453" fmla="*/ 2496167 w 4009365"/>
                <a:gd name="connsiteY1453" fmla="*/ 623027 h 871769"/>
                <a:gd name="connsiteX1454" fmla="*/ 2517681 w 4009365"/>
                <a:gd name="connsiteY1454" fmla="*/ 623027 h 871769"/>
                <a:gd name="connsiteX1455" fmla="*/ 2517681 w 4009365"/>
                <a:gd name="connsiteY1455" fmla="*/ 638873 h 871769"/>
                <a:gd name="connsiteX1456" fmla="*/ 2400210 w 4009365"/>
                <a:gd name="connsiteY1456" fmla="*/ 638873 h 871769"/>
                <a:gd name="connsiteX1457" fmla="*/ 2406376 w 4009365"/>
                <a:gd name="connsiteY1457" fmla="*/ 840908 h 871769"/>
                <a:gd name="connsiteX1458" fmla="*/ 2413483 w 4009365"/>
                <a:gd name="connsiteY1458" fmla="*/ 651289 h 871769"/>
                <a:gd name="connsiteX1459" fmla="*/ 2854525 w 4009365"/>
                <a:gd name="connsiteY1459" fmla="*/ 651289 h 871769"/>
                <a:gd name="connsiteX1460" fmla="*/ 2862849 w 4009365"/>
                <a:gd name="connsiteY1460" fmla="*/ 838999 h 871769"/>
                <a:gd name="connsiteX1461" fmla="*/ 2868435 w 4009365"/>
                <a:gd name="connsiteY1461" fmla="*/ 637380 h 871769"/>
                <a:gd name="connsiteX1462" fmla="*/ 2674641 w 4009365"/>
                <a:gd name="connsiteY1462" fmla="*/ 637380 h 871769"/>
                <a:gd name="connsiteX1463" fmla="*/ 2674806 w 4009365"/>
                <a:gd name="connsiteY1463" fmla="*/ 627175 h 871769"/>
                <a:gd name="connsiteX1464" fmla="*/ 2580039 w 4009365"/>
                <a:gd name="connsiteY1464" fmla="*/ 627175 h 871769"/>
                <a:gd name="connsiteX1465" fmla="*/ 2580122 w 4009365"/>
                <a:gd name="connsiteY1465" fmla="*/ 636522 h 871769"/>
                <a:gd name="connsiteX1466" fmla="*/ 2580039 w 4009365"/>
                <a:gd name="connsiteY1466" fmla="*/ 636522 h 871769"/>
                <a:gd name="connsiteX1467" fmla="*/ 2580039 w 4009365"/>
                <a:gd name="connsiteY1467" fmla="*/ 637352 h 871769"/>
                <a:gd name="connsiteX1468" fmla="*/ 2531590 w 4009365"/>
                <a:gd name="connsiteY1468" fmla="*/ 637352 h 871769"/>
                <a:gd name="connsiteX1469" fmla="*/ 2531590 w 4009365"/>
                <a:gd name="connsiteY1469" fmla="*/ 609090 h 871769"/>
                <a:gd name="connsiteX1470" fmla="*/ 2505237 w 4009365"/>
                <a:gd name="connsiteY1470" fmla="*/ 609090 h 871769"/>
                <a:gd name="connsiteX1471" fmla="*/ 2457175 w 4009365"/>
                <a:gd name="connsiteY1471" fmla="*/ 552318 h 871769"/>
                <a:gd name="connsiteX1472" fmla="*/ 2376456 w 4009365"/>
                <a:gd name="connsiteY1472" fmla="*/ 526766 h 871769"/>
                <a:gd name="connsiteX1473" fmla="*/ 2317471 w 4009365"/>
                <a:gd name="connsiteY1473" fmla="*/ 540040 h 871769"/>
                <a:gd name="connsiteX1474" fmla="*/ 2321121 w 4009365"/>
                <a:gd name="connsiteY1474" fmla="*/ 160112 h 871769"/>
                <a:gd name="connsiteX1475" fmla="*/ 2407925 w 4009365"/>
                <a:gd name="connsiteY1475" fmla="*/ 160112 h 871769"/>
                <a:gd name="connsiteX1476" fmla="*/ 2407925 w 4009365"/>
                <a:gd name="connsiteY1476" fmla="*/ 146257 h 871769"/>
                <a:gd name="connsiteX1477" fmla="*/ 2488258 w 4009365"/>
                <a:gd name="connsiteY1477" fmla="*/ 146257 h 871769"/>
                <a:gd name="connsiteX1478" fmla="*/ 2488258 w 4009365"/>
                <a:gd name="connsiteY1478" fmla="*/ 160112 h 871769"/>
                <a:gd name="connsiteX1479" fmla="*/ 2526143 w 4009365"/>
                <a:gd name="connsiteY1479" fmla="*/ 160112 h 871769"/>
                <a:gd name="connsiteX1480" fmla="*/ 2169913 w 4009365"/>
                <a:gd name="connsiteY1480" fmla="*/ 0 h 871769"/>
                <a:gd name="connsiteX1481" fmla="*/ 2174974 w 4009365"/>
                <a:gd name="connsiteY1481" fmla="*/ 0 h 871769"/>
                <a:gd name="connsiteX1482" fmla="*/ 2174974 w 4009365"/>
                <a:gd name="connsiteY1482" fmla="*/ 37000 h 871769"/>
                <a:gd name="connsiteX1483" fmla="*/ 2224971 w 4009365"/>
                <a:gd name="connsiteY1483" fmla="*/ 37000 h 871769"/>
                <a:gd name="connsiteX1484" fmla="*/ 2224971 w 4009365"/>
                <a:gd name="connsiteY1484" fmla="*/ 49610 h 871769"/>
                <a:gd name="connsiteX1485" fmla="*/ 2278342 w 4009365"/>
                <a:gd name="connsiteY1485" fmla="*/ 49610 h 871769"/>
                <a:gd name="connsiteX1486" fmla="*/ 2278342 w 4009365"/>
                <a:gd name="connsiteY1486" fmla="*/ 91615 h 871769"/>
                <a:gd name="connsiteX1487" fmla="*/ 2302289 w 4009365"/>
                <a:gd name="connsiteY1487" fmla="*/ 91615 h 871769"/>
                <a:gd name="connsiteX1488" fmla="*/ 2305663 w 4009365"/>
                <a:gd name="connsiteY1488" fmla="*/ 545931 h 871769"/>
                <a:gd name="connsiteX1489" fmla="*/ 2295625 w 4009365"/>
                <a:gd name="connsiteY1489" fmla="*/ 552208 h 871769"/>
                <a:gd name="connsiteX1490" fmla="*/ 2247563 w 4009365"/>
                <a:gd name="connsiteY1490" fmla="*/ 608980 h 871769"/>
                <a:gd name="connsiteX1491" fmla="*/ 2223395 w 4009365"/>
                <a:gd name="connsiteY1491" fmla="*/ 608980 h 871769"/>
                <a:gd name="connsiteX1492" fmla="*/ 2223395 w 4009365"/>
                <a:gd name="connsiteY1492" fmla="*/ 649161 h 871769"/>
                <a:gd name="connsiteX1493" fmla="*/ 2100752 w 4009365"/>
                <a:gd name="connsiteY1493" fmla="*/ 649161 h 871769"/>
                <a:gd name="connsiteX1494" fmla="*/ 2100752 w 4009365"/>
                <a:gd name="connsiteY1494" fmla="*/ 619959 h 871769"/>
                <a:gd name="connsiteX1495" fmla="*/ 2086843 w 4009365"/>
                <a:gd name="connsiteY1495" fmla="*/ 619959 h 871769"/>
                <a:gd name="connsiteX1496" fmla="*/ 2040164 w 4009365"/>
                <a:gd name="connsiteY1496" fmla="*/ 619599 h 871769"/>
                <a:gd name="connsiteX1497" fmla="*/ 2042598 w 4009365"/>
                <a:gd name="connsiteY1497" fmla="*/ 91588 h 871769"/>
                <a:gd name="connsiteX1498" fmla="*/ 2066545 w 4009365"/>
                <a:gd name="connsiteY1498" fmla="*/ 91588 h 871769"/>
                <a:gd name="connsiteX1499" fmla="*/ 2066545 w 4009365"/>
                <a:gd name="connsiteY1499" fmla="*/ 49582 h 871769"/>
                <a:gd name="connsiteX1500" fmla="*/ 2119916 w 4009365"/>
                <a:gd name="connsiteY1500" fmla="*/ 49582 h 871769"/>
                <a:gd name="connsiteX1501" fmla="*/ 2119916 w 4009365"/>
                <a:gd name="connsiteY1501" fmla="*/ 36972 h 871769"/>
                <a:gd name="connsiteX1502" fmla="*/ 2169913 w 4009365"/>
                <a:gd name="connsiteY1502" fmla="*/ 36972 h 871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Lst>
              <a:rect l="l" t="t" r="r" b="b"/>
              <a:pathLst>
                <a:path w="4009365" h="871769">
                  <a:moveTo>
                    <a:pt x="866836" y="724294"/>
                  </a:moveTo>
                  <a:lnTo>
                    <a:pt x="849304" y="748048"/>
                  </a:lnTo>
                  <a:lnTo>
                    <a:pt x="866366" y="748048"/>
                  </a:lnTo>
                  <a:close/>
                  <a:moveTo>
                    <a:pt x="812000" y="724294"/>
                  </a:moveTo>
                  <a:lnTo>
                    <a:pt x="812470" y="748048"/>
                  </a:lnTo>
                  <a:lnTo>
                    <a:pt x="829532" y="748048"/>
                  </a:lnTo>
                  <a:close/>
                  <a:moveTo>
                    <a:pt x="99044" y="724294"/>
                  </a:moveTo>
                  <a:lnTo>
                    <a:pt x="81511" y="748048"/>
                  </a:lnTo>
                  <a:lnTo>
                    <a:pt x="98574" y="748048"/>
                  </a:lnTo>
                  <a:close/>
                  <a:moveTo>
                    <a:pt x="44207" y="724294"/>
                  </a:moveTo>
                  <a:lnTo>
                    <a:pt x="44677" y="748048"/>
                  </a:lnTo>
                  <a:lnTo>
                    <a:pt x="61739" y="748048"/>
                  </a:lnTo>
                  <a:close/>
                  <a:moveTo>
                    <a:pt x="870265" y="719648"/>
                  </a:moveTo>
                  <a:lnTo>
                    <a:pt x="869159" y="721141"/>
                  </a:lnTo>
                  <a:lnTo>
                    <a:pt x="868634" y="748048"/>
                  </a:lnTo>
                  <a:lnTo>
                    <a:pt x="868606" y="748076"/>
                  </a:lnTo>
                  <a:lnTo>
                    <a:pt x="888461" y="748076"/>
                  </a:lnTo>
                  <a:cubicBezTo>
                    <a:pt x="888461" y="748076"/>
                    <a:pt x="870265" y="719648"/>
                    <a:pt x="870265" y="719648"/>
                  </a:cubicBezTo>
                  <a:close/>
                  <a:moveTo>
                    <a:pt x="808543" y="719648"/>
                  </a:moveTo>
                  <a:lnTo>
                    <a:pt x="790348" y="748048"/>
                  </a:lnTo>
                  <a:lnTo>
                    <a:pt x="810175" y="748048"/>
                  </a:lnTo>
                  <a:lnTo>
                    <a:pt x="809649" y="721141"/>
                  </a:lnTo>
                  <a:cubicBezTo>
                    <a:pt x="809649" y="721141"/>
                    <a:pt x="808543" y="719648"/>
                    <a:pt x="808543" y="719648"/>
                  </a:cubicBezTo>
                  <a:close/>
                  <a:moveTo>
                    <a:pt x="102500" y="719648"/>
                  </a:moveTo>
                  <a:lnTo>
                    <a:pt x="101366" y="721141"/>
                  </a:lnTo>
                  <a:lnTo>
                    <a:pt x="100841" y="748048"/>
                  </a:lnTo>
                  <a:lnTo>
                    <a:pt x="100841" y="748076"/>
                  </a:lnTo>
                  <a:lnTo>
                    <a:pt x="120696" y="748076"/>
                  </a:lnTo>
                  <a:cubicBezTo>
                    <a:pt x="120696" y="748076"/>
                    <a:pt x="102500" y="719648"/>
                    <a:pt x="102500" y="719648"/>
                  </a:cubicBezTo>
                  <a:close/>
                  <a:moveTo>
                    <a:pt x="40751" y="719648"/>
                  </a:moveTo>
                  <a:lnTo>
                    <a:pt x="22555" y="748048"/>
                  </a:lnTo>
                  <a:lnTo>
                    <a:pt x="42382" y="748048"/>
                  </a:lnTo>
                  <a:lnTo>
                    <a:pt x="41857" y="721141"/>
                  </a:lnTo>
                  <a:cubicBezTo>
                    <a:pt x="41857" y="721141"/>
                    <a:pt x="40751" y="719648"/>
                    <a:pt x="40751" y="719648"/>
                  </a:cubicBezTo>
                  <a:close/>
                  <a:moveTo>
                    <a:pt x="925793" y="710661"/>
                  </a:moveTo>
                  <a:lnTo>
                    <a:pt x="925434" y="748048"/>
                  </a:lnTo>
                  <a:lnTo>
                    <a:pt x="953529" y="748048"/>
                  </a:lnTo>
                  <a:close/>
                  <a:moveTo>
                    <a:pt x="753016" y="710661"/>
                  </a:moveTo>
                  <a:lnTo>
                    <a:pt x="725279" y="748048"/>
                  </a:lnTo>
                  <a:lnTo>
                    <a:pt x="753375" y="748048"/>
                  </a:lnTo>
                  <a:close/>
                  <a:moveTo>
                    <a:pt x="157973" y="710661"/>
                  </a:moveTo>
                  <a:lnTo>
                    <a:pt x="157613" y="748048"/>
                  </a:lnTo>
                  <a:lnTo>
                    <a:pt x="185709" y="748048"/>
                  </a:lnTo>
                  <a:close/>
                  <a:moveTo>
                    <a:pt x="1192454" y="709250"/>
                  </a:moveTo>
                  <a:lnTo>
                    <a:pt x="1172184" y="748020"/>
                  </a:lnTo>
                  <a:lnTo>
                    <a:pt x="1172211" y="748020"/>
                  </a:lnTo>
                  <a:lnTo>
                    <a:pt x="1192730" y="748020"/>
                  </a:lnTo>
                  <a:close/>
                  <a:moveTo>
                    <a:pt x="486383" y="709250"/>
                  </a:moveTo>
                  <a:lnTo>
                    <a:pt x="486106" y="748020"/>
                  </a:lnTo>
                  <a:lnTo>
                    <a:pt x="486134" y="748020"/>
                  </a:lnTo>
                  <a:lnTo>
                    <a:pt x="506653" y="748020"/>
                  </a:lnTo>
                  <a:close/>
                  <a:moveTo>
                    <a:pt x="424633" y="709250"/>
                  </a:moveTo>
                  <a:lnTo>
                    <a:pt x="404363" y="748020"/>
                  </a:lnTo>
                  <a:lnTo>
                    <a:pt x="404391" y="748020"/>
                  </a:lnTo>
                  <a:lnTo>
                    <a:pt x="424910" y="748020"/>
                  </a:lnTo>
                  <a:close/>
                  <a:moveTo>
                    <a:pt x="843193" y="707564"/>
                  </a:moveTo>
                  <a:lnTo>
                    <a:pt x="843193" y="748048"/>
                  </a:lnTo>
                  <a:lnTo>
                    <a:pt x="843469" y="748048"/>
                  </a:lnTo>
                  <a:lnTo>
                    <a:pt x="865896" y="717685"/>
                  </a:lnTo>
                  <a:close/>
                  <a:moveTo>
                    <a:pt x="835643" y="707564"/>
                  </a:moveTo>
                  <a:lnTo>
                    <a:pt x="812940" y="717685"/>
                  </a:lnTo>
                  <a:lnTo>
                    <a:pt x="835339" y="748048"/>
                  </a:lnTo>
                  <a:lnTo>
                    <a:pt x="835643" y="748048"/>
                  </a:lnTo>
                  <a:close/>
                  <a:moveTo>
                    <a:pt x="75372" y="707564"/>
                  </a:moveTo>
                  <a:lnTo>
                    <a:pt x="75372" y="748048"/>
                  </a:lnTo>
                  <a:lnTo>
                    <a:pt x="75649" y="748048"/>
                  </a:lnTo>
                  <a:lnTo>
                    <a:pt x="98076" y="717685"/>
                  </a:lnTo>
                  <a:close/>
                  <a:moveTo>
                    <a:pt x="67851" y="707564"/>
                  </a:moveTo>
                  <a:lnTo>
                    <a:pt x="45147" y="717685"/>
                  </a:lnTo>
                  <a:lnTo>
                    <a:pt x="67547" y="748048"/>
                  </a:lnTo>
                  <a:lnTo>
                    <a:pt x="67851" y="748048"/>
                  </a:lnTo>
                  <a:close/>
                  <a:moveTo>
                    <a:pt x="543017" y="706872"/>
                  </a:moveTo>
                  <a:lnTo>
                    <a:pt x="543017" y="748020"/>
                  </a:lnTo>
                  <a:lnTo>
                    <a:pt x="565858" y="748020"/>
                  </a:lnTo>
                  <a:close/>
                  <a:moveTo>
                    <a:pt x="1135820" y="706845"/>
                  </a:moveTo>
                  <a:lnTo>
                    <a:pt x="1112978" y="747993"/>
                  </a:lnTo>
                  <a:lnTo>
                    <a:pt x="1135820" y="747993"/>
                  </a:lnTo>
                  <a:close/>
                  <a:moveTo>
                    <a:pt x="367999" y="706845"/>
                  </a:moveTo>
                  <a:lnTo>
                    <a:pt x="345158" y="747993"/>
                  </a:lnTo>
                  <a:lnTo>
                    <a:pt x="367999" y="747993"/>
                  </a:lnTo>
                  <a:close/>
                  <a:moveTo>
                    <a:pt x="1194666" y="706070"/>
                  </a:moveTo>
                  <a:lnTo>
                    <a:pt x="1194970" y="748020"/>
                  </a:lnTo>
                  <a:lnTo>
                    <a:pt x="1215516" y="748020"/>
                  </a:lnTo>
                  <a:close/>
                  <a:moveTo>
                    <a:pt x="484143" y="706070"/>
                  </a:moveTo>
                  <a:lnTo>
                    <a:pt x="463292" y="748020"/>
                  </a:lnTo>
                  <a:lnTo>
                    <a:pt x="483839" y="748020"/>
                  </a:lnTo>
                  <a:close/>
                  <a:moveTo>
                    <a:pt x="426873" y="706070"/>
                  </a:moveTo>
                  <a:lnTo>
                    <a:pt x="427150" y="748020"/>
                  </a:lnTo>
                  <a:lnTo>
                    <a:pt x="427177" y="748020"/>
                  </a:lnTo>
                  <a:lnTo>
                    <a:pt x="447724" y="748020"/>
                  </a:lnTo>
                  <a:close/>
                  <a:moveTo>
                    <a:pt x="601531" y="705932"/>
                  </a:moveTo>
                  <a:lnTo>
                    <a:pt x="601807" y="748048"/>
                  </a:lnTo>
                  <a:lnTo>
                    <a:pt x="623709" y="748048"/>
                  </a:lnTo>
                  <a:close/>
                  <a:moveTo>
                    <a:pt x="1077278" y="705904"/>
                  </a:moveTo>
                  <a:lnTo>
                    <a:pt x="1055100" y="748020"/>
                  </a:lnTo>
                  <a:lnTo>
                    <a:pt x="1077001" y="748020"/>
                  </a:lnTo>
                  <a:close/>
                  <a:moveTo>
                    <a:pt x="309485" y="705904"/>
                  </a:moveTo>
                  <a:lnTo>
                    <a:pt x="287307" y="748020"/>
                  </a:lnTo>
                  <a:lnTo>
                    <a:pt x="309208" y="748020"/>
                  </a:lnTo>
                  <a:close/>
                  <a:moveTo>
                    <a:pt x="540749" y="705407"/>
                  </a:moveTo>
                  <a:lnTo>
                    <a:pt x="516635" y="748020"/>
                  </a:lnTo>
                  <a:lnTo>
                    <a:pt x="540749" y="748020"/>
                  </a:lnTo>
                  <a:close/>
                  <a:moveTo>
                    <a:pt x="1138087" y="705379"/>
                  </a:moveTo>
                  <a:lnTo>
                    <a:pt x="1138087" y="747993"/>
                  </a:lnTo>
                  <a:lnTo>
                    <a:pt x="1162201" y="747993"/>
                  </a:lnTo>
                  <a:close/>
                  <a:moveTo>
                    <a:pt x="370267" y="705379"/>
                  </a:moveTo>
                  <a:lnTo>
                    <a:pt x="370267" y="747993"/>
                  </a:lnTo>
                  <a:lnTo>
                    <a:pt x="394353" y="747993"/>
                  </a:lnTo>
                  <a:close/>
                  <a:moveTo>
                    <a:pt x="630871" y="704854"/>
                  </a:moveTo>
                  <a:lnTo>
                    <a:pt x="630871" y="748048"/>
                  </a:lnTo>
                  <a:lnTo>
                    <a:pt x="654183" y="748048"/>
                  </a:lnTo>
                  <a:close/>
                  <a:moveTo>
                    <a:pt x="1047938" y="704826"/>
                  </a:moveTo>
                  <a:lnTo>
                    <a:pt x="1024626" y="748020"/>
                  </a:lnTo>
                  <a:lnTo>
                    <a:pt x="1047938" y="748020"/>
                  </a:lnTo>
                  <a:close/>
                  <a:moveTo>
                    <a:pt x="280117" y="704826"/>
                  </a:moveTo>
                  <a:lnTo>
                    <a:pt x="256805" y="748020"/>
                  </a:lnTo>
                  <a:lnTo>
                    <a:pt x="280117" y="748020"/>
                  </a:lnTo>
                  <a:close/>
                  <a:moveTo>
                    <a:pt x="599236" y="703554"/>
                  </a:moveTo>
                  <a:lnTo>
                    <a:pt x="575813" y="748048"/>
                  </a:lnTo>
                  <a:lnTo>
                    <a:pt x="599540" y="748048"/>
                  </a:lnTo>
                  <a:close/>
                  <a:moveTo>
                    <a:pt x="1079573" y="703526"/>
                  </a:moveTo>
                  <a:lnTo>
                    <a:pt x="1079269" y="748020"/>
                  </a:lnTo>
                  <a:lnTo>
                    <a:pt x="1102995" y="748020"/>
                  </a:lnTo>
                  <a:close/>
                  <a:moveTo>
                    <a:pt x="311780" y="703526"/>
                  </a:moveTo>
                  <a:lnTo>
                    <a:pt x="311476" y="748020"/>
                  </a:lnTo>
                  <a:lnTo>
                    <a:pt x="335202" y="748020"/>
                  </a:lnTo>
                  <a:close/>
                  <a:moveTo>
                    <a:pt x="511298" y="700318"/>
                  </a:moveTo>
                  <a:cubicBezTo>
                    <a:pt x="503362" y="700401"/>
                    <a:pt x="495259" y="700429"/>
                    <a:pt x="486964" y="700429"/>
                  </a:cubicBezTo>
                  <a:lnTo>
                    <a:pt x="510386" y="745200"/>
                  </a:lnTo>
                  <a:lnTo>
                    <a:pt x="510386" y="745227"/>
                  </a:lnTo>
                  <a:close/>
                  <a:moveTo>
                    <a:pt x="399690" y="700291"/>
                  </a:moveTo>
                  <a:lnTo>
                    <a:pt x="400630" y="745172"/>
                  </a:lnTo>
                  <a:lnTo>
                    <a:pt x="424025" y="700401"/>
                  </a:lnTo>
                  <a:close/>
                  <a:moveTo>
                    <a:pt x="1167538" y="700263"/>
                  </a:moveTo>
                  <a:lnTo>
                    <a:pt x="1167510" y="700291"/>
                  </a:lnTo>
                  <a:lnTo>
                    <a:pt x="1167538" y="700291"/>
                  </a:lnTo>
                  <a:lnTo>
                    <a:pt x="1168451" y="745172"/>
                  </a:lnTo>
                  <a:lnTo>
                    <a:pt x="1191845" y="700401"/>
                  </a:lnTo>
                  <a:lnTo>
                    <a:pt x="1167538" y="700291"/>
                  </a:lnTo>
                  <a:close/>
                  <a:moveTo>
                    <a:pt x="457789" y="700263"/>
                  </a:moveTo>
                  <a:lnTo>
                    <a:pt x="457789" y="748020"/>
                  </a:lnTo>
                  <a:lnTo>
                    <a:pt x="458149" y="748020"/>
                  </a:lnTo>
                  <a:lnTo>
                    <a:pt x="481792" y="700401"/>
                  </a:lnTo>
                  <a:cubicBezTo>
                    <a:pt x="473911" y="700401"/>
                    <a:pt x="465864" y="700346"/>
                    <a:pt x="457789" y="700263"/>
                  </a:cubicBezTo>
                  <a:close/>
                  <a:moveTo>
                    <a:pt x="453199" y="700263"/>
                  </a:moveTo>
                  <a:cubicBezTo>
                    <a:pt x="445124" y="700346"/>
                    <a:pt x="437077" y="700401"/>
                    <a:pt x="429196" y="700401"/>
                  </a:cubicBezTo>
                  <a:lnTo>
                    <a:pt x="452839" y="748020"/>
                  </a:lnTo>
                  <a:lnTo>
                    <a:pt x="453199" y="748020"/>
                  </a:lnTo>
                  <a:close/>
                  <a:moveTo>
                    <a:pt x="1140272" y="699848"/>
                  </a:moveTo>
                  <a:lnTo>
                    <a:pt x="1166183" y="745670"/>
                  </a:lnTo>
                  <a:lnTo>
                    <a:pt x="1165243" y="700263"/>
                  </a:lnTo>
                  <a:cubicBezTo>
                    <a:pt x="1156725" y="700152"/>
                    <a:pt x="1148402" y="700042"/>
                    <a:pt x="1140272" y="699848"/>
                  </a:cubicBezTo>
                  <a:close/>
                  <a:moveTo>
                    <a:pt x="538537" y="699848"/>
                  </a:moveTo>
                  <a:cubicBezTo>
                    <a:pt x="530434" y="700042"/>
                    <a:pt x="522111" y="700180"/>
                    <a:pt x="513566" y="700263"/>
                  </a:cubicBezTo>
                  <a:lnTo>
                    <a:pt x="512626" y="745670"/>
                  </a:lnTo>
                  <a:close/>
                  <a:moveTo>
                    <a:pt x="372424" y="699848"/>
                  </a:moveTo>
                  <a:lnTo>
                    <a:pt x="398363" y="745670"/>
                  </a:lnTo>
                  <a:lnTo>
                    <a:pt x="397422" y="700263"/>
                  </a:lnTo>
                  <a:cubicBezTo>
                    <a:pt x="388905" y="700152"/>
                    <a:pt x="380581" y="700042"/>
                    <a:pt x="372451" y="699848"/>
                  </a:cubicBezTo>
                  <a:close/>
                  <a:moveTo>
                    <a:pt x="570504" y="698936"/>
                  </a:moveTo>
                  <a:cubicBezTo>
                    <a:pt x="562042" y="699240"/>
                    <a:pt x="553331" y="699516"/>
                    <a:pt x="544344" y="699738"/>
                  </a:cubicBezTo>
                  <a:lnTo>
                    <a:pt x="570172" y="746256"/>
                  </a:lnTo>
                  <a:lnTo>
                    <a:pt x="570172" y="746306"/>
                  </a:lnTo>
                  <a:lnTo>
                    <a:pt x="570200" y="746306"/>
                  </a:lnTo>
                  <a:lnTo>
                    <a:pt x="570172" y="746256"/>
                  </a:lnTo>
                  <a:close/>
                  <a:moveTo>
                    <a:pt x="1108305" y="698908"/>
                  </a:moveTo>
                  <a:lnTo>
                    <a:pt x="1108637" y="746278"/>
                  </a:lnTo>
                  <a:lnTo>
                    <a:pt x="1134465" y="699710"/>
                  </a:lnTo>
                  <a:cubicBezTo>
                    <a:pt x="1125477" y="699489"/>
                    <a:pt x="1116767" y="699212"/>
                    <a:pt x="1108305" y="698908"/>
                  </a:cubicBezTo>
                  <a:close/>
                  <a:moveTo>
                    <a:pt x="340484" y="698908"/>
                  </a:moveTo>
                  <a:lnTo>
                    <a:pt x="340816" y="746278"/>
                  </a:lnTo>
                  <a:lnTo>
                    <a:pt x="366644" y="699710"/>
                  </a:lnTo>
                  <a:cubicBezTo>
                    <a:pt x="357685" y="699489"/>
                    <a:pt x="348946" y="699212"/>
                    <a:pt x="340484" y="698908"/>
                  </a:cubicBezTo>
                  <a:close/>
                  <a:moveTo>
                    <a:pt x="989783" y="698272"/>
                  </a:moveTo>
                  <a:lnTo>
                    <a:pt x="964508" y="748048"/>
                  </a:lnTo>
                  <a:lnTo>
                    <a:pt x="989202" y="748048"/>
                  </a:lnTo>
                  <a:close/>
                  <a:moveTo>
                    <a:pt x="689054" y="698272"/>
                  </a:moveTo>
                  <a:lnTo>
                    <a:pt x="689634" y="748048"/>
                  </a:lnTo>
                  <a:lnTo>
                    <a:pt x="714329" y="748048"/>
                  </a:lnTo>
                  <a:close/>
                  <a:moveTo>
                    <a:pt x="221962" y="698272"/>
                  </a:moveTo>
                  <a:lnTo>
                    <a:pt x="196687" y="748048"/>
                  </a:lnTo>
                  <a:lnTo>
                    <a:pt x="221354" y="748048"/>
                  </a:lnTo>
                  <a:close/>
                  <a:moveTo>
                    <a:pt x="597079" y="697747"/>
                  </a:moveTo>
                  <a:cubicBezTo>
                    <a:pt x="589253" y="698161"/>
                    <a:pt x="581150" y="698521"/>
                    <a:pt x="572799" y="698853"/>
                  </a:cubicBezTo>
                  <a:lnTo>
                    <a:pt x="572495" y="744453"/>
                  </a:lnTo>
                  <a:close/>
                  <a:moveTo>
                    <a:pt x="1081757" y="697719"/>
                  </a:moveTo>
                  <a:lnTo>
                    <a:pt x="1106341" y="744425"/>
                  </a:lnTo>
                  <a:lnTo>
                    <a:pt x="1106037" y="698825"/>
                  </a:lnTo>
                  <a:cubicBezTo>
                    <a:pt x="1097686" y="698493"/>
                    <a:pt x="1089583" y="698134"/>
                    <a:pt x="1081757" y="697719"/>
                  </a:cubicBezTo>
                  <a:close/>
                  <a:moveTo>
                    <a:pt x="313937" y="697719"/>
                  </a:moveTo>
                  <a:lnTo>
                    <a:pt x="338549" y="744425"/>
                  </a:lnTo>
                  <a:lnTo>
                    <a:pt x="338217" y="698825"/>
                  </a:lnTo>
                  <a:cubicBezTo>
                    <a:pt x="329865" y="698493"/>
                    <a:pt x="321791" y="698134"/>
                    <a:pt x="313937" y="697719"/>
                  </a:cubicBezTo>
                  <a:close/>
                  <a:moveTo>
                    <a:pt x="992050" y="697276"/>
                  </a:moveTo>
                  <a:lnTo>
                    <a:pt x="991442" y="748048"/>
                  </a:lnTo>
                  <a:lnTo>
                    <a:pt x="1015168" y="748048"/>
                  </a:lnTo>
                  <a:close/>
                  <a:moveTo>
                    <a:pt x="686758" y="697276"/>
                  </a:moveTo>
                  <a:lnTo>
                    <a:pt x="663668" y="748048"/>
                  </a:lnTo>
                  <a:lnTo>
                    <a:pt x="687367" y="748048"/>
                  </a:lnTo>
                  <a:close/>
                  <a:moveTo>
                    <a:pt x="224258" y="697276"/>
                  </a:moveTo>
                  <a:lnTo>
                    <a:pt x="223649" y="748048"/>
                  </a:lnTo>
                  <a:lnTo>
                    <a:pt x="223677" y="748048"/>
                  </a:lnTo>
                  <a:lnTo>
                    <a:pt x="247376" y="748048"/>
                  </a:lnTo>
                  <a:close/>
                  <a:moveTo>
                    <a:pt x="626364" y="695949"/>
                  </a:moveTo>
                  <a:cubicBezTo>
                    <a:pt x="618621" y="696502"/>
                    <a:pt x="610601" y="697000"/>
                    <a:pt x="602305" y="697470"/>
                  </a:cubicBezTo>
                  <a:lnTo>
                    <a:pt x="626364" y="743126"/>
                  </a:lnTo>
                  <a:close/>
                  <a:moveTo>
                    <a:pt x="1052473" y="695922"/>
                  </a:moveTo>
                  <a:lnTo>
                    <a:pt x="1052473" y="743098"/>
                  </a:lnTo>
                  <a:lnTo>
                    <a:pt x="1076531" y="697442"/>
                  </a:lnTo>
                  <a:cubicBezTo>
                    <a:pt x="1068235" y="696972"/>
                    <a:pt x="1060216" y="696475"/>
                    <a:pt x="1052473" y="695922"/>
                  </a:cubicBezTo>
                  <a:close/>
                  <a:moveTo>
                    <a:pt x="284652" y="695922"/>
                  </a:moveTo>
                  <a:lnTo>
                    <a:pt x="284652" y="743098"/>
                  </a:lnTo>
                  <a:lnTo>
                    <a:pt x="308711" y="697442"/>
                  </a:lnTo>
                  <a:cubicBezTo>
                    <a:pt x="300415" y="696972"/>
                    <a:pt x="292395" y="696475"/>
                    <a:pt x="284652" y="695922"/>
                  </a:cubicBezTo>
                  <a:close/>
                  <a:moveTo>
                    <a:pt x="658801" y="693239"/>
                  </a:moveTo>
                  <a:cubicBezTo>
                    <a:pt x="649979" y="694096"/>
                    <a:pt x="640771" y="694871"/>
                    <a:pt x="631120" y="695590"/>
                  </a:cubicBezTo>
                  <a:lnTo>
                    <a:pt x="658441" y="746195"/>
                  </a:lnTo>
                  <a:close/>
                  <a:moveTo>
                    <a:pt x="1020008" y="693211"/>
                  </a:moveTo>
                  <a:lnTo>
                    <a:pt x="1020367" y="746167"/>
                  </a:lnTo>
                  <a:lnTo>
                    <a:pt x="1047689" y="695562"/>
                  </a:lnTo>
                  <a:cubicBezTo>
                    <a:pt x="1038038" y="694843"/>
                    <a:pt x="1028829" y="694069"/>
                    <a:pt x="1020008" y="693211"/>
                  </a:cubicBezTo>
                  <a:close/>
                  <a:moveTo>
                    <a:pt x="252187" y="693211"/>
                  </a:moveTo>
                  <a:lnTo>
                    <a:pt x="252215" y="693214"/>
                  </a:lnTo>
                  <a:lnTo>
                    <a:pt x="252574" y="746167"/>
                  </a:lnTo>
                  <a:lnTo>
                    <a:pt x="279868" y="695562"/>
                  </a:lnTo>
                  <a:lnTo>
                    <a:pt x="252215" y="693214"/>
                  </a:lnTo>
                  <a:lnTo>
                    <a:pt x="252215" y="693211"/>
                  </a:lnTo>
                  <a:close/>
                  <a:moveTo>
                    <a:pt x="684795" y="690446"/>
                  </a:moveTo>
                  <a:cubicBezTo>
                    <a:pt x="676914" y="691386"/>
                    <a:pt x="668618" y="692271"/>
                    <a:pt x="659935" y="693128"/>
                  </a:cubicBezTo>
                  <a:lnTo>
                    <a:pt x="659907" y="693156"/>
                  </a:lnTo>
                  <a:lnTo>
                    <a:pt x="661041" y="693156"/>
                  </a:lnTo>
                  <a:lnTo>
                    <a:pt x="660709" y="743402"/>
                  </a:lnTo>
                  <a:close/>
                  <a:moveTo>
                    <a:pt x="993986" y="690418"/>
                  </a:moveTo>
                  <a:lnTo>
                    <a:pt x="1018044" y="743313"/>
                  </a:lnTo>
                  <a:lnTo>
                    <a:pt x="1018044" y="743347"/>
                  </a:lnTo>
                  <a:lnTo>
                    <a:pt x="1018072" y="743375"/>
                  </a:lnTo>
                  <a:lnTo>
                    <a:pt x="1018044" y="743313"/>
                  </a:lnTo>
                  <a:lnTo>
                    <a:pt x="1017992" y="735496"/>
                  </a:lnTo>
                  <a:cubicBezTo>
                    <a:pt x="1017899" y="721364"/>
                    <a:pt x="1017713" y="693101"/>
                    <a:pt x="1017713" y="693101"/>
                  </a:cubicBezTo>
                  <a:lnTo>
                    <a:pt x="1018846" y="693101"/>
                  </a:lnTo>
                  <a:cubicBezTo>
                    <a:pt x="1010163" y="692271"/>
                    <a:pt x="1001895" y="691359"/>
                    <a:pt x="993986" y="690418"/>
                  </a:cubicBezTo>
                  <a:close/>
                  <a:moveTo>
                    <a:pt x="226193" y="690418"/>
                  </a:moveTo>
                  <a:lnTo>
                    <a:pt x="250279" y="743375"/>
                  </a:lnTo>
                  <a:lnTo>
                    <a:pt x="250279" y="743347"/>
                  </a:lnTo>
                  <a:cubicBezTo>
                    <a:pt x="250279" y="743347"/>
                    <a:pt x="249947" y="693101"/>
                    <a:pt x="249947" y="693101"/>
                  </a:cubicBezTo>
                  <a:lnTo>
                    <a:pt x="251081" y="693101"/>
                  </a:lnTo>
                  <a:cubicBezTo>
                    <a:pt x="242398" y="692271"/>
                    <a:pt x="234102" y="691359"/>
                    <a:pt x="226193" y="690418"/>
                  </a:cubicBezTo>
                  <a:close/>
                  <a:moveTo>
                    <a:pt x="960747" y="685856"/>
                  </a:moveTo>
                  <a:lnTo>
                    <a:pt x="960830" y="745089"/>
                  </a:lnTo>
                  <a:lnTo>
                    <a:pt x="988898" y="689810"/>
                  </a:lnTo>
                  <a:cubicBezTo>
                    <a:pt x="978887" y="688566"/>
                    <a:pt x="969541" y="687238"/>
                    <a:pt x="960747" y="685856"/>
                  </a:cubicBezTo>
                  <a:close/>
                  <a:moveTo>
                    <a:pt x="718089" y="685856"/>
                  </a:moveTo>
                  <a:cubicBezTo>
                    <a:pt x="709323" y="687238"/>
                    <a:pt x="699949" y="688566"/>
                    <a:pt x="689938" y="689810"/>
                  </a:cubicBezTo>
                  <a:lnTo>
                    <a:pt x="718007" y="745089"/>
                  </a:lnTo>
                  <a:close/>
                  <a:moveTo>
                    <a:pt x="192926" y="685856"/>
                  </a:moveTo>
                  <a:lnTo>
                    <a:pt x="193009" y="745089"/>
                  </a:lnTo>
                  <a:lnTo>
                    <a:pt x="221077" y="689810"/>
                  </a:lnTo>
                  <a:cubicBezTo>
                    <a:pt x="211067" y="688566"/>
                    <a:pt x="201720" y="687238"/>
                    <a:pt x="192926" y="685856"/>
                  </a:cubicBezTo>
                  <a:close/>
                  <a:moveTo>
                    <a:pt x="752711" y="679551"/>
                  </a:moveTo>
                  <a:cubicBezTo>
                    <a:pt x="742646" y="681680"/>
                    <a:pt x="731529" y="683754"/>
                    <a:pt x="719223" y="685690"/>
                  </a:cubicBezTo>
                  <a:lnTo>
                    <a:pt x="720357" y="685690"/>
                  </a:lnTo>
                  <a:lnTo>
                    <a:pt x="720274" y="746942"/>
                  </a:lnTo>
                  <a:lnTo>
                    <a:pt x="752960" y="702918"/>
                  </a:lnTo>
                  <a:close/>
                  <a:moveTo>
                    <a:pt x="926097" y="679523"/>
                  </a:moveTo>
                  <a:lnTo>
                    <a:pt x="925876" y="702890"/>
                  </a:lnTo>
                  <a:lnTo>
                    <a:pt x="958535" y="746878"/>
                  </a:lnTo>
                  <a:lnTo>
                    <a:pt x="958535" y="746914"/>
                  </a:lnTo>
                  <a:lnTo>
                    <a:pt x="958562" y="746914"/>
                  </a:lnTo>
                  <a:lnTo>
                    <a:pt x="958535" y="746878"/>
                  </a:lnTo>
                  <a:lnTo>
                    <a:pt x="958452" y="685662"/>
                  </a:lnTo>
                  <a:lnTo>
                    <a:pt x="959585" y="685662"/>
                  </a:lnTo>
                  <a:cubicBezTo>
                    <a:pt x="947307" y="683699"/>
                    <a:pt x="936163" y="681652"/>
                    <a:pt x="926097" y="679523"/>
                  </a:cubicBezTo>
                  <a:close/>
                  <a:moveTo>
                    <a:pt x="158305" y="679523"/>
                  </a:moveTo>
                  <a:lnTo>
                    <a:pt x="158056" y="702890"/>
                  </a:lnTo>
                  <a:lnTo>
                    <a:pt x="190714" y="746876"/>
                  </a:lnTo>
                  <a:lnTo>
                    <a:pt x="190714" y="746914"/>
                  </a:lnTo>
                  <a:lnTo>
                    <a:pt x="190742" y="746914"/>
                  </a:lnTo>
                  <a:lnTo>
                    <a:pt x="190714" y="746876"/>
                  </a:lnTo>
                  <a:lnTo>
                    <a:pt x="190631" y="685662"/>
                  </a:lnTo>
                  <a:lnTo>
                    <a:pt x="191793" y="685662"/>
                  </a:lnTo>
                  <a:cubicBezTo>
                    <a:pt x="179487" y="683699"/>
                    <a:pt x="168370" y="681652"/>
                    <a:pt x="158305" y="679523"/>
                  </a:cubicBezTo>
                  <a:close/>
                  <a:moveTo>
                    <a:pt x="900159" y="679191"/>
                  </a:moveTo>
                  <a:lnTo>
                    <a:pt x="871040" y="718625"/>
                  </a:lnTo>
                  <a:lnTo>
                    <a:pt x="871952" y="717906"/>
                  </a:lnTo>
                  <a:lnTo>
                    <a:pt x="891254" y="748048"/>
                  </a:lnTo>
                  <a:lnTo>
                    <a:pt x="899052" y="748048"/>
                  </a:lnTo>
                  <a:lnTo>
                    <a:pt x="899080" y="748048"/>
                  </a:lnTo>
                  <a:close/>
                  <a:moveTo>
                    <a:pt x="778733" y="679191"/>
                  </a:moveTo>
                  <a:lnTo>
                    <a:pt x="779784" y="748048"/>
                  </a:lnTo>
                  <a:lnTo>
                    <a:pt x="779812" y="748048"/>
                  </a:lnTo>
                  <a:lnTo>
                    <a:pt x="787610" y="748048"/>
                  </a:lnTo>
                  <a:lnTo>
                    <a:pt x="806939" y="717906"/>
                  </a:lnTo>
                  <a:lnTo>
                    <a:pt x="807852" y="718625"/>
                  </a:lnTo>
                  <a:close/>
                  <a:moveTo>
                    <a:pt x="132338" y="679191"/>
                  </a:moveTo>
                  <a:lnTo>
                    <a:pt x="103247" y="718625"/>
                  </a:lnTo>
                  <a:lnTo>
                    <a:pt x="104159" y="717906"/>
                  </a:lnTo>
                  <a:lnTo>
                    <a:pt x="123461" y="748048"/>
                  </a:lnTo>
                  <a:lnTo>
                    <a:pt x="131260" y="748048"/>
                  </a:lnTo>
                  <a:lnTo>
                    <a:pt x="131287" y="748048"/>
                  </a:lnTo>
                  <a:close/>
                  <a:moveTo>
                    <a:pt x="10913" y="679191"/>
                  </a:moveTo>
                  <a:lnTo>
                    <a:pt x="11991" y="748048"/>
                  </a:lnTo>
                  <a:lnTo>
                    <a:pt x="12019" y="748048"/>
                  </a:lnTo>
                  <a:lnTo>
                    <a:pt x="19817" y="748048"/>
                  </a:lnTo>
                  <a:lnTo>
                    <a:pt x="39119" y="717906"/>
                  </a:lnTo>
                  <a:lnTo>
                    <a:pt x="40032" y="718625"/>
                  </a:lnTo>
                  <a:close/>
                  <a:moveTo>
                    <a:pt x="776493" y="679136"/>
                  </a:moveTo>
                  <a:lnTo>
                    <a:pt x="755283" y="707674"/>
                  </a:lnTo>
                  <a:lnTo>
                    <a:pt x="755670" y="748048"/>
                  </a:lnTo>
                  <a:lnTo>
                    <a:pt x="755670" y="748076"/>
                  </a:lnTo>
                  <a:lnTo>
                    <a:pt x="777544" y="748076"/>
                  </a:lnTo>
                  <a:close/>
                  <a:moveTo>
                    <a:pt x="902371" y="679108"/>
                  </a:moveTo>
                  <a:lnTo>
                    <a:pt x="901320" y="748048"/>
                  </a:lnTo>
                  <a:lnTo>
                    <a:pt x="923166" y="748048"/>
                  </a:lnTo>
                  <a:lnTo>
                    <a:pt x="923166" y="748020"/>
                  </a:lnTo>
                  <a:lnTo>
                    <a:pt x="923553" y="707646"/>
                  </a:lnTo>
                  <a:close/>
                  <a:moveTo>
                    <a:pt x="134578" y="679108"/>
                  </a:moveTo>
                  <a:lnTo>
                    <a:pt x="133527" y="748048"/>
                  </a:lnTo>
                  <a:lnTo>
                    <a:pt x="155373" y="748048"/>
                  </a:lnTo>
                  <a:lnTo>
                    <a:pt x="155373" y="748020"/>
                  </a:lnTo>
                  <a:lnTo>
                    <a:pt x="155788" y="707646"/>
                  </a:lnTo>
                  <a:close/>
                  <a:moveTo>
                    <a:pt x="904860" y="674628"/>
                  </a:moveTo>
                  <a:lnTo>
                    <a:pt x="923636" y="699904"/>
                  </a:lnTo>
                  <a:lnTo>
                    <a:pt x="923636" y="699931"/>
                  </a:lnTo>
                  <a:lnTo>
                    <a:pt x="923830" y="679081"/>
                  </a:lnTo>
                  <a:cubicBezTo>
                    <a:pt x="917027" y="677615"/>
                    <a:pt x="910694" y="676122"/>
                    <a:pt x="904860" y="674628"/>
                  </a:cubicBezTo>
                  <a:close/>
                  <a:moveTo>
                    <a:pt x="137067" y="674628"/>
                  </a:moveTo>
                  <a:lnTo>
                    <a:pt x="155843" y="699904"/>
                  </a:lnTo>
                  <a:lnTo>
                    <a:pt x="155843" y="699931"/>
                  </a:lnTo>
                  <a:lnTo>
                    <a:pt x="156037" y="679081"/>
                  </a:lnTo>
                  <a:cubicBezTo>
                    <a:pt x="149234" y="677615"/>
                    <a:pt x="142902" y="676122"/>
                    <a:pt x="137067" y="674628"/>
                  </a:cubicBezTo>
                  <a:close/>
                  <a:moveTo>
                    <a:pt x="773949" y="674601"/>
                  </a:moveTo>
                  <a:lnTo>
                    <a:pt x="754979" y="679053"/>
                  </a:lnTo>
                  <a:lnTo>
                    <a:pt x="755173" y="699876"/>
                  </a:lnTo>
                  <a:close/>
                  <a:moveTo>
                    <a:pt x="870293" y="663927"/>
                  </a:moveTo>
                  <a:lnTo>
                    <a:pt x="869325" y="713066"/>
                  </a:lnTo>
                  <a:lnTo>
                    <a:pt x="898859" y="673052"/>
                  </a:lnTo>
                  <a:cubicBezTo>
                    <a:pt x="887521" y="669955"/>
                    <a:pt x="878091" y="666858"/>
                    <a:pt x="870293" y="663927"/>
                  </a:cubicBezTo>
                  <a:close/>
                  <a:moveTo>
                    <a:pt x="102473" y="663927"/>
                  </a:moveTo>
                  <a:lnTo>
                    <a:pt x="101505" y="713066"/>
                  </a:lnTo>
                  <a:lnTo>
                    <a:pt x="131038" y="673052"/>
                  </a:lnTo>
                  <a:cubicBezTo>
                    <a:pt x="119701" y="669955"/>
                    <a:pt x="110271" y="666858"/>
                    <a:pt x="102473" y="663927"/>
                  </a:cubicBezTo>
                  <a:close/>
                  <a:moveTo>
                    <a:pt x="808543" y="663899"/>
                  </a:moveTo>
                  <a:cubicBezTo>
                    <a:pt x="800745" y="666858"/>
                    <a:pt x="791315" y="669927"/>
                    <a:pt x="779978" y="673025"/>
                  </a:cubicBezTo>
                  <a:lnTo>
                    <a:pt x="809511" y="713039"/>
                  </a:lnTo>
                  <a:close/>
                  <a:moveTo>
                    <a:pt x="40723" y="663899"/>
                  </a:moveTo>
                  <a:cubicBezTo>
                    <a:pt x="32925" y="666858"/>
                    <a:pt x="23495" y="669927"/>
                    <a:pt x="12157" y="673025"/>
                  </a:cubicBezTo>
                  <a:lnTo>
                    <a:pt x="41691" y="713039"/>
                  </a:lnTo>
                  <a:close/>
                  <a:moveTo>
                    <a:pt x="843193" y="650957"/>
                  </a:moveTo>
                  <a:lnTo>
                    <a:pt x="843193" y="704881"/>
                  </a:lnTo>
                  <a:lnTo>
                    <a:pt x="867002" y="715500"/>
                  </a:lnTo>
                  <a:lnTo>
                    <a:pt x="868025" y="663042"/>
                  </a:lnTo>
                  <a:cubicBezTo>
                    <a:pt x="856107" y="658396"/>
                    <a:pt x="848226" y="654165"/>
                    <a:pt x="843193" y="650957"/>
                  </a:cubicBezTo>
                  <a:close/>
                  <a:moveTo>
                    <a:pt x="835643" y="650957"/>
                  </a:moveTo>
                  <a:cubicBezTo>
                    <a:pt x="830638" y="654165"/>
                    <a:pt x="822757" y="658396"/>
                    <a:pt x="810811" y="663042"/>
                  </a:cubicBezTo>
                  <a:lnTo>
                    <a:pt x="811834" y="715500"/>
                  </a:lnTo>
                  <a:lnTo>
                    <a:pt x="835643" y="704881"/>
                  </a:lnTo>
                  <a:close/>
                  <a:moveTo>
                    <a:pt x="75400" y="650957"/>
                  </a:moveTo>
                  <a:lnTo>
                    <a:pt x="75400" y="704881"/>
                  </a:lnTo>
                  <a:lnTo>
                    <a:pt x="99210" y="715500"/>
                  </a:lnTo>
                  <a:lnTo>
                    <a:pt x="100233" y="663042"/>
                  </a:lnTo>
                  <a:cubicBezTo>
                    <a:pt x="88314" y="658396"/>
                    <a:pt x="80433" y="654165"/>
                    <a:pt x="75400" y="650957"/>
                  </a:cubicBezTo>
                  <a:close/>
                  <a:moveTo>
                    <a:pt x="67878" y="650957"/>
                  </a:moveTo>
                  <a:cubicBezTo>
                    <a:pt x="62845" y="654165"/>
                    <a:pt x="54964" y="658396"/>
                    <a:pt x="43018" y="663042"/>
                  </a:cubicBezTo>
                  <a:lnTo>
                    <a:pt x="44041" y="715500"/>
                  </a:lnTo>
                  <a:lnTo>
                    <a:pt x="67851" y="704881"/>
                  </a:lnTo>
                  <a:lnTo>
                    <a:pt x="67878" y="704881"/>
                  </a:lnTo>
                  <a:close/>
                  <a:moveTo>
                    <a:pt x="2635484" y="605412"/>
                  </a:moveTo>
                  <a:lnTo>
                    <a:pt x="2633161" y="613625"/>
                  </a:lnTo>
                  <a:lnTo>
                    <a:pt x="2637779" y="613625"/>
                  </a:lnTo>
                  <a:close/>
                  <a:moveTo>
                    <a:pt x="2668087" y="604472"/>
                  </a:moveTo>
                  <a:lnTo>
                    <a:pt x="2665073" y="613625"/>
                  </a:lnTo>
                  <a:lnTo>
                    <a:pt x="2671129" y="613625"/>
                  </a:lnTo>
                  <a:close/>
                  <a:moveTo>
                    <a:pt x="2603544" y="603919"/>
                  </a:moveTo>
                  <a:lnTo>
                    <a:pt x="2599977" y="613625"/>
                  </a:lnTo>
                  <a:lnTo>
                    <a:pt x="2607111" y="613625"/>
                  </a:lnTo>
                  <a:close/>
                  <a:moveTo>
                    <a:pt x="2587450" y="602730"/>
                  </a:moveTo>
                  <a:lnTo>
                    <a:pt x="2582113" y="613625"/>
                  </a:lnTo>
                  <a:lnTo>
                    <a:pt x="2592787" y="613625"/>
                  </a:lnTo>
                  <a:close/>
                  <a:moveTo>
                    <a:pt x="2620413" y="602536"/>
                  </a:moveTo>
                  <a:lnTo>
                    <a:pt x="2614633" y="613625"/>
                  </a:lnTo>
                  <a:lnTo>
                    <a:pt x="2614661" y="613625"/>
                  </a:lnTo>
                  <a:lnTo>
                    <a:pt x="2626192" y="613625"/>
                  </a:lnTo>
                  <a:close/>
                  <a:moveTo>
                    <a:pt x="2651412" y="602315"/>
                  </a:moveTo>
                  <a:lnTo>
                    <a:pt x="2645107" y="613625"/>
                  </a:lnTo>
                  <a:lnTo>
                    <a:pt x="2645135" y="613625"/>
                  </a:lnTo>
                  <a:lnTo>
                    <a:pt x="2657717" y="613625"/>
                  </a:lnTo>
                  <a:close/>
                  <a:moveTo>
                    <a:pt x="2580039" y="587631"/>
                  </a:moveTo>
                  <a:lnTo>
                    <a:pt x="2580039" y="609201"/>
                  </a:lnTo>
                  <a:lnTo>
                    <a:pt x="2585320" y="598416"/>
                  </a:lnTo>
                  <a:close/>
                  <a:moveTo>
                    <a:pt x="2673756" y="587410"/>
                  </a:moveTo>
                  <a:lnTo>
                    <a:pt x="2670105" y="598416"/>
                  </a:lnTo>
                  <a:lnTo>
                    <a:pt x="2673756" y="609422"/>
                  </a:lnTo>
                  <a:close/>
                  <a:moveTo>
                    <a:pt x="2629649" y="584755"/>
                  </a:moveTo>
                  <a:lnTo>
                    <a:pt x="2622542" y="598416"/>
                  </a:lnTo>
                  <a:lnTo>
                    <a:pt x="2629649" y="612077"/>
                  </a:lnTo>
                  <a:lnTo>
                    <a:pt x="2633493" y="598416"/>
                  </a:lnTo>
                  <a:close/>
                  <a:moveTo>
                    <a:pt x="2596409" y="584451"/>
                  </a:moveTo>
                  <a:lnTo>
                    <a:pt x="2589552" y="598416"/>
                  </a:lnTo>
                  <a:lnTo>
                    <a:pt x="2596409" y="612381"/>
                  </a:lnTo>
                  <a:lnTo>
                    <a:pt x="2601553" y="598416"/>
                  </a:lnTo>
                  <a:close/>
                  <a:moveTo>
                    <a:pt x="2641401" y="584396"/>
                  </a:moveTo>
                  <a:lnTo>
                    <a:pt x="2637447" y="598416"/>
                  </a:lnTo>
                  <a:lnTo>
                    <a:pt x="2641401" y="612436"/>
                  </a:lnTo>
                  <a:lnTo>
                    <a:pt x="2649227" y="598416"/>
                  </a:lnTo>
                  <a:close/>
                  <a:moveTo>
                    <a:pt x="2661422" y="584313"/>
                  </a:moveTo>
                  <a:lnTo>
                    <a:pt x="2653569" y="598416"/>
                  </a:lnTo>
                  <a:lnTo>
                    <a:pt x="2661422" y="612492"/>
                  </a:lnTo>
                  <a:lnTo>
                    <a:pt x="2666096" y="598416"/>
                  </a:lnTo>
                  <a:close/>
                  <a:moveTo>
                    <a:pt x="2610817" y="584119"/>
                  </a:moveTo>
                  <a:lnTo>
                    <a:pt x="2605563" y="598416"/>
                  </a:lnTo>
                  <a:lnTo>
                    <a:pt x="2610817" y="612685"/>
                  </a:lnTo>
                  <a:lnTo>
                    <a:pt x="2618256" y="598416"/>
                  </a:lnTo>
                  <a:close/>
                  <a:moveTo>
                    <a:pt x="2665073" y="583234"/>
                  </a:moveTo>
                  <a:lnTo>
                    <a:pt x="2668087" y="592360"/>
                  </a:lnTo>
                  <a:lnTo>
                    <a:pt x="2671101" y="583234"/>
                  </a:lnTo>
                  <a:close/>
                  <a:moveTo>
                    <a:pt x="2645135" y="583234"/>
                  </a:moveTo>
                  <a:lnTo>
                    <a:pt x="2651412" y="594517"/>
                  </a:lnTo>
                  <a:lnTo>
                    <a:pt x="2657689" y="583234"/>
                  </a:lnTo>
                  <a:close/>
                  <a:moveTo>
                    <a:pt x="2633188" y="583234"/>
                  </a:moveTo>
                  <a:lnTo>
                    <a:pt x="2635484" y="591420"/>
                  </a:lnTo>
                  <a:lnTo>
                    <a:pt x="2637779" y="583234"/>
                  </a:lnTo>
                  <a:close/>
                  <a:moveTo>
                    <a:pt x="2614661" y="583234"/>
                  </a:moveTo>
                  <a:lnTo>
                    <a:pt x="2620413" y="594296"/>
                  </a:lnTo>
                  <a:lnTo>
                    <a:pt x="2626164" y="583234"/>
                  </a:lnTo>
                  <a:close/>
                  <a:moveTo>
                    <a:pt x="2600005" y="583234"/>
                  </a:moveTo>
                  <a:lnTo>
                    <a:pt x="2603572" y="592913"/>
                  </a:lnTo>
                  <a:lnTo>
                    <a:pt x="2607111" y="583234"/>
                  </a:lnTo>
                  <a:close/>
                  <a:moveTo>
                    <a:pt x="2582141" y="583234"/>
                  </a:moveTo>
                  <a:lnTo>
                    <a:pt x="2587450" y="594102"/>
                  </a:lnTo>
                  <a:lnTo>
                    <a:pt x="2592759" y="583234"/>
                  </a:lnTo>
                  <a:close/>
                  <a:moveTo>
                    <a:pt x="2660121" y="553147"/>
                  </a:moveTo>
                  <a:lnTo>
                    <a:pt x="2660150" y="553147"/>
                  </a:lnTo>
                  <a:lnTo>
                    <a:pt x="2660122" y="553175"/>
                  </a:lnTo>
                  <a:close/>
                  <a:moveTo>
                    <a:pt x="3285638" y="534288"/>
                  </a:moveTo>
                  <a:lnTo>
                    <a:pt x="3285638" y="547506"/>
                  </a:lnTo>
                  <a:lnTo>
                    <a:pt x="3249993" y="586138"/>
                  </a:lnTo>
                  <a:lnTo>
                    <a:pt x="3249993" y="581962"/>
                  </a:lnTo>
                  <a:lnTo>
                    <a:pt x="3248224" y="581077"/>
                  </a:lnTo>
                  <a:lnTo>
                    <a:pt x="3248224" y="573639"/>
                  </a:lnTo>
                  <a:lnTo>
                    <a:pt x="3246260" y="572975"/>
                  </a:lnTo>
                  <a:lnTo>
                    <a:pt x="3244325" y="567997"/>
                  </a:lnTo>
                  <a:lnTo>
                    <a:pt x="3240619" y="558429"/>
                  </a:lnTo>
                  <a:lnTo>
                    <a:pt x="3240647" y="558429"/>
                  </a:lnTo>
                  <a:lnTo>
                    <a:pt x="3245375" y="550852"/>
                  </a:lnTo>
                  <a:lnTo>
                    <a:pt x="3238158" y="547866"/>
                  </a:lnTo>
                  <a:cubicBezTo>
                    <a:pt x="3253146" y="543192"/>
                    <a:pt x="3269019" y="538602"/>
                    <a:pt x="3285638" y="534288"/>
                  </a:cubicBezTo>
                  <a:close/>
                  <a:moveTo>
                    <a:pt x="3444949" y="507382"/>
                  </a:moveTo>
                  <a:lnTo>
                    <a:pt x="3444949" y="563242"/>
                  </a:lnTo>
                  <a:lnTo>
                    <a:pt x="3441465" y="563242"/>
                  </a:lnTo>
                  <a:lnTo>
                    <a:pt x="3441465" y="572423"/>
                  </a:lnTo>
                  <a:lnTo>
                    <a:pt x="3383255" y="514240"/>
                  </a:lnTo>
                  <a:cubicBezTo>
                    <a:pt x="3403304" y="511253"/>
                    <a:pt x="3423905" y="508903"/>
                    <a:pt x="3444949" y="507382"/>
                  </a:cubicBezTo>
                  <a:close/>
                  <a:moveTo>
                    <a:pt x="3503686" y="502736"/>
                  </a:moveTo>
                  <a:cubicBezTo>
                    <a:pt x="3503686" y="502736"/>
                    <a:pt x="3497464" y="507464"/>
                    <a:pt x="3497464" y="515429"/>
                  </a:cubicBezTo>
                  <a:lnTo>
                    <a:pt x="3497464" y="570431"/>
                  </a:lnTo>
                  <a:lnTo>
                    <a:pt x="3509907" y="570431"/>
                  </a:lnTo>
                  <a:lnTo>
                    <a:pt x="3509907" y="515429"/>
                  </a:lnTo>
                  <a:cubicBezTo>
                    <a:pt x="3509658" y="508100"/>
                    <a:pt x="3503686" y="502736"/>
                    <a:pt x="3503686" y="502736"/>
                  </a:cubicBezTo>
                  <a:close/>
                  <a:moveTo>
                    <a:pt x="3481176" y="502736"/>
                  </a:moveTo>
                  <a:cubicBezTo>
                    <a:pt x="3481176" y="502736"/>
                    <a:pt x="3476198" y="506220"/>
                    <a:pt x="3475313" y="515429"/>
                  </a:cubicBezTo>
                  <a:lnTo>
                    <a:pt x="3475313" y="570431"/>
                  </a:lnTo>
                  <a:lnTo>
                    <a:pt x="3487011" y="570431"/>
                  </a:lnTo>
                  <a:lnTo>
                    <a:pt x="3487038" y="570431"/>
                  </a:lnTo>
                  <a:lnTo>
                    <a:pt x="3487038" y="515429"/>
                  </a:lnTo>
                  <a:cubicBezTo>
                    <a:pt x="3486513" y="507216"/>
                    <a:pt x="3481176" y="502736"/>
                    <a:pt x="3481176" y="502736"/>
                  </a:cubicBezTo>
                  <a:close/>
                  <a:moveTo>
                    <a:pt x="1183797" y="377909"/>
                  </a:moveTo>
                  <a:lnTo>
                    <a:pt x="1185843" y="377909"/>
                  </a:lnTo>
                  <a:lnTo>
                    <a:pt x="1185843" y="382499"/>
                  </a:lnTo>
                  <a:lnTo>
                    <a:pt x="1188747" y="382499"/>
                  </a:lnTo>
                  <a:lnTo>
                    <a:pt x="1188747" y="384435"/>
                  </a:lnTo>
                  <a:lnTo>
                    <a:pt x="1185843" y="384435"/>
                  </a:lnTo>
                  <a:lnTo>
                    <a:pt x="1185843" y="393367"/>
                  </a:lnTo>
                  <a:lnTo>
                    <a:pt x="1186092" y="393367"/>
                  </a:lnTo>
                  <a:lnTo>
                    <a:pt x="1208934" y="448259"/>
                  </a:lnTo>
                  <a:lnTo>
                    <a:pt x="1211340" y="448259"/>
                  </a:lnTo>
                  <a:lnTo>
                    <a:pt x="1210261" y="450554"/>
                  </a:lnTo>
                  <a:lnTo>
                    <a:pt x="1210151" y="460482"/>
                  </a:lnTo>
                  <a:lnTo>
                    <a:pt x="1208823" y="462307"/>
                  </a:lnTo>
                  <a:lnTo>
                    <a:pt x="1209045" y="462307"/>
                  </a:lnTo>
                  <a:lnTo>
                    <a:pt x="1209045" y="464851"/>
                  </a:lnTo>
                  <a:lnTo>
                    <a:pt x="1212308" y="464851"/>
                  </a:lnTo>
                  <a:lnTo>
                    <a:pt x="1209045" y="469386"/>
                  </a:lnTo>
                  <a:lnTo>
                    <a:pt x="1209045" y="548281"/>
                  </a:lnTo>
                  <a:lnTo>
                    <a:pt x="1217340" y="548281"/>
                  </a:lnTo>
                  <a:lnTo>
                    <a:pt x="1217340" y="546649"/>
                  </a:lnTo>
                  <a:lnTo>
                    <a:pt x="1216787" y="545571"/>
                  </a:lnTo>
                  <a:lnTo>
                    <a:pt x="1218004" y="544603"/>
                  </a:lnTo>
                  <a:lnTo>
                    <a:pt x="1218004" y="540234"/>
                  </a:lnTo>
                  <a:lnTo>
                    <a:pt x="1219276" y="539266"/>
                  </a:lnTo>
                  <a:lnTo>
                    <a:pt x="1219276" y="529283"/>
                  </a:lnTo>
                  <a:lnTo>
                    <a:pt x="1223452" y="529283"/>
                  </a:lnTo>
                  <a:lnTo>
                    <a:pt x="1223452" y="539266"/>
                  </a:lnTo>
                  <a:lnTo>
                    <a:pt x="1224669" y="540234"/>
                  </a:lnTo>
                  <a:lnTo>
                    <a:pt x="1224669" y="544465"/>
                  </a:lnTo>
                  <a:lnTo>
                    <a:pt x="1225581" y="545903"/>
                  </a:lnTo>
                  <a:lnTo>
                    <a:pt x="1224669" y="546926"/>
                  </a:lnTo>
                  <a:lnTo>
                    <a:pt x="1224669" y="548613"/>
                  </a:lnTo>
                  <a:lnTo>
                    <a:pt x="1233158" y="750288"/>
                  </a:lnTo>
                  <a:lnTo>
                    <a:pt x="1207081" y="689644"/>
                  </a:lnTo>
                  <a:lnTo>
                    <a:pt x="1203237" y="681929"/>
                  </a:lnTo>
                  <a:lnTo>
                    <a:pt x="1194609" y="681929"/>
                  </a:lnTo>
                  <a:cubicBezTo>
                    <a:pt x="1114221" y="681929"/>
                    <a:pt x="1052306" y="678030"/>
                    <a:pt x="1005157" y="672665"/>
                  </a:cubicBezTo>
                  <a:lnTo>
                    <a:pt x="1005157" y="543884"/>
                  </a:lnTo>
                  <a:lnTo>
                    <a:pt x="1006623" y="542695"/>
                  </a:lnTo>
                  <a:lnTo>
                    <a:pt x="1006623" y="538879"/>
                  </a:lnTo>
                  <a:lnTo>
                    <a:pt x="1007535" y="537883"/>
                  </a:lnTo>
                  <a:lnTo>
                    <a:pt x="1007535" y="527817"/>
                  </a:lnTo>
                  <a:lnTo>
                    <a:pt x="1011711" y="527817"/>
                  </a:lnTo>
                  <a:lnTo>
                    <a:pt x="1011711" y="537524"/>
                  </a:lnTo>
                  <a:lnTo>
                    <a:pt x="1012706" y="538796"/>
                  </a:lnTo>
                  <a:lnTo>
                    <a:pt x="1012706" y="542335"/>
                  </a:lnTo>
                  <a:lnTo>
                    <a:pt x="1013895" y="543884"/>
                  </a:lnTo>
                  <a:lnTo>
                    <a:pt x="1013895" y="547147"/>
                  </a:lnTo>
                  <a:lnTo>
                    <a:pt x="1104598" y="547507"/>
                  </a:lnTo>
                  <a:lnTo>
                    <a:pt x="1041106" y="669015"/>
                  </a:lnTo>
                  <a:lnTo>
                    <a:pt x="1113558" y="545377"/>
                  </a:lnTo>
                  <a:lnTo>
                    <a:pt x="1112756" y="543801"/>
                  </a:lnTo>
                  <a:lnTo>
                    <a:pt x="1114304" y="541533"/>
                  </a:lnTo>
                  <a:lnTo>
                    <a:pt x="1114304" y="539266"/>
                  </a:lnTo>
                  <a:lnTo>
                    <a:pt x="1115023" y="538436"/>
                  </a:lnTo>
                  <a:lnTo>
                    <a:pt x="1115023" y="532352"/>
                  </a:lnTo>
                  <a:lnTo>
                    <a:pt x="1112756" y="532352"/>
                  </a:lnTo>
                  <a:lnTo>
                    <a:pt x="1112756" y="530998"/>
                  </a:lnTo>
                  <a:lnTo>
                    <a:pt x="1115023" y="530998"/>
                  </a:lnTo>
                  <a:lnTo>
                    <a:pt x="1115023" y="528564"/>
                  </a:lnTo>
                  <a:lnTo>
                    <a:pt x="1116378" y="528564"/>
                  </a:lnTo>
                  <a:lnTo>
                    <a:pt x="1116378" y="530998"/>
                  </a:lnTo>
                  <a:lnTo>
                    <a:pt x="1118563" y="530998"/>
                  </a:lnTo>
                  <a:lnTo>
                    <a:pt x="1118563" y="532352"/>
                  </a:lnTo>
                  <a:lnTo>
                    <a:pt x="1116378" y="532352"/>
                  </a:lnTo>
                  <a:lnTo>
                    <a:pt x="1116378" y="538353"/>
                  </a:lnTo>
                  <a:lnTo>
                    <a:pt x="1117291" y="539432"/>
                  </a:lnTo>
                  <a:lnTo>
                    <a:pt x="1117291" y="541976"/>
                  </a:lnTo>
                  <a:lnTo>
                    <a:pt x="1118563" y="543607"/>
                  </a:lnTo>
                  <a:lnTo>
                    <a:pt x="1117706" y="545211"/>
                  </a:lnTo>
                  <a:lnTo>
                    <a:pt x="1158660" y="613515"/>
                  </a:lnTo>
                  <a:lnTo>
                    <a:pt x="1128905" y="547866"/>
                  </a:lnTo>
                  <a:lnTo>
                    <a:pt x="1160458" y="547866"/>
                  </a:lnTo>
                  <a:lnTo>
                    <a:pt x="1160458" y="469303"/>
                  </a:lnTo>
                  <a:lnTo>
                    <a:pt x="1157554" y="464823"/>
                  </a:lnTo>
                  <a:lnTo>
                    <a:pt x="1160458" y="464823"/>
                  </a:lnTo>
                  <a:lnTo>
                    <a:pt x="1160458" y="462307"/>
                  </a:lnTo>
                  <a:lnTo>
                    <a:pt x="1159241" y="460592"/>
                  </a:lnTo>
                  <a:lnTo>
                    <a:pt x="1159241" y="450195"/>
                  </a:lnTo>
                  <a:lnTo>
                    <a:pt x="1157554" y="448259"/>
                  </a:lnTo>
                  <a:lnTo>
                    <a:pt x="1161066" y="448259"/>
                  </a:lnTo>
                  <a:lnTo>
                    <a:pt x="1183548" y="393367"/>
                  </a:lnTo>
                  <a:lnTo>
                    <a:pt x="1183797" y="393367"/>
                  </a:lnTo>
                  <a:lnTo>
                    <a:pt x="1183797" y="384435"/>
                  </a:lnTo>
                  <a:lnTo>
                    <a:pt x="1180645" y="384435"/>
                  </a:lnTo>
                  <a:lnTo>
                    <a:pt x="1180645" y="382499"/>
                  </a:lnTo>
                  <a:lnTo>
                    <a:pt x="1183797" y="382499"/>
                  </a:lnTo>
                  <a:close/>
                  <a:moveTo>
                    <a:pt x="2634543" y="348043"/>
                  </a:moveTo>
                  <a:cubicBezTo>
                    <a:pt x="2631999" y="348043"/>
                    <a:pt x="2629952" y="350089"/>
                    <a:pt x="2629952" y="352606"/>
                  </a:cubicBezTo>
                  <a:lnTo>
                    <a:pt x="2629952" y="379236"/>
                  </a:lnTo>
                  <a:lnTo>
                    <a:pt x="2639106" y="379236"/>
                  </a:lnTo>
                  <a:lnTo>
                    <a:pt x="2639106" y="352606"/>
                  </a:lnTo>
                  <a:cubicBezTo>
                    <a:pt x="2639106" y="350089"/>
                    <a:pt x="2637087" y="348043"/>
                    <a:pt x="2634543" y="348043"/>
                  </a:cubicBezTo>
                  <a:close/>
                  <a:moveTo>
                    <a:pt x="2622597" y="348015"/>
                  </a:moveTo>
                  <a:cubicBezTo>
                    <a:pt x="2620080" y="348015"/>
                    <a:pt x="2618034" y="350062"/>
                    <a:pt x="2618034" y="352578"/>
                  </a:cubicBezTo>
                  <a:lnTo>
                    <a:pt x="2618034" y="379208"/>
                  </a:lnTo>
                  <a:lnTo>
                    <a:pt x="2627187" y="379208"/>
                  </a:lnTo>
                  <a:lnTo>
                    <a:pt x="2627187" y="352578"/>
                  </a:lnTo>
                  <a:lnTo>
                    <a:pt x="2627159" y="352578"/>
                  </a:lnTo>
                  <a:cubicBezTo>
                    <a:pt x="2627159" y="350062"/>
                    <a:pt x="2625113" y="348015"/>
                    <a:pt x="2622597" y="348015"/>
                  </a:cubicBezTo>
                  <a:close/>
                  <a:moveTo>
                    <a:pt x="2623592" y="303908"/>
                  </a:moveTo>
                  <a:lnTo>
                    <a:pt x="2623592" y="309467"/>
                  </a:lnTo>
                  <a:lnTo>
                    <a:pt x="2633741" y="309467"/>
                  </a:lnTo>
                  <a:lnTo>
                    <a:pt x="2633741" y="303908"/>
                  </a:lnTo>
                  <a:close/>
                  <a:moveTo>
                    <a:pt x="2628653" y="292571"/>
                  </a:moveTo>
                  <a:cubicBezTo>
                    <a:pt x="2625860" y="292571"/>
                    <a:pt x="2623592" y="294838"/>
                    <a:pt x="2623592" y="297631"/>
                  </a:cubicBezTo>
                  <a:lnTo>
                    <a:pt x="2623592" y="299318"/>
                  </a:lnTo>
                  <a:lnTo>
                    <a:pt x="2633741" y="299318"/>
                  </a:lnTo>
                  <a:lnTo>
                    <a:pt x="2633741" y="297631"/>
                  </a:lnTo>
                  <a:lnTo>
                    <a:pt x="2633713" y="297631"/>
                  </a:lnTo>
                  <a:cubicBezTo>
                    <a:pt x="2633713" y="294838"/>
                    <a:pt x="2631446" y="292571"/>
                    <a:pt x="2628653" y="292571"/>
                  </a:cubicBezTo>
                  <a:close/>
                  <a:moveTo>
                    <a:pt x="2636340" y="270780"/>
                  </a:moveTo>
                  <a:lnTo>
                    <a:pt x="2636340" y="280458"/>
                  </a:lnTo>
                  <a:lnTo>
                    <a:pt x="2640737" y="280458"/>
                  </a:lnTo>
                  <a:lnTo>
                    <a:pt x="2640737" y="270780"/>
                  </a:lnTo>
                  <a:close/>
                  <a:moveTo>
                    <a:pt x="2630174" y="270752"/>
                  </a:moveTo>
                  <a:lnTo>
                    <a:pt x="2630174" y="280431"/>
                  </a:lnTo>
                  <a:lnTo>
                    <a:pt x="2634183" y="280431"/>
                  </a:lnTo>
                  <a:lnTo>
                    <a:pt x="2634183" y="270752"/>
                  </a:lnTo>
                  <a:close/>
                  <a:moveTo>
                    <a:pt x="2623177" y="270752"/>
                  </a:moveTo>
                  <a:lnTo>
                    <a:pt x="2623177" y="280431"/>
                  </a:lnTo>
                  <a:lnTo>
                    <a:pt x="2628542" y="280431"/>
                  </a:lnTo>
                  <a:lnTo>
                    <a:pt x="2628542" y="270752"/>
                  </a:lnTo>
                  <a:close/>
                  <a:moveTo>
                    <a:pt x="2616596" y="270752"/>
                  </a:moveTo>
                  <a:lnTo>
                    <a:pt x="2616596" y="280431"/>
                  </a:lnTo>
                  <a:lnTo>
                    <a:pt x="2620993" y="280431"/>
                  </a:lnTo>
                  <a:lnTo>
                    <a:pt x="2620993" y="270752"/>
                  </a:lnTo>
                  <a:close/>
                  <a:moveTo>
                    <a:pt x="1661231" y="265028"/>
                  </a:moveTo>
                  <a:lnTo>
                    <a:pt x="1691622" y="265028"/>
                  </a:lnTo>
                  <a:lnTo>
                    <a:pt x="1746099" y="265028"/>
                  </a:lnTo>
                  <a:lnTo>
                    <a:pt x="1776490" y="265028"/>
                  </a:lnTo>
                  <a:lnTo>
                    <a:pt x="1776490" y="273960"/>
                  </a:lnTo>
                  <a:lnTo>
                    <a:pt x="1786307" y="273960"/>
                  </a:lnTo>
                  <a:lnTo>
                    <a:pt x="1786307" y="298074"/>
                  </a:lnTo>
                  <a:lnTo>
                    <a:pt x="1795239" y="298074"/>
                  </a:lnTo>
                  <a:lnTo>
                    <a:pt x="1795239" y="307006"/>
                  </a:lnTo>
                  <a:lnTo>
                    <a:pt x="1866695" y="307006"/>
                  </a:lnTo>
                  <a:lnTo>
                    <a:pt x="1866695" y="298074"/>
                  </a:lnTo>
                  <a:lnTo>
                    <a:pt x="1899768" y="298074"/>
                  </a:lnTo>
                  <a:lnTo>
                    <a:pt x="1902174" y="619930"/>
                  </a:lnTo>
                  <a:lnTo>
                    <a:pt x="1857044" y="619930"/>
                  </a:lnTo>
                  <a:lnTo>
                    <a:pt x="1843107" y="619930"/>
                  </a:lnTo>
                  <a:lnTo>
                    <a:pt x="1843107" y="633840"/>
                  </a:lnTo>
                  <a:lnTo>
                    <a:pt x="1843107" y="649132"/>
                  </a:lnTo>
                  <a:lnTo>
                    <a:pt x="1731830" y="649132"/>
                  </a:lnTo>
                  <a:lnTo>
                    <a:pt x="1723451" y="649132"/>
                  </a:lnTo>
                  <a:lnTo>
                    <a:pt x="1723451" y="456416"/>
                  </a:lnTo>
                  <a:lnTo>
                    <a:pt x="1724613" y="455061"/>
                  </a:lnTo>
                  <a:lnTo>
                    <a:pt x="1737112" y="440682"/>
                  </a:lnTo>
                  <a:lnTo>
                    <a:pt x="1727958" y="435787"/>
                  </a:lnTo>
                  <a:lnTo>
                    <a:pt x="1732134" y="430865"/>
                  </a:lnTo>
                  <a:lnTo>
                    <a:pt x="1723700" y="421048"/>
                  </a:lnTo>
                  <a:lnTo>
                    <a:pt x="1719801" y="416485"/>
                  </a:lnTo>
                  <a:lnTo>
                    <a:pt x="1715238" y="411176"/>
                  </a:lnTo>
                  <a:lnTo>
                    <a:pt x="1711394" y="411176"/>
                  </a:lnTo>
                  <a:lnTo>
                    <a:pt x="1696185" y="411176"/>
                  </a:lnTo>
                  <a:lnTo>
                    <a:pt x="1695577" y="411176"/>
                  </a:lnTo>
                  <a:lnTo>
                    <a:pt x="1680727" y="411176"/>
                  </a:lnTo>
                  <a:lnTo>
                    <a:pt x="1665573" y="411176"/>
                  </a:lnTo>
                  <a:lnTo>
                    <a:pt x="1651525" y="411176"/>
                  </a:lnTo>
                  <a:lnTo>
                    <a:pt x="1636343" y="411176"/>
                  </a:lnTo>
                  <a:lnTo>
                    <a:pt x="1629762" y="411176"/>
                  </a:lnTo>
                  <a:lnTo>
                    <a:pt x="1629762" y="407470"/>
                  </a:lnTo>
                  <a:lnTo>
                    <a:pt x="1635403" y="400225"/>
                  </a:lnTo>
                  <a:lnTo>
                    <a:pt x="1628434" y="390933"/>
                  </a:lnTo>
                  <a:lnTo>
                    <a:pt x="1625144" y="386536"/>
                  </a:lnTo>
                  <a:lnTo>
                    <a:pt x="1622655" y="383218"/>
                  </a:lnTo>
                  <a:lnTo>
                    <a:pt x="1618866" y="381642"/>
                  </a:lnTo>
                  <a:lnTo>
                    <a:pt x="1615078" y="380038"/>
                  </a:lnTo>
                  <a:lnTo>
                    <a:pt x="1606975" y="376664"/>
                  </a:lnTo>
                  <a:lnTo>
                    <a:pt x="1605897" y="377466"/>
                  </a:lnTo>
                  <a:lnTo>
                    <a:pt x="1601694" y="376415"/>
                  </a:lnTo>
                  <a:lnTo>
                    <a:pt x="1593730" y="374369"/>
                  </a:lnTo>
                  <a:lnTo>
                    <a:pt x="1593619" y="374452"/>
                  </a:lnTo>
                  <a:lnTo>
                    <a:pt x="1591849" y="373844"/>
                  </a:lnTo>
                  <a:lnTo>
                    <a:pt x="1590632" y="373844"/>
                  </a:lnTo>
                  <a:lnTo>
                    <a:pt x="1589416" y="373844"/>
                  </a:lnTo>
                  <a:lnTo>
                    <a:pt x="1577967" y="360045"/>
                  </a:lnTo>
                  <a:lnTo>
                    <a:pt x="1575036" y="356477"/>
                  </a:lnTo>
                  <a:lnTo>
                    <a:pt x="1570473" y="351002"/>
                  </a:lnTo>
                  <a:lnTo>
                    <a:pt x="1563339" y="351002"/>
                  </a:lnTo>
                  <a:lnTo>
                    <a:pt x="1558084" y="351002"/>
                  </a:lnTo>
                  <a:lnTo>
                    <a:pt x="1542875" y="351002"/>
                  </a:lnTo>
                  <a:lnTo>
                    <a:pt x="1542875" y="351362"/>
                  </a:lnTo>
                  <a:lnTo>
                    <a:pt x="1537953" y="351362"/>
                  </a:lnTo>
                  <a:lnTo>
                    <a:pt x="1537953" y="298074"/>
                  </a:lnTo>
                  <a:lnTo>
                    <a:pt x="1570999" y="298074"/>
                  </a:lnTo>
                  <a:lnTo>
                    <a:pt x="1570999" y="307006"/>
                  </a:lnTo>
                  <a:lnTo>
                    <a:pt x="1642482" y="307006"/>
                  </a:lnTo>
                  <a:lnTo>
                    <a:pt x="1642482" y="298074"/>
                  </a:lnTo>
                  <a:lnTo>
                    <a:pt x="1651414" y="298074"/>
                  </a:lnTo>
                  <a:lnTo>
                    <a:pt x="1651414" y="273960"/>
                  </a:lnTo>
                  <a:lnTo>
                    <a:pt x="1661231" y="273960"/>
                  </a:lnTo>
                  <a:close/>
                  <a:moveTo>
                    <a:pt x="2628653" y="238149"/>
                  </a:moveTo>
                  <a:cubicBezTo>
                    <a:pt x="2629814" y="238149"/>
                    <a:pt x="2630754" y="239117"/>
                    <a:pt x="2630754" y="240334"/>
                  </a:cubicBezTo>
                  <a:cubicBezTo>
                    <a:pt x="2630754" y="241274"/>
                    <a:pt x="2630174" y="242076"/>
                    <a:pt x="2629399" y="242380"/>
                  </a:cubicBezTo>
                  <a:lnTo>
                    <a:pt x="2629399" y="244675"/>
                  </a:lnTo>
                  <a:lnTo>
                    <a:pt x="2630893" y="244675"/>
                  </a:lnTo>
                  <a:lnTo>
                    <a:pt x="2630893" y="254354"/>
                  </a:lnTo>
                  <a:cubicBezTo>
                    <a:pt x="2642369" y="257783"/>
                    <a:pt x="2643419" y="267932"/>
                    <a:pt x="2643419" y="267932"/>
                  </a:cubicBezTo>
                  <a:lnTo>
                    <a:pt x="2644774" y="267932"/>
                  </a:lnTo>
                  <a:lnTo>
                    <a:pt x="2644774" y="270752"/>
                  </a:lnTo>
                  <a:lnTo>
                    <a:pt x="2642231" y="270752"/>
                  </a:lnTo>
                  <a:lnTo>
                    <a:pt x="2642231" y="280431"/>
                  </a:lnTo>
                  <a:lnTo>
                    <a:pt x="2643558" y="280431"/>
                  </a:lnTo>
                  <a:lnTo>
                    <a:pt x="2643558" y="283860"/>
                  </a:lnTo>
                  <a:lnTo>
                    <a:pt x="2649061" y="283860"/>
                  </a:lnTo>
                  <a:lnTo>
                    <a:pt x="2651605" y="286985"/>
                  </a:lnTo>
                  <a:lnTo>
                    <a:pt x="2651605" y="290718"/>
                  </a:lnTo>
                  <a:lnTo>
                    <a:pt x="2649061" y="292654"/>
                  </a:lnTo>
                  <a:lnTo>
                    <a:pt x="2649061" y="302802"/>
                  </a:lnTo>
                  <a:lnTo>
                    <a:pt x="2652434" y="307863"/>
                  </a:lnTo>
                  <a:lnTo>
                    <a:pt x="2652434" y="312923"/>
                  </a:lnTo>
                  <a:lnTo>
                    <a:pt x="2650720" y="316214"/>
                  </a:lnTo>
                  <a:lnTo>
                    <a:pt x="2654149" y="320086"/>
                  </a:lnTo>
                  <a:lnTo>
                    <a:pt x="2654149" y="330373"/>
                  </a:lnTo>
                  <a:lnTo>
                    <a:pt x="2657661" y="330373"/>
                  </a:lnTo>
                  <a:lnTo>
                    <a:pt x="2657301" y="336484"/>
                  </a:lnTo>
                  <a:lnTo>
                    <a:pt x="2655200" y="337535"/>
                  </a:lnTo>
                  <a:lnTo>
                    <a:pt x="2655200" y="387034"/>
                  </a:lnTo>
                  <a:lnTo>
                    <a:pt x="2660122" y="389108"/>
                  </a:lnTo>
                  <a:lnTo>
                    <a:pt x="2660122" y="395220"/>
                  </a:lnTo>
                  <a:lnTo>
                    <a:pt x="2657301" y="397294"/>
                  </a:lnTo>
                  <a:lnTo>
                    <a:pt x="2660121" y="553147"/>
                  </a:lnTo>
                  <a:lnTo>
                    <a:pt x="2597211" y="553147"/>
                  </a:lnTo>
                  <a:lnTo>
                    <a:pt x="2600059" y="397266"/>
                  </a:lnTo>
                  <a:lnTo>
                    <a:pt x="2597211" y="395192"/>
                  </a:lnTo>
                  <a:lnTo>
                    <a:pt x="2597211" y="389081"/>
                  </a:lnTo>
                  <a:lnTo>
                    <a:pt x="2602133" y="387007"/>
                  </a:lnTo>
                  <a:lnTo>
                    <a:pt x="2602133" y="337507"/>
                  </a:lnTo>
                  <a:lnTo>
                    <a:pt x="2600059" y="336456"/>
                  </a:lnTo>
                  <a:lnTo>
                    <a:pt x="2599700" y="330345"/>
                  </a:lnTo>
                  <a:lnTo>
                    <a:pt x="2603212" y="330345"/>
                  </a:lnTo>
                  <a:lnTo>
                    <a:pt x="2603212" y="320058"/>
                  </a:lnTo>
                  <a:lnTo>
                    <a:pt x="2606641" y="316187"/>
                  </a:lnTo>
                  <a:lnTo>
                    <a:pt x="2604926" y="312896"/>
                  </a:lnTo>
                  <a:lnTo>
                    <a:pt x="2604926" y="307835"/>
                  </a:lnTo>
                  <a:lnTo>
                    <a:pt x="2608272" y="302775"/>
                  </a:lnTo>
                  <a:lnTo>
                    <a:pt x="2608272" y="292626"/>
                  </a:lnTo>
                  <a:lnTo>
                    <a:pt x="2605728" y="290690"/>
                  </a:lnTo>
                  <a:lnTo>
                    <a:pt x="2605728" y="286957"/>
                  </a:lnTo>
                  <a:lnTo>
                    <a:pt x="2608272" y="283832"/>
                  </a:lnTo>
                  <a:lnTo>
                    <a:pt x="2613775" y="283832"/>
                  </a:lnTo>
                  <a:lnTo>
                    <a:pt x="2613775" y="280403"/>
                  </a:lnTo>
                  <a:lnTo>
                    <a:pt x="2615130" y="280403"/>
                  </a:lnTo>
                  <a:lnTo>
                    <a:pt x="2615130" y="270725"/>
                  </a:lnTo>
                  <a:lnTo>
                    <a:pt x="2612586" y="270725"/>
                  </a:lnTo>
                  <a:lnTo>
                    <a:pt x="2612586" y="267904"/>
                  </a:lnTo>
                  <a:lnTo>
                    <a:pt x="2613914" y="267904"/>
                  </a:lnTo>
                  <a:cubicBezTo>
                    <a:pt x="2613914" y="267904"/>
                    <a:pt x="2614965" y="257755"/>
                    <a:pt x="2626440" y="254326"/>
                  </a:cubicBezTo>
                  <a:lnTo>
                    <a:pt x="2626440" y="244648"/>
                  </a:lnTo>
                  <a:lnTo>
                    <a:pt x="2627768" y="244648"/>
                  </a:lnTo>
                  <a:lnTo>
                    <a:pt x="2627768" y="242297"/>
                  </a:lnTo>
                  <a:cubicBezTo>
                    <a:pt x="2627049" y="241937"/>
                    <a:pt x="2626579" y="241191"/>
                    <a:pt x="2626579" y="240334"/>
                  </a:cubicBezTo>
                  <a:cubicBezTo>
                    <a:pt x="2626579" y="239145"/>
                    <a:pt x="2627491" y="238149"/>
                    <a:pt x="2628653" y="238149"/>
                  </a:cubicBezTo>
                  <a:close/>
                  <a:moveTo>
                    <a:pt x="1976562" y="214589"/>
                  </a:moveTo>
                  <a:lnTo>
                    <a:pt x="1976562" y="220866"/>
                  </a:lnTo>
                  <a:lnTo>
                    <a:pt x="1977834" y="220866"/>
                  </a:lnTo>
                  <a:lnTo>
                    <a:pt x="1977834" y="222968"/>
                  </a:lnTo>
                  <a:lnTo>
                    <a:pt x="1978829" y="223963"/>
                  </a:lnTo>
                  <a:lnTo>
                    <a:pt x="1978829" y="214589"/>
                  </a:lnTo>
                  <a:close/>
                  <a:moveTo>
                    <a:pt x="1965003" y="214533"/>
                  </a:moveTo>
                  <a:lnTo>
                    <a:pt x="1965003" y="223935"/>
                  </a:lnTo>
                  <a:lnTo>
                    <a:pt x="1965998" y="222940"/>
                  </a:lnTo>
                  <a:lnTo>
                    <a:pt x="1965998" y="220838"/>
                  </a:lnTo>
                  <a:lnTo>
                    <a:pt x="1967270" y="220838"/>
                  </a:lnTo>
                  <a:lnTo>
                    <a:pt x="1967270" y="214533"/>
                  </a:lnTo>
                  <a:close/>
                  <a:moveTo>
                    <a:pt x="2526143" y="138874"/>
                  </a:moveTo>
                  <a:lnTo>
                    <a:pt x="2533526" y="138874"/>
                  </a:lnTo>
                  <a:lnTo>
                    <a:pt x="2533526" y="160112"/>
                  </a:lnTo>
                  <a:lnTo>
                    <a:pt x="2576001" y="160112"/>
                  </a:lnTo>
                  <a:lnTo>
                    <a:pt x="2579596" y="570873"/>
                  </a:lnTo>
                  <a:lnTo>
                    <a:pt x="2675719" y="570873"/>
                  </a:lnTo>
                  <a:lnTo>
                    <a:pt x="2680337" y="275481"/>
                  </a:lnTo>
                  <a:lnTo>
                    <a:pt x="2686808" y="275481"/>
                  </a:lnTo>
                  <a:lnTo>
                    <a:pt x="2686808" y="257949"/>
                  </a:lnTo>
                  <a:lnTo>
                    <a:pt x="2680337" y="257949"/>
                  </a:lnTo>
                  <a:lnTo>
                    <a:pt x="2680337" y="241329"/>
                  </a:lnTo>
                  <a:lnTo>
                    <a:pt x="2764375" y="241329"/>
                  </a:lnTo>
                  <a:lnTo>
                    <a:pt x="2764375" y="213648"/>
                  </a:lnTo>
                  <a:lnTo>
                    <a:pt x="2865006" y="213648"/>
                  </a:lnTo>
                  <a:lnTo>
                    <a:pt x="2865006" y="241329"/>
                  </a:lnTo>
                  <a:lnTo>
                    <a:pt x="2949044" y="241329"/>
                  </a:lnTo>
                  <a:lnTo>
                    <a:pt x="2949044" y="257949"/>
                  </a:lnTo>
                  <a:lnTo>
                    <a:pt x="2943513" y="257949"/>
                  </a:lnTo>
                  <a:lnTo>
                    <a:pt x="2943513" y="275481"/>
                  </a:lnTo>
                  <a:lnTo>
                    <a:pt x="2949044" y="275481"/>
                  </a:lnTo>
                  <a:lnTo>
                    <a:pt x="2954243" y="840272"/>
                  </a:lnTo>
                  <a:lnTo>
                    <a:pt x="2962981" y="666028"/>
                  </a:lnTo>
                  <a:lnTo>
                    <a:pt x="2967406" y="660276"/>
                  </a:lnTo>
                  <a:lnTo>
                    <a:pt x="2967406" y="590756"/>
                  </a:lnTo>
                  <a:lnTo>
                    <a:pt x="2970614" y="589180"/>
                  </a:lnTo>
                  <a:lnTo>
                    <a:pt x="2969176" y="587355"/>
                  </a:lnTo>
                  <a:lnTo>
                    <a:pt x="2969176" y="583815"/>
                  </a:lnTo>
                  <a:lnTo>
                    <a:pt x="2973600" y="582349"/>
                  </a:lnTo>
                  <a:lnTo>
                    <a:pt x="2973600" y="574828"/>
                  </a:lnTo>
                  <a:lnTo>
                    <a:pt x="2972107" y="573224"/>
                  </a:lnTo>
                  <a:lnTo>
                    <a:pt x="2975950" y="563324"/>
                  </a:lnTo>
                  <a:lnTo>
                    <a:pt x="2977278" y="563324"/>
                  </a:lnTo>
                  <a:lnTo>
                    <a:pt x="2979352" y="558734"/>
                  </a:lnTo>
                  <a:lnTo>
                    <a:pt x="2978633" y="557545"/>
                  </a:lnTo>
                  <a:lnTo>
                    <a:pt x="2980403" y="556798"/>
                  </a:lnTo>
                  <a:lnTo>
                    <a:pt x="2979214" y="554724"/>
                  </a:lnTo>
                  <a:lnTo>
                    <a:pt x="2981426" y="550880"/>
                  </a:lnTo>
                  <a:lnTo>
                    <a:pt x="2983334" y="554724"/>
                  </a:lnTo>
                  <a:lnTo>
                    <a:pt x="2982145" y="556494"/>
                  </a:lnTo>
                  <a:lnTo>
                    <a:pt x="2984496" y="557379"/>
                  </a:lnTo>
                  <a:lnTo>
                    <a:pt x="2983168" y="559010"/>
                  </a:lnTo>
                  <a:lnTo>
                    <a:pt x="2989528" y="573196"/>
                  </a:lnTo>
                  <a:lnTo>
                    <a:pt x="2987758" y="575409"/>
                  </a:lnTo>
                  <a:lnTo>
                    <a:pt x="2988007" y="580552"/>
                  </a:lnTo>
                  <a:lnTo>
                    <a:pt x="3031312" y="559121"/>
                  </a:lnTo>
                  <a:lnTo>
                    <a:pt x="3031312" y="542778"/>
                  </a:lnTo>
                  <a:lnTo>
                    <a:pt x="3033386" y="542778"/>
                  </a:lnTo>
                  <a:lnTo>
                    <a:pt x="3034852" y="537164"/>
                  </a:lnTo>
                  <a:lnTo>
                    <a:pt x="3034271" y="536583"/>
                  </a:lnTo>
                  <a:lnTo>
                    <a:pt x="3035156" y="535118"/>
                  </a:lnTo>
                  <a:lnTo>
                    <a:pt x="3034409" y="533210"/>
                  </a:lnTo>
                  <a:lnTo>
                    <a:pt x="3036318" y="530859"/>
                  </a:lnTo>
                  <a:lnTo>
                    <a:pt x="3038088" y="533071"/>
                  </a:lnTo>
                  <a:lnTo>
                    <a:pt x="3037202" y="534979"/>
                  </a:lnTo>
                  <a:lnTo>
                    <a:pt x="3038088" y="536307"/>
                  </a:lnTo>
                  <a:lnTo>
                    <a:pt x="3037341" y="537772"/>
                  </a:lnTo>
                  <a:lnTo>
                    <a:pt x="3039249" y="543386"/>
                  </a:lnTo>
                  <a:lnTo>
                    <a:pt x="3041323" y="543524"/>
                  </a:lnTo>
                  <a:lnTo>
                    <a:pt x="3041323" y="554143"/>
                  </a:lnTo>
                  <a:lnTo>
                    <a:pt x="3054762" y="547506"/>
                  </a:lnTo>
                  <a:lnTo>
                    <a:pt x="3054762" y="533486"/>
                  </a:lnTo>
                  <a:lnTo>
                    <a:pt x="3057417" y="533486"/>
                  </a:lnTo>
                  <a:lnTo>
                    <a:pt x="3060376" y="525356"/>
                  </a:lnTo>
                  <a:lnTo>
                    <a:pt x="3058744" y="525356"/>
                  </a:lnTo>
                  <a:lnTo>
                    <a:pt x="3057583" y="520932"/>
                  </a:lnTo>
                  <a:lnTo>
                    <a:pt x="3066432" y="515760"/>
                  </a:lnTo>
                  <a:lnTo>
                    <a:pt x="3067483" y="450360"/>
                  </a:lnTo>
                  <a:lnTo>
                    <a:pt x="3065851" y="448286"/>
                  </a:lnTo>
                  <a:lnTo>
                    <a:pt x="3065851" y="445466"/>
                  </a:lnTo>
                  <a:lnTo>
                    <a:pt x="3067483" y="444138"/>
                  </a:lnTo>
                  <a:lnTo>
                    <a:pt x="3068064" y="425251"/>
                  </a:lnTo>
                  <a:lnTo>
                    <a:pt x="3065713" y="423177"/>
                  </a:lnTo>
                  <a:lnTo>
                    <a:pt x="3065713" y="420523"/>
                  </a:lnTo>
                  <a:lnTo>
                    <a:pt x="3068064" y="419333"/>
                  </a:lnTo>
                  <a:lnTo>
                    <a:pt x="3068064" y="411950"/>
                  </a:lnTo>
                  <a:lnTo>
                    <a:pt x="3067179" y="410623"/>
                  </a:lnTo>
                  <a:lnTo>
                    <a:pt x="3067013" y="408410"/>
                  </a:lnTo>
                  <a:lnTo>
                    <a:pt x="3071161" y="402852"/>
                  </a:lnTo>
                  <a:lnTo>
                    <a:pt x="3071161" y="397653"/>
                  </a:lnTo>
                  <a:lnTo>
                    <a:pt x="3069972" y="395137"/>
                  </a:lnTo>
                  <a:lnTo>
                    <a:pt x="3076166" y="383025"/>
                  </a:lnTo>
                  <a:lnTo>
                    <a:pt x="3075585" y="379928"/>
                  </a:lnTo>
                  <a:lnTo>
                    <a:pt x="3077659" y="376969"/>
                  </a:lnTo>
                  <a:lnTo>
                    <a:pt x="3079125" y="379623"/>
                  </a:lnTo>
                  <a:lnTo>
                    <a:pt x="3078240" y="382859"/>
                  </a:lnTo>
                  <a:lnTo>
                    <a:pt x="3080010" y="385209"/>
                  </a:lnTo>
                  <a:lnTo>
                    <a:pt x="3099007" y="257285"/>
                  </a:lnTo>
                  <a:cubicBezTo>
                    <a:pt x="3097874" y="256539"/>
                    <a:pt x="3097127" y="255377"/>
                    <a:pt x="3097127" y="254078"/>
                  </a:cubicBezTo>
                  <a:cubicBezTo>
                    <a:pt x="3097127" y="252335"/>
                    <a:pt x="3098427" y="250842"/>
                    <a:pt x="3100280" y="250289"/>
                  </a:cubicBezTo>
                  <a:lnTo>
                    <a:pt x="3100280" y="237430"/>
                  </a:lnTo>
                  <a:cubicBezTo>
                    <a:pt x="3100280" y="237430"/>
                    <a:pt x="3094445" y="237458"/>
                    <a:pt x="3094445" y="237458"/>
                  </a:cubicBezTo>
                  <a:cubicBezTo>
                    <a:pt x="3094445" y="238177"/>
                    <a:pt x="3093864" y="238758"/>
                    <a:pt x="3093145" y="238758"/>
                  </a:cubicBezTo>
                  <a:cubicBezTo>
                    <a:pt x="3092426" y="238758"/>
                    <a:pt x="3091845" y="238177"/>
                    <a:pt x="3091845" y="237458"/>
                  </a:cubicBezTo>
                  <a:lnTo>
                    <a:pt x="3091845" y="237403"/>
                  </a:lnTo>
                  <a:cubicBezTo>
                    <a:pt x="3091126" y="237264"/>
                    <a:pt x="3090573" y="236628"/>
                    <a:pt x="3090573" y="235854"/>
                  </a:cubicBezTo>
                  <a:cubicBezTo>
                    <a:pt x="3090573" y="235080"/>
                    <a:pt x="3091126" y="234444"/>
                    <a:pt x="3091873" y="234305"/>
                  </a:cubicBezTo>
                  <a:cubicBezTo>
                    <a:pt x="3091984" y="233697"/>
                    <a:pt x="3092509" y="233227"/>
                    <a:pt x="3093145" y="233227"/>
                  </a:cubicBezTo>
                  <a:cubicBezTo>
                    <a:pt x="3093781" y="233227"/>
                    <a:pt x="3094307" y="233669"/>
                    <a:pt x="3094417" y="234278"/>
                  </a:cubicBezTo>
                  <a:lnTo>
                    <a:pt x="3100280" y="234278"/>
                  </a:lnTo>
                  <a:lnTo>
                    <a:pt x="3100280" y="228526"/>
                  </a:lnTo>
                  <a:lnTo>
                    <a:pt x="3100141" y="228526"/>
                  </a:lnTo>
                  <a:cubicBezTo>
                    <a:pt x="3099533" y="228526"/>
                    <a:pt x="3099007" y="228028"/>
                    <a:pt x="3099007" y="227392"/>
                  </a:cubicBezTo>
                  <a:cubicBezTo>
                    <a:pt x="3099007" y="226756"/>
                    <a:pt x="3099505" y="226258"/>
                    <a:pt x="3100141" y="226258"/>
                  </a:cubicBezTo>
                  <a:lnTo>
                    <a:pt x="3100280" y="226258"/>
                  </a:lnTo>
                  <a:lnTo>
                    <a:pt x="3100280" y="225954"/>
                  </a:lnTo>
                  <a:cubicBezTo>
                    <a:pt x="3100280" y="225069"/>
                    <a:pt x="3100999" y="224323"/>
                    <a:pt x="3101911" y="224323"/>
                  </a:cubicBezTo>
                  <a:cubicBezTo>
                    <a:pt x="3102824" y="224323"/>
                    <a:pt x="3103543" y="225069"/>
                    <a:pt x="3103543" y="225954"/>
                  </a:cubicBezTo>
                  <a:lnTo>
                    <a:pt x="3103543" y="226258"/>
                  </a:lnTo>
                  <a:cubicBezTo>
                    <a:pt x="3104179" y="226258"/>
                    <a:pt x="3104677" y="226756"/>
                    <a:pt x="3104677" y="227392"/>
                  </a:cubicBezTo>
                  <a:cubicBezTo>
                    <a:pt x="3104677" y="228028"/>
                    <a:pt x="3104179" y="228526"/>
                    <a:pt x="3103543" y="228526"/>
                  </a:cubicBezTo>
                  <a:lnTo>
                    <a:pt x="3103543" y="234278"/>
                  </a:lnTo>
                  <a:lnTo>
                    <a:pt x="3109516" y="234278"/>
                  </a:lnTo>
                  <a:cubicBezTo>
                    <a:pt x="3109544" y="233697"/>
                    <a:pt x="3110013" y="233227"/>
                    <a:pt x="3110622" y="233227"/>
                  </a:cubicBezTo>
                  <a:cubicBezTo>
                    <a:pt x="3111230" y="233227"/>
                    <a:pt x="3111728" y="233697"/>
                    <a:pt x="3111728" y="234278"/>
                  </a:cubicBezTo>
                  <a:cubicBezTo>
                    <a:pt x="3112558" y="234305"/>
                    <a:pt x="3113221" y="234969"/>
                    <a:pt x="3113221" y="235826"/>
                  </a:cubicBezTo>
                  <a:cubicBezTo>
                    <a:pt x="3113221" y="236684"/>
                    <a:pt x="3112558" y="237347"/>
                    <a:pt x="3111728" y="237403"/>
                  </a:cubicBezTo>
                  <a:lnTo>
                    <a:pt x="3111728" y="237956"/>
                  </a:lnTo>
                  <a:cubicBezTo>
                    <a:pt x="3111728" y="238564"/>
                    <a:pt x="3111230" y="239062"/>
                    <a:pt x="3110622" y="239062"/>
                  </a:cubicBezTo>
                  <a:cubicBezTo>
                    <a:pt x="3110013" y="239062"/>
                    <a:pt x="3109516" y="238564"/>
                    <a:pt x="3109516" y="237956"/>
                  </a:cubicBezTo>
                  <a:lnTo>
                    <a:pt x="3109516" y="237403"/>
                  </a:lnTo>
                  <a:lnTo>
                    <a:pt x="3103543" y="237403"/>
                  </a:lnTo>
                  <a:lnTo>
                    <a:pt x="3103543" y="250289"/>
                  </a:lnTo>
                  <a:cubicBezTo>
                    <a:pt x="3105312" y="250842"/>
                    <a:pt x="3106584" y="252308"/>
                    <a:pt x="3106584" y="254022"/>
                  </a:cubicBezTo>
                  <a:cubicBezTo>
                    <a:pt x="3106584" y="255405"/>
                    <a:pt x="3105727" y="256649"/>
                    <a:pt x="3104455" y="257368"/>
                  </a:cubicBezTo>
                  <a:lnTo>
                    <a:pt x="3123426" y="385126"/>
                  </a:lnTo>
                  <a:lnTo>
                    <a:pt x="3125195" y="382776"/>
                  </a:lnTo>
                  <a:lnTo>
                    <a:pt x="3124310" y="379540"/>
                  </a:lnTo>
                  <a:lnTo>
                    <a:pt x="3125776" y="376886"/>
                  </a:lnTo>
                  <a:lnTo>
                    <a:pt x="3127850" y="379845"/>
                  </a:lnTo>
                  <a:lnTo>
                    <a:pt x="3127269" y="382942"/>
                  </a:lnTo>
                  <a:lnTo>
                    <a:pt x="3133464" y="395054"/>
                  </a:lnTo>
                  <a:lnTo>
                    <a:pt x="3132302" y="397570"/>
                  </a:lnTo>
                  <a:lnTo>
                    <a:pt x="3132302" y="402769"/>
                  </a:lnTo>
                  <a:lnTo>
                    <a:pt x="3136422" y="408327"/>
                  </a:lnTo>
                  <a:lnTo>
                    <a:pt x="3136284" y="410540"/>
                  </a:lnTo>
                  <a:lnTo>
                    <a:pt x="3135399" y="411867"/>
                  </a:lnTo>
                  <a:lnTo>
                    <a:pt x="3135399" y="419251"/>
                  </a:lnTo>
                  <a:lnTo>
                    <a:pt x="3137750" y="420440"/>
                  </a:lnTo>
                  <a:lnTo>
                    <a:pt x="3137750" y="423094"/>
                  </a:lnTo>
                  <a:lnTo>
                    <a:pt x="3135399" y="425168"/>
                  </a:lnTo>
                  <a:lnTo>
                    <a:pt x="3135980" y="444056"/>
                  </a:lnTo>
                  <a:lnTo>
                    <a:pt x="3137612" y="445383"/>
                  </a:lnTo>
                  <a:lnTo>
                    <a:pt x="3137612" y="448203"/>
                  </a:lnTo>
                  <a:lnTo>
                    <a:pt x="3135980" y="450277"/>
                  </a:lnTo>
                  <a:lnTo>
                    <a:pt x="3137003" y="515677"/>
                  </a:lnTo>
                  <a:lnTo>
                    <a:pt x="3145852" y="520849"/>
                  </a:lnTo>
                  <a:lnTo>
                    <a:pt x="3144691" y="525273"/>
                  </a:lnTo>
                  <a:lnTo>
                    <a:pt x="3143059" y="525273"/>
                  </a:lnTo>
                  <a:lnTo>
                    <a:pt x="3146018" y="533403"/>
                  </a:lnTo>
                  <a:lnTo>
                    <a:pt x="3148673" y="533403"/>
                  </a:lnTo>
                  <a:lnTo>
                    <a:pt x="3148673" y="547423"/>
                  </a:lnTo>
                  <a:lnTo>
                    <a:pt x="3162112" y="554060"/>
                  </a:lnTo>
                  <a:lnTo>
                    <a:pt x="3162112" y="543441"/>
                  </a:lnTo>
                  <a:lnTo>
                    <a:pt x="3164186" y="543303"/>
                  </a:lnTo>
                  <a:lnTo>
                    <a:pt x="3166122" y="537689"/>
                  </a:lnTo>
                  <a:lnTo>
                    <a:pt x="3165375" y="536224"/>
                  </a:lnTo>
                  <a:lnTo>
                    <a:pt x="3166260" y="534896"/>
                  </a:lnTo>
                  <a:lnTo>
                    <a:pt x="3165375" y="532988"/>
                  </a:lnTo>
                  <a:lnTo>
                    <a:pt x="3167145" y="530776"/>
                  </a:lnTo>
                  <a:lnTo>
                    <a:pt x="3169053" y="533127"/>
                  </a:lnTo>
                  <a:lnTo>
                    <a:pt x="3168307" y="535035"/>
                  </a:lnTo>
                  <a:lnTo>
                    <a:pt x="3169191" y="536500"/>
                  </a:lnTo>
                  <a:lnTo>
                    <a:pt x="3168611" y="537081"/>
                  </a:lnTo>
                  <a:lnTo>
                    <a:pt x="3170077" y="542695"/>
                  </a:lnTo>
                  <a:lnTo>
                    <a:pt x="3172151" y="542695"/>
                  </a:lnTo>
                  <a:lnTo>
                    <a:pt x="3172151" y="559038"/>
                  </a:lnTo>
                  <a:lnTo>
                    <a:pt x="3215455" y="580469"/>
                  </a:lnTo>
                  <a:lnTo>
                    <a:pt x="3215704" y="575326"/>
                  </a:lnTo>
                  <a:lnTo>
                    <a:pt x="3213935" y="573113"/>
                  </a:lnTo>
                  <a:lnTo>
                    <a:pt x="3220267" y="558927"/>
                  </a:lnTo>
                  <a:lnTo>
                    <a:pt x="3218940" y="557296"/>
                  </a:lnTo>
                  <a:lnTo>
                    <a:pt x="3221290" y="556411"/>
                  </a:lnTo>
                  <a:lnTo>
                    <a:pt x="3220129" y="554641"/>
                  </a:lnTo>
                  <a:lnTo>
                    <a:pt x="3222037" y="550797"/>
                  </a:lnTo>
                  <a:lnTo>
                    <a:pt x="3224249" y="554641"/>
                  </a:lnTo>
                  <a:lnTo>
                    <a:pt x="3223060" y="556715"/>
                  </a:lnTo>
                  <a:lnTo>
                    <a:pt x="3224830" y="557462"/>
                  </a:lnTo>
                  <a:lnTo>
                    <a:pt x="3224083" y="558651"/>
                  </a:lnTo>
                  <a:lnTo>
                    <a:pt x="3226157" y="563241"/>
                  </a:lnTo>
                  <a:lnTo>
                    <a:pt x="3227485" y="563241"/>
                  </a:lnTo>
                  <a:lnTo>
                    <a:pt x="3231328" y="573141"/>
                  </a:lnTo>
                  <a:lnTo>
                    <a:pt x="3229863" y="574745"/>
                  </a:lnTo>
                  <a:lnTo>
                    <a:pt x="3229863" y="582267"/>
                  </a:lnTo>
                  <a:lnTo>
                    <a:pt x="3234287" y="583732"/>
                  </a:lnTo>
                  <a:lnTo>
                    <a:pt x="3234287" y="587272"/>
                  </a:lnTo>
                  <a:lnTo>
                    <a:pt x="3232849" y="589097"/>
                  </a:lnTo>
                  <a:lnTo>
                    <a:pt x="3236057" y="590673"/>
                  </a:lnTo>
                  <a:lnTo>
                    <a:pt x="3236057" y="660193"/>
                  </a:lnTo>
                  <a:lnTo>
                    <a:pt x="3240482" y="665945"/>
                  </a:lnTo>
                  <a:lnTo>
                    <a:pt x="3249082" y="840189"/>
                  </a:lnTo>
                  <a:lnTo>
                    <a:pt x="3253755" y="602619"/>
                  </a:lnTo>
                  <a:lnTo>
                    <a:pt x="3299549" y="553009"/>
                  </a:lnTo>
                  <a:lnTo>
                    <a:pt x="3299549" y="518028"/>
                  </a:lnTo>
                  <a:lnTo>
                    <a:pt x="3314979" y="518028"/>
                  </a:lnTo>
                  <a:lnTo>
                    <a:pt x="3314979" y="536279"/>
                  </a:lnTo>
                  <a:lnTo>
                    <a:pt x="3348827" y="499611"/>
                  </a:lnTo>
                  <a:lnTo>
                    <a:pt x="3451863" y="602619"/>
                  </a:lnTo>
                  <a:lnTo>
                    <a:pt x="3458832" y="602619"/>
                  </a:lnTo>
                  <a:lnTo>
                    <a:pt x="3458832" y="580469"/>
                  </a:lnTo>
                  <a:lnTo>
                    <a:pt x="3455347" y="580469"/>
                  </a:lnTo>
                  <a:lnTo>
                    <a:pt x="3455347" y="577234"/>
                  </a:lnTo>
                  <a:lnTo>
                    <a:pt x="3458832" y="577234"/>
                  </a:lnTo>
                  <a:lnTo>
                    <a:pt x="3458832" y="485812"/>
                  </a:lnTo>
                  <a:lnTo>
                    <a:pt x="3454103" y="477184"/>
                  </a:lnTo>
                  <a:lnTo>
                    <a:pt x="3458832" y="477184"/>
                  </a:lnTo>
                  <a:lnTo>
                    <a:pt x="3458832" y="455283"/>
                  </a:lnTo>
                  <a:lnTo>
                    <a:pt x="3460187" y="455283"/>
                  </a:lnTo>
                  <a:lnTo>
                    <a:pt x="3460187" y="450056"/>
                  </a:lnTo>
                  <a:lnTo>
                    <a:pt x="3461321" y="450056"/>
                  </a:lnTo>
                  <a:lnTo>
                    <a:pt x="3461321" y="445189"/>
                  </a:lnTo>
                  <a:lnTo>
                    <a:pt x="3462067" y="445189"/>
                  </a:lnTo>
                  <a:lnTo>
                    <a:pt x="3462067" y="439714"/>
                  </a:lnTo>
                  <a:lnTo>
                    <a:pt x="3463173" y="439714"/>
                  </a:lnTo>
                  <a:lnTo>
                    <a:pt x="3463173" y="434736"/>
                  </a:lnTo>
                  <a:lnTo>
                    <a:pt x="3464418" y="434736"/>
                  </a:lnTo>
                  <a:lnTo>
                    <a:pt x="3466492" y="422928"/>
                  </a:lnTo>
                  <a:lnTo>
                    <a:pt x="3468676" y="434736"/>
                  </a:lnTo>
                  <a:lnTo>
                    <a:pt x="3469783" y="434736"/>
                  </a:lnTo>
                  <a:lnTo>
                    <a:pt x="3469783" y="439714"/>
                  </a:lnTo>
                  <a:lnTo>
                    <a:pt x="3470888" y="439714"/>
                  </a:lnTo>
                  <a:lnTo>
                    <a:pt x="3470888" y="445189"/>
                  </a:lnTo>
                  <a:lnTo>
                    <a:pt x="3471884" y="445189"/>
                  </a:lnTo>
                  <a:lnTo>
                    <a:pt x="3471884" y="450056"/>
                  </a:lnTo>
                  <a:lnTo>
                    <a:pt x="3473018" y="450056"/>
                  </a:lnTo>
                  <a:lnTo>
                    <a:pt x="3473018" y="455283"/>
                  </a:lnTo>
                  <a:lnTo>
                    <a:pt x="3475258" y="455283"/>
                  </a:lnTo>
                  <a:lnTo>
                    <a:pt x="3475258" y="458905"/>
                  </a:lnTo>
                  <a:lnTo>
                    <a:pt x="3477996" y="458905"/>
                  </a:lnTo>
                  <a:lnTo>
                    <a:pt x="3477996" y="465127"/>
                  </a:lnTo>
                  <a:lnTo>
                    <a:pt x="3482835" y="465127"/>
                  </a:lnTo>
                  <a:lnTo>
                    <a:pt x="3482835" y="455310"/>
                  </a:lnTo>
                  <a:lnTo>
                    <a:pt x="3490550" y="455310"/>
                  </a:lnTo>
                  <a:lnTo>
                    <a:pt x="3490550" y="448840"/>
                  </a:lnTo>
                  <a:lnTo>
                    <a:pt x="3494726" y="448840"/>
                  </a:lnTo>
                  <a:lnTo>
                    <a:pt x="3494726" y="455310"/>
                  </a:lnTo>
                  <a:lnTo>
                    <a:pt x="3502137" y="455310"/>
                  </a:lnTo>
                  <a:lnTo>
                    <a:pt x="3502137" y="465127"/>
                  </a:lnTo>
                  <a:lnTo>
                    <a:pt x="3506976" y="465127"/>
                  </a:lnTo>
                  <a:lnTo>
                    <a:pt x="3506976" y="458905"/>
                  </a:lnTo>
                  <a:lnTo>
                    <a:pt x="3509852" y="458905"/>
                  </a:lnTo>
                  <a:lnTo>
                    <a:pt x="3509852" y="455283"/>
                  </a:lnTo>
                  <a:lnTo>
                    <a:pt x="3510958" y="455283"/>
                  </a:lnTo>
                  <a:lnTo>
                    <a:pt x="3510958" y="450056"/>
                  </a:lnTo>
                  <a:lnTo>
                    <a:pt x="3512064" y="450056"/>
                  </a:lnTo>
                  <a:lnTo>
                    <a:pt x="3512064" y="445189"/>
                  </a:lnTo>
                  <a:lnTo>
                    <a:pt x="3512811" y="445189"/>
                  </a:lnTo>
                  <a:lnTo>
                    <a:pt x="3512811" y="439714"/>
                  </a:lnTo>
                  <a:lnTo>
                    <a:pt x="3513917" y="439714"/>
                  </a:lnTo>
                  <a:lnTo>
                    <a:pt x="3513917" y="434736"/>
                  </a:lnTo>
                  <a:lnTo>
                    <a:pt x="3515134" y="434736"/>
                  </a:lnTo>
                  <a:lnTo>
                    <a:pt x="3517208" y="422928"/>
                  </a:lnTo>
                  <a:lnTo>
                    <a:pt x="3519392" y="434736"/>
                  </a:lnTo>
                  <a:lnTo>
                    <a:pt x="3520499" y="434736"/>
                  </a:lnTo>
                  <a:lnTo>
                    <a:pt x="3520499" y="439714"/>
                  </a:lnTo>
                  <a:lnTo>
                    <a:pt x="3521632" y="439714"/>
                  </a:lnTo>
                  <a:lnTo>
                    <a:pt x="3521632" y="445189"/>
                  </a:lnTo>
                  <a:lnTo>
                    <a:pt x="3522628" y="445189"/>
                  </a:lnTo>
                  <a:lnTo>
                    <a:pt x="3522628" y="450056"/>
                  </a:lnTo>
                  <a:lnTo>
                    <a:pt x="3523761" y="450056"/>
                  </a:lnTo>
                  <a:lnTo>
                    <a:pt x="3523761" y="455283"/>
                  </a:lnTo>
                  <a:lnTo>
                    <a:pt x="3525504" y="455283"/>
                  </a:lnTo>
                  <a:lnTo>
                    <a:pt x="3525504" y="477184"/>
                  </a:lnTo>
                  <a:lnTo>
                    <a:pt x="3529486" y="477184"/>
                  </a:lnTo>
                  <a:lnTo>
                    <a:pt x="3525504" y="485757"/>
                  </a:lnTo>
                  <a:lnTo>
                    <a:pt x="3525504" y="577206"/>
                  </a:lnTo>
                  <a:lnTo>
                    <a:pt x="3527744" y="577206"/>
                  </a:lnTo>
                  <a:lnTo>
                    <a:pt x="3527744" y="580441"/>
                  </a:lnTo>
                  <a:lnTo>
                    <a:pt x="3525504" y="580441"/>
                  </a:lnTo>
                  <a:lnTo>
                    <a:pt x="3525504" y="602592"/>
                  </a:lnTo>
                  <a:lnTo>
                    <a:pt x="3535072" y="602592"/>
                  </a:lnTo>
                  <a:lnTo>
                    <a:pt x="3585263" y="566753"/>
                  </a:lnTo>
                  <a:lnTo>
                    <a:pt x="3614630" y="586110"/>
                  </a:lnTo>
                  <a:lnTo>
                    <a:pt x="3614630" y="570707"/>
                  </a:lnTo>
                  <a:lnTo>
                    <a:pt x="3624585" y="570707"/>
                  </a:lnTo>
                  <a:lnTo>
                    <a:pt x="3624585" y="592664"/>
                  </a:lnTo>
                  <a:lnTo>
                    <a:pt x="3632052" y="597586"/>
                  </a:lnTo>
                  <a:lnTo>
                    <a:pt x="3639573" y="839497"/>
                  </a:lnTo>
                  <a:lnTo>
                    <a:pt x="3645989" y="597586"/>
                  </a:lnTo>
                  <a:lnTo>
                    <a:pt x="3645989" y="590092"/>
                  </a:lnTo>
                  <a:lnTo>
                    <a:pt x="3639739" y="585972"/>
                  </a:lnTo>
                  <a:lnTo>
                    <a:pt x="3638522" y="585170"/>
                  </a:lnTo>
                  <a:lnTo>
                    <a:pt x="3638522" y="556798"/>
                  </a:lnTo>
                  <a:lnTo>
                    <a:pt x="3600721" y="556798"/>
                  </a:lnTo>
                  <a:lnTo>
                    <a:pt x="3600721" y="560255"/>
                  </a:lnTo>
                  <a:lnTo>
                    <a:pt x="3592950" y="555111"/>
                  </a:lnTo>
                  <a:lnTo>
                    <a:pt x="3584986" y="549857"/>
                  </a:lnTo>
                  <a:lnTo>
                    <a:pt x="3577215" y="555415"/>
                  </a:lnTo>
                  <a:lnTo>
                    <a:pt x="3541736" y="580746"/>
                  </a:lnTo>
                  <a:lnTo>
                    <a:pt x="3541736" y="563269"/>
                  </a:lnTo>
                  <a:lnTo>
                    <a:pt x="3539496" y="563269"/>
                  </a:lnTo>
                  <a:lnTo>
                    <a:pt x="3539496" y="505501"/>
                  </a:lnTo>
                  <a:cubicBezTo>
                    <a:pt x="3539496" y="505501"/>
                    <a:pt x="3543396" y="505501"/>
                    <a:pt x="3543396" y="505501"/>
                  </a:cubicBezTo>
                  <a:cubicBezTo>
                    <a:pt x="3761331" y="503870"/>
                    <a:pt x="3952968" y="605772"/>
                    <a:pt x="3952968" y="605772"/>
                  </a:cubicBezTo>
                  <a:lnTo>
                    <a:pt x="3955263" y="600518"/>
                  </a:lnTo>
                  <a:lnTo>
                    <a:pt x="3990310" y="614497"/>
                  </a:lnTo>
                  <a:lnTo>
                    <a:pt x="3997717" y="663027"/>
                  </a:lnTo>
                  <a:lnTo>
                    <a:pt x="3997241" y="664480"/>
                  </a:lnTo>
                  <a:cubicBezTo>
                    <a:pt x="3996135" y="667190"/>
                    <a:pt x="3994918" y="669485"/>
                    <a:pt x="3993342" y="671061"/>
                  </a:cubicBezTo>
                  <a:cubicBezTo>
                    <a:pt x="3987839" y="676564"/>
                    <a:pt x="3965218" y="684501"/>
                    <a:pt x="3965218" y="684501"/>
                  </a:cubicBezTo>
                  <a:lnTo>
                    <a:pt x="3983912" y="750288"/>
                  </a:lnTo>
                  <a:lnTo>
                    <a:pt x="3983912" y="750260"/>
                  </a:lnTo>
                  <a:lnTo>
                    <a:pt x="4003292" y="750260"/>
                  </a:lnTo>
                  <a:lnTo>
                    <a:pt x="4009365" y="870516"/>
                  </a:lnTo>
                  <a:lnTo>
                    <a:pt x="902730" y="871769"/>
                  </a:lnTo>
                  <a:lnTo>
                    <a:pt x="1005130" y="757312"/>
                  </a:lnTo>
                  <a:lnTo>
                    <a:pt x="868385" y="757312"/>
                  </a:lnTo>
                  <a:lnTo>
                    <a:pt x="845018" y="757312"/>
                  </a:lnTo>
                  <a:lnTo>
                    <a:pt x="845018" y="764336"/>
                  </a:lnTo>
                  <a:lnTo>
                    <a:pt x="847479" y="764336"/>
                  </a:lnTo>
                  <a:lnTo>
                    <a:pt x="847479" y="768484"/>
                  </a:lnTo>
                  <a:lnTo>
                    <a:pt x="846843" y="768484"/>
                  </a:lnTo>
                  <a:lnTo>
                    <a:pt x="851323" y="853130"/>
                  </a:lnTo>
                  <a:lnTo>
                    <a:pt x="863518" y="853130"/>
                  </a:lnTo>
                  <a:lnTo>
                    <a:pt x="863518" y="871769"/>
                  </a:lnTo>
                  <a:lnTo>
                    <a:pt x="816950" y="871769"/>
                  </a:lnTo>
                  <a:lnTo>
                    <a:pt x="816950" y="853130"/>
                  </a:lnTo>
                  <a:lnTo>
                    <a:pt x="829421" y="853130"/>
                  </a:lnTo>
                  <a:lnTo>
                    <a:pt x="832685" y="768484"/>
                  </a:lnTo>
                  <a:lnTo>
                    <a:pt x="831634" y="768484"/>
                  </a:lnTo>
                  <a:lnTo>
                    <a:pt x="831634" y="764336"/>
                  </a:lnTo>
                  <a:lnTo>
                    <a:pt x="833901" y="764336"/>
                  </a:lnTo>
                  <a:lnTo>
                    <a:pt x="833901" y="757312"/>
                  </a:lnTo>
                  <a:lnTo>
                    <a:pt x="811475" y="757312"/>
                  </a:lnTo>
                  <a:cubicBezTo>
                    <a:pt x="811475" y="757312"/>
                    <a:pt x="810341" y="757312"/>
                    <a:pt x="810341" y="757312"/>
                  </a:cubicBezTo>
                  <a:lnTo>
                    <a:pt x="100537" y="757312"/>
                  </a:lnTo>
                  <a:lnTo>
                    <a:pt x="76976" y="757312"/>
                  </a:lnTo>
                  <a:lnTo>
                    <a:pt x="76976" y="764336"/>
                  </a:lnTo>
                  <a:lnTo>
                    <a:pt x="79244" y="764336"/>
                  </a:lnTo>
                  <a:lnTo>
                    <a:pt x="79244" y="768484"/>
                  </a:lnTo>
                  <a:lnTo>
                    <a:pt x="78193" y="768484"/>
                  </a:lnTo>
                  <a:lnTo>
                    <a:pt x="81484" y="853130"/>
                  </a:lnTo>
                  <a:lnTo>
                    <a:pt x="93955" y="853130"/>
                  </a:lnTo>
                  <a:lnTo>
                    <a:pt x="93955" y="871769"/>
                  </a:lnTo>
                  <a:lnTo>
                    <a:pt x="47387" y="871769"/>
                  </a:lnTo>
                  <a:lnTo>
                    <a:pt x="47387" y="853130"/>
                  </a:lnTo>
                  <a:lnTo>
                    <a:pt x="59582" y="853130"/>
                  </a:lnTo>
                  <a:lnTo>
                    <a:pt x="64062" y="768484"/>
                  </a:lnTo>
                  <a:lnTo>
                    <a:pt x="63426" y="768484"/>
                  </a:lnTo>
                  <a:lnTo>
                    <a:pt x="63426" y="764336"/>
                  </a:lnTo>
                  <a:lnTo>
                    <a:pt x="65860" y="764336"/>
                  </a:lnTo>
                  <a:lnTo>
                    <a:pt x="65860" y="757312"/>
                  </a:lnTo>
                  <a:lnTo>
                    <a:pt x="43654" y="757312"/>
                  </a:lnTo>
                  <a:cubicBezTo>
                    <a:pt x="43654" y="757312"/>
                    <a:pt x="42520" y="757312"/>
                    <a:pt x="42520" y="757312"/>
                  </a:cubicBezTo>
                  <a:lnTo>
                    <a:pt x="0" y="757312"/>
                  </a:lnTo>
                  <a:lnTo>
                    <a:pt x="466" y="748076"/>
                  </a:lnTo>
                  <a:lnTo>
                    <a:pt x="9696" y="748076"/>
                  </a:lnTo>
                  <a:lnTo>
                    <a:pt x="8645" y="679136"/>
                  </a:lnTo>
                  <a:lnTo>
                    <a:pt x="3605" y="685927"/>
                  </a:lnTo>
                  <a:lnTo>
                    <a:pt x="4032" y="677460"/>
                  </a:lnTo>
                  <a:lnTo>
                    <a:pt x="6156" y="674601"/>
                  </a:lnTo>
                  <a:lnTo>
                    <a:pt x="4153" y="675071"/>
                  </a:lnTo>
                  <a:lnTo>
                    <a:pt x="4182" y="674487"/>
                  </a:lnTo>
                  <a:lnTo>
                    <a:pt x="4963" y="669372"/>
                  </a:lnTo>
                  <a:lnTo>
                    <a:pt x="8102" y="668683"/>
                  </a:lnTo>
                  <a:cubicBezTo>
                    <a:pt x="58794" y="655078"/>
                    <a:pt x="71390" y="641472"/>
                    <a:pt x="71390" y="641472"/>
                  </a:cubicBezTo>
                  <a:cubicBezTo>
                    <a:pt x="71390" y="641472"/>
                    <a:pt x="119258" y="695507"/>
                    <a:pt x="423997" y="695507"/>
                  </a:cubicBezTo>
                  <a:cubicBezTo>
                    <a:pt x="433455" y="695507"/>
                    <a:pt x="443188" y="695451"/>
                    <a:pt x="453171" y="695341"/>
                  </a:cubicBezTo>
                  <a:lnTo>
                    <a:pt x="453171" y="695285"/>
                  </a:lnTo>
                  <a:cubicBezTo>
                    <a:pt x="453946" y="695285"/>
                    <a:pt x="454665" y="695285"/>
                    <a:pt x="455411" y="695285"/>
                  </a:cubicBezTo>
                  <a:cubicBezTo>
                    <a:pt x="456158" y="695285"/>
                    <a:pt x="456904" y="695285"/>
                    <a:pt x="457651" y="695285"/>
                  </a:cubicBezTo>
                  <a:lnTo>
                    <a:pt x="457651" y="695341"/>
                  </a:lnTo>
                  <a:cubicBezTo>
                    <a:pt x="467634" y="695451"/>
                    <a:pt x="477340" y="695507"/>
                    <a:pt x="486825" y="695507"/>
                  </a:cubicBezTo>
                  <a:cubicBezTo>
                    <a:pt x="791592" y="695507"/>
                    <a:pt x="839432" y="641472"/>
                    <a:pt x="839432" y="641472"/>
                  </a:cubicBezTo>
                  <a:cubicBezTo>
                    <a:pt x="839432" y="641472"/>
                    <a:pt x="889844" y="695894"/>
                    <a:pt x="1194583" y="695894"/>
                  </a:cubicBezTo>
                  <a:lnTo>
                    <a:pt x="1221738" y="750315"/>
                  </a:lnTo>
                  <a:lnTo>
                    <a:pt x="1241345" y="788919"/>
                  </a:lnTo>
                  <a:lnTo>
                    <a:pt x="1241538" y="450803"/>
                  </a:lnTo>
                  <a:lnTo>
                    <a:pt x="1236643" y="445162"/>
                  </a:lnTo>
                  <a:lnTo>
                    <a:pt x="1239077" y="443862"/>
                  </a:lnTo>
                  <a:lnTo>
                    <a:pt x="1239409" y="433105"/>
                  </a:lnTo>
                  <a:lnTo>
                    <a:pt x="1237611" y="430976"/>
                  </a:lnTo>
                  <a:lnTo>
                    <a:pt x="1241510" y="426413"/>
                  </a:lnTo>
                  <a:lnTo>
                    <a:pt x="1246405" y="426413"/>
                  </a:lnTo>
                  <a:lnTo>
                    <a:pt x="1246405" y="434239"/>
                  </a:lnTo>
                  <a:lnTo>
                    <a:pt x="1253595" y="434239"/>
                  </a:lnTo>
                  <a:lnTo>
                    <a:pt x="1253595" y="426413"/>
                  </a:lnTo>
                  <a:lnTo>
                    <a:pt x="1261753" y="426413"/>
                  </a:lnTo>
                  <a:lnTo>
                    <a:pt x="1261753" y="434239"/>
                  </a:lnTo>
                  <a:lnTo>
                    <a:pt x="1269412" y="434239"/>
                  </a:lnTo>
                  <a:lnTo>
                    <a:pt x="1269412" y="426413"/>
                  </a:lnTo>
                  <a:lnTo>
                    <a:pt x="1277570" y="426413"/>
                  </a:lnTo>
                  <a:lnTo>
                    <a:pt x="1277570" y="434239"/>
                  </a:lnTo>
                  <a:lnTo>
                    <a:pt x="1284262" y="434239"/>
                  </a:lnTo>
                  <a:lnTo>
                    <a:pt x="1284262" y="426413"/>
                  </a:lnTo>
                  <a:lnTo>
                    <a:pt x="1293084" y="426413"/>
                  </a:lnTo>
                  <a:lnTo>
                    <a:pt x="1293084" y="434239"/>
                  </a:lnTo>
                  <a:lnTo>
                    <a:pt x="1299444" y="434239"/>
                  </a:lnTo>
                  <a:lnTo>
                    <a:pt x="1299444" y="426413"/>
                  </a:lnTo>
                  <a:lnTo>
                    <a:pt x="1307768" y="426413"/>
                  </a:lnTo>
                  <a:lnTo>
                    <a:pt x="1307768" y="434239"/>
                  </a:lnTo>
                  <a:lnTo>
                    <a:pt x="1313464" y="434239"/>
                  </a:lnTo>
                  <a:lnTo>
                    <a:pt x="1313464" y="426413"/>
                  </a:lnTo>
                  <a:lnTo>
                    <a:pt x="1321954" y="426413"/>
                  </a:lnTo>
                  <a:lnTo>
                    <a:pt x="1321954" y="434239"/>
                  </a:lnTo>
                  <a:lnTo>
                    <a:pt x="1328314" y="434239"/>
                  </a:lnTo>
                  <a:lnTo>
                    <a:pt x="1334315" y="666250"/>
                  </a:lnTo>
                  <a:lnTo>
                    <a:pt x="1336416" y="428736"/>
                  </a:lnTo>
                  <a:lnTo>
                    <a:pt x="1332047" y="421242"/>
                  </a:lnTo>
                  <a:lnTo>
                    <a:pt x="1335227" y="417702"/>
                  </a:lnTo>
                  <a:lnTo>
                    <a:pt x="1335227" y="402299"/>
                  </a:lnTo>
                  <a:lnTo>
                    <a:pt x="1333513" y="400087"/>
                  </a:lnTo>
                  <a:lnTo>
                    <a:pt x="1336804" y="395690"/>
                  </a:lnTo>
                  <a:lnTo>
                    <a:pt x="1340592" y="394114"/>
                  </a:lnTo>
                  <a:lnTo>
                    <a:pt x="1343662" y="396437"/>
                  </a:lnTo>
                  <a:lnTo>
                    <a:pt x="1346095" y="392648"/>
                  </a:lnTo>
                  <a:lnTo>
                    <a:pt x="1351847" y="391182"/>
                  </a:lnTo>
                  <a:lnTo>
                    <a:pt x="1354889" y="394003"/>
                  </a:lnTo>
                  <a:lnTo>
                    <a:pt x="1357461" y="390104"/>
                  </a:lnTo>
                  <a:lnTo>
                    <a:pt x="1360392" y="389136"/>
                  </a:lnTo>
                  <a:lnTo>
                    <a:pt x="1366144" y="389136"/>
                  </a:lnTo>
                  <a:lnTo>
                    <a:pt x="1366144" y="399755"/>
                  </a:lnTo>
                  <a:lnTo>
                    <a:pt x="1374329" y="399506"/>
                  </a:lnTo>
                  <a:lnTo>
                    <a:pt x="1374329" y="389108"/>
                  </a:lnTo>
                  <a:lnTo>
                    <a:pt x="1384478" y="389108"/>
                  </a:lnTo>
                  <a:lnTo>
                    <a:pt x="1384616" y="398870"/>
                  </a:lnTo>
                  <a:lnTo>
                    <a:pt x="1392442" y="398621"/>
                  </a:lnTo>
                  <a:lnTo>
                    <a:pt x="1392442" y="389081"/>
                  </a:lnTo>
                  <a:lnTo>
                    <a:pt x="1401014" y="389938"/>
                  </a:lnTo>
                  <a:lnTo>
                    <a:pt x="1404056" y="394943"/>
                  </a:lnTo>
                  <a:lnTo>
                    <a:pt x="1407236" y="391763"/>
                  </a:lnTo>
                  <a:lnTo>
                    <a:pt x="1414343" y="392980"/>
                  </a:lnTo>
                  <a:lnTo>
                    <a:pt x="1417026" y="397736"/>
                  </a:lnTo>
                  <a:lnTo>
                    <a:pt x="1420316" y="394556"/>
                  </a:lnTo>
                  <a:lnTo>
                    <a:pt x="1424464" y="395303"/>
                  </a:lnTo>
                  <a:lnTo>
                    <a:pt x="1427893" y="400197"/>
                  </a:lnTo>
                  <a:lnTo>
                    <a:pt x="1426677" y="401801"/>
                  </a:lnTo>
                  <a:lnTo>
                    <a:pt x="1426511" y="405700"/>
                  </a:lnTo>
                  <a:lnTo>
                    <a:pt x="1426511" y="417923"/>
                  </a:lnTo>
                  <a:lnTo>
                    <a:pt x="1427921" y="419416"/>
                  </a:lnTo>
                  <a:lnTo>
                    <a:pt x="1429746" y="428210"/>
                  </a:lnTo>
                  <a:lnTo>
                    <a:pt x="1424492" y="432248"/>
                  </a:lnTo>
                  <a:lnTo>
                    <a:pt x="1429193" y="721777"/>
                  </a:lnTo>
                  <a:lnTo>
                    <a:pt x="1429746" y="437502"/>
                  </a:lnTo>
                  <a:lnTo>
                    <a:pt x="1436936" y="430008"/>
                  </a:lnTo>
                  <a:lnTo>
                    <a:pt x="1433783" y="417951"/>
                  </a:lnTo>
                  <a:lnTo>
                    <a:pt x="1431101" y="413913"/>
                  </a:lnTo>
                  <a:lnTo>
                    <a:pt x="1431184" y="413471"/>
                  </a:lnTo>
                  <a:lnTo>
                    <a:pt x="1431184" y="403267"/>
                  </a:lnTo>
                  <a:cubicBezTo>
                    <a:pt x="1431184" y="403267"/>
                    <a:pt x="1433258" y="401193"/>
                    <a:pt x="1433258" y="401193"/>
                  </a:cubicBezTo>
                  <a:lnTo>
                    <a:pt x="1428280" y="391293"/>
                  </a:lnTo>
                  <a:lnTo>
                    <a:pt x="1421063" y="389413"/>
                  </a:lnTo>
                  <a:lnTo>
                    <a:pt x="1418381" y="391210"/>
                  </a:lnTo>
                  <a:lnTo>
                    <a:pt x="1416168" y="388030"/>
                  </a:lnTo>
                  <a:lnTo>
                    <a:pt x="1408343" y="386647"/>
                  </a:lnTo>
                  <a:lnTo>
                    <a:pt x="1404665" y="388279"/>
                  </a:lnTo>
                  <a:lnTo>
                    <a:pt x="1403199" y="384573"/>
                  </a:lnTo>
                  <a:lnTo>
                    <a:pt x="1392304" y="383218"/>
                  </a:lnTo>
                  <a:lnTo>
                    <a:pt x="1388405" y="386288"/>
                  </a:lnTo>
                  <a:lnTo>
                    <a:pt x="1382791" y="386150"/>
                  </a:lnTo>
                  <a:lnTo>
                    <a:pt x="1385473" y="383965"/>
                  </a:lnTo>
                  <a:lnTo>
                    <a:pt x="1385473" y="381393"/>
                  </a:lnTo>
                  <a:lnTo>
                    <a:pt x="1384257" y="379319"/>
                  </a:lnTo>
                  <a:lnTo>
                    <a:pt x="1384865" y="377743"/>
                  </a:lnTo>
                  <a:lnTo>
                    <a:pt x="1384976" y="370525"/>
                  </a:lnTo>
                  <a:lnTo>
                    <a:pt x="1383510" y="369779"/>
                  </a:lnTo>
                  <a:lnTo>
                    <a:pt x="1386441" y="366239"/>
                  </a:lnTo>
                  <a:lnTo>
                    <a:pt x="1391695" y="366239"/>
                  </a:lnTo>
                  <a:lnTo>
                    <a:pt x="1391695" y="374093"/>
                  </a:lnTo>
                  <a:lnTo>
                    <a:pt x="1398553" y="374093"/>
                  </a:lnTo>
                  <a:lnTo>
                    <a:pt x="1398553" y="366599"/>
                  </a:lnTo>
                  <a:lnTo>
                    <a:pt x="1407624" y="366599"/>
                  </a:lnTo>
                  <a:lnTo>
                    <a:pt x="1407624" y="374093"/>
                  </a:lnTo>
                  <a:lnTo>
                    <a:pt x="1415117" y="374093"/>
                  </a:lnTo>
                  <a:lnTo>
                    <a:pt x="1415117" y="366599"/>
                  </a:lnTo>
                  <a:lnTo>
                    <a:pt x="1423994" y="366599"/>
                  </a:lnTo>
                  <a:lnTo>
                    <a:pt x="1423994" y="374093"/>
                  </a:lnTo>
                  <a:lnTo>
                    <a:pt x="1430686" y="374093"/>
                  </a:lnTo>
                  <a:lnTo>
                    <a:pt x="1430686" y="366599"/>
                  </a:lnTo>
                  <a:lnTo>
                    <a:pt x="1439231" y="366599"/>
                  </a:lnTo>
                  <a:lnTo>
                    <a:pt x="1439231" y="374093"/>
                  </a:lnTo>
                  <a:lnTo>
                    <a:pt x="1446255" y="374093"/>
                  </a:lnTo>
                  <a:lnTo>
                    <a:pt x="1446255" y="366239"/>
                  </a:lnTo>
                  <a:lnTo>
                    <a:pt x="1455464" y="366239"/>
                  </a:lnTo>
                  <a:lnTo>
                    <a:pt x="1455464" y="374093"/>
                  </a:lnTo>
                  <a:lnTo>
                    <a:pt x="1462571" y="374093"/>
                  </a:lnTo>
                  <a:lnTo>
                    <a:pt x="1462571" y="366239"/>
                  </a:lnTo>
                  <a:lnTo>
                    <a:pt x="1471226" y="366239"/>
                  </a:lnTo>
                  <a:lnTo>
                    <a:pt x="1471226" y="374093"/>
                  </a:lnTo>
                  <a:lnTo>
                    <a:pt x="1478554" y="374093"/>
                  </a:lnTo>
                  <a:lnTo>
                    <a:pt x="1478554" y="366239"/>
                  </a:lnTo>
                  <a:lnTo>
                    <a:pt x="1487182" y="366239"/>
                  </a:lnTo>
                  <a:lnTo>
                    <a:pt x="1487182" y="374093"/>
                  </a:lnTo>
                  <a:lnTo>
                    <a:pt x="1494261" y="374093"/>
                  </a:lnTo>
                  <a:lnTo>
                    <a:pt x="1494261" y="366239"/>
                  </a:lnTo>
                  <a:lnTo>
                    <a:pt x="1503470" y="366239"/>
                  </a:lnTo>
                  <a:lnTo>
                    <a:pt x="1503470" y="374093"/>
                  </a:lnTo>
                  <a:lnTo>
                    <a:pt x="1510466" y="374093"/>
                  </a:lnTo>
                  <a:lnTo>
                    <a:pt x="1510466" y="366599"/>
                  </a:lnTo>
                  <a:lnTo>
                    <a:pt x="1519038" y="366599"/>
                  </a:lnTo>
                  <a:lnTo>
                    <a:pt x="1519038" y="374093"/>
                  </a:lnTo>
                  <a:lnTo>
                    <a:pt x="1525703" y="374093"/>
                  </a:lnTo>
                  <a:lnTo>
                    <a:pt x="1525703" y="366599"/>
                  </a:lnTo>
                  <a:lnTo>
                    <a:pt x="1534607" y="366599"/>
                  </a:lnTo>
                  <a:lnTo>
                    <a:pt x="1534607" y="374093"/>
                  </a:lnTo>
                  <a:lnTo>
                    <a:pt x="1542101" y="374093"/>
                  </a:lnTo>
                  <a:lnTo>
                    <a:pt x="1542101" y="366599"/>
                  </a:lnTo>
                  <a:lnTo>
                    <a:pt x="1551144" y="366599"/>
                  </a:lnTo>
                  <a:lnTo>
                    <a:pt x="1551144" y="374093"/>
                  </a:lnTo>
                  <a:lnTo>
                    <a:pt x="1558002" y="374093"/>
                  </a:lnTo>
                  <a:lnTo>
                    <a:pt x="1558002" y="366239"/>
                  </a:lnTo>
                  <a:lnTo>
                    <a:pt x="1563256" y="366239"/>
                  </a:lnTo>
                  <a:lnTo>
                    <a:pt x="1566187" y="369779"/>
                  </a:lnTo>
                  <a:lnTo>
                    <a:pt x="1564722" y="370525"/>
                  </a:lnTo>
                  <a:lnTo>
                    <a:pt x="1564832" y="377743"/>
                  </a:lnTo>
                  <a:lnTo>
                    <a:pt x="1565441" y="379319"/>
                  </a:lnTo>
                  <a:lnTo>
                    <a:pt x="1564224" y="381393"/>
                  </a:lnTo>
                  <a:lnTo>
                    <a:pt x="1564224" y="383965"/>
                  </a:lnTo>
                  <a:lnTo>
                    <a:pt x="1566906" y="386150"/>
                  </a:lnTo>
                  <a:lnTo>
                    <a:pt x="1561293" y="386288"/>
                  </a:lnTo>
                  <a:lnTo>
                    <a:pt x="1557366" y="383218"/>
                  </a:lnTo>
                  <a:lnTo>
                    <a:pt x="1546498" y="384573"/>
                  </a:lnTo>
                  <a:lnTo>
                    <a:pt x="1545033" y="388279"/>
                  </a:lnTo>
                  <a:lnTo>
                    <a:pt x="1541355" y="386647"/>
                  </a:lnTo>
                  <a:lnTo>
                    <a:pt x="1533529" y="388030"/>
                  </a:lnTo>
                  <a:lnTo>
                    <a:pt x="1531317" y="391210"/>
                  </a:lnTo>
                  <a:lnTo>
                    <a:pt x="1528634" y="389413"/>
                  </a:lnTo>
                  <a:lnTo>
                    <a:pt x="1521417" y="391293"/>
                  </a:lnTo>
                  <a:cubicBezTo>
                    <a:pt x="1521417" y="391293"/>
                    <a:pt x="1516439" y="401193"/>
                    <a:pt x="1516439" y="401193"/>
                  </a:cubicBezTo>
                  <a:lnTo>
                    <a:pt x="1518513" y="403267"/>
                  </a:lnTo>
                  <a:lnTo>
                    <a:pt x="1518513" y="413471"/>
                  </a:lnTo>
                  <a:lnTo>
                    <a:pt x="1518596" y="413913"/>
                  </a:lnTo>
                  <a:lnTo>
                    <a:pt x="1515914" y="417951"/>
                  </a:lnTo>
                  <a:lnTo>
                    <a:pt x="1512761" y="430008"/>
                  </a:lnTo>
                  <a:lnTo>
                    <a:pt x="1519951" y="437502"/>
                  </a:lnTo>
                  <a:lnTo>
                    <a:pt x="1520504" y="721777"/>
                  </a:lnTo>
                  <a:lnTo>
                    <a:pt x="1525205" y="432248"/>
                  </a:lnTo>
                  <a:lnTo>
                    <a:pt x="1519951" y="428210"/>
                  </a:lnTo>
                  <a:lnTo>
                    <a:pt x="1521776" y="419416"/>
                  </a:lnTo>
                  <a:lnTo>
                    <a:pt x="1523186" y="417923"/>
                  </a:lnTo>
                  <a:lnTo>
                    <a:pt x="1523186" y="405700"/>
                  </a:lnTo>
                  <a:lnTo>
                    <a:pt x="1522993" y="401801"/>
                  </a:lnTo>
                  <a:lnTo>
                    <a:pt x="1521776" y="400197"/>
                  </a:lnTo>
                  <a:lnTo>
                    <a:pt x="1525205" y="395303"/>
                  </a:lnTo>
                  <a:lnTo>
                    <a:pt x="1529381" y="394556"/>
                  </a:lnTo>
                  <a:lnTo>
                    <a:pt x="1532672" y="397736"/>
                  </a:lnTo>
                  <a:lnTo>
                    <a:pt x="1535354" y="392980"/>
                  </a:lnTo>
                  <a:lnTo>
                    <a:pt x="1542461" y="391763"/>
                  </a:lnTo>
                  <a:lnTo>
                    <a:pt x="1545641" y="394943"/>
                  </a:lnTo>
                  <a:lnTo>
                    <a:pt x="1548683" y="389938"/>
                  </a:lnTo>
                  <a:lnTo>
                    <a:pt x="1557255" y="389081"/>
                  </a:lnTo>
                  <a:lnTo>
                    <a:pt x="1557255" y="398621"/>
                  </a:lnTo>
                  <a:lnTo>
                    <a:pt x="1565081" y="398870"/>
                  </a:lnTo>
                  <a:lnTo>
                    <a:pt x="1565219" y="389108"/>
                  </a:lnTo>
                  <a:lnTo>
                    <a:pt x="1575368" y="389108"/>
                  </a:lnTo>
                  <a:lnTo>
                    <a:pt x="1575368" y="399506"/>
                  </a:lnTo>
                  <a:lnTo>
                    <a:pt x="1583554" y="399755"/>
                  </a:lnTo>
                  <a:lnTo>
                    <a:pt x="1583554" y="389136"/>
                  </a:lnTo>
                  <a:lnTo>
                    <a:pt x="1589306" y="389136"/>
                  </a:lnTo>
                  <a:lnTo>
                    <a:pt x="1592237" y="390104"/>
                  </a:lnTo>
                  <a:lnTo>
                    <a:pt x="1594808" y="394003"/>
                  </a:lnTo>
                  <a:lnTo>
                    <a:pt x="1597850" y="391182"/>
                  </a:lnTo>
                  <a:lnTo>
                    <a:pt x="1603602" y="392648"/>
                  </a:lnTo>
                  <a:lnTo>
                    <a:pt x="1606063" y="396437"/>
                  </a:lnTo>
                  <a:lnTo>
                    <a:pt x="1609105" y="394114"/>
                  </a:lnTo>
                  <a:lnTo>
                    <a:pt x="1612894" y="395690"/>
                  </a:lnTo>
                  <a:lnTo>
                    <a:pt x="1616184" y="400087"/>
                  </a:lnTo>
                  <a:lnTo>
                    <a:pt x="1614470" y="402299"/>
                  </a:lnTo>
                  <a:lnTo>
                    <a:pt x="1614470" y="417702"/>
                  </a:lnTo>
                  <a:lnTo>
                    <a:pt x="1617650" y="421242"/>
                  </a:lnTo>
                  <a:lnTo>
                    <a:pt x="1613253" y="428736"/>
                  </a:lnTo>
                  <a:lnTo>
                    <a:pt x="1615383" y="666250"/>
                  </a:lnTo>
                  <a:lnTo>
                    <a:pt x="1620581" y="449724"/>
                  </a:lnTo>
                  <a:lnTo>
                    <a:pt x="1620581" y="434073"/>
                  </a:lnTo>
                  <a:lnTo>
                    <a:pt x="1621411" y="434073"/>
                  </a:lnTo>
                  <a:lnTo>
                    <a:pt x="1621411" y="434239"/>
                  </a:lnTo>
                  <a:lnTo>
                    <a:pt x="1627771" y="434239"/>
                  </a:lnTo>
                  <a:lnTo>
                    <a:pt x="1627771" y="426413"/>
                  </a:lnTo>
                  <a:lnTo>
                    <a:pt x="1636261" y="426413"/>
                  </a:lnTo>
                  <a:lnTo>
                    <a:pt x="1636261" y="434239"/>
                  </a:lnTo>
                  <a:lnTo>
                    <a:pt x="1641957" y="434239"/>
                  </a:lnTo>
                  <a:lnTo>
                    <a:pt x="1641957" y="426413"/>
                  </a:lnTo>
                  <a:lnTo>
                    <a:pt x="1650281" y="426413"/>
                  </a:lnTo>
                  <a:lnTo>
                    <a:pt x="1650281" y="434239"/>
                  </a:lnTo>
                  <a:lnTo>
                    <a:pt x="1656641" y="434239"/>
                  </a:lnTo>
                  <a:lnTo>
                    <a:pt x="1656641" y="426413"/>
                  </a:lnTo>
                  <a:lnTo>
                    <a:pt x="1665463" y="426413"/>
                  </a:lnTo>
                  <a:lnTo>
                    <a:pt x="1665463" y="434239"/>
                  </a:lnTo>
                  <a:lnTo>
                    <a:pt x="1672155" y="434239"/>
                  </a:lnTo>
                  <a:lnTo>
                    <a:pt x="1672155" y="426413"/>
                  </a:lnTo>
                  <a:lnTo>
                    <a:pt x="1680312" y="426413"/>
                  </a:lnTo>
                  <a:lnTo>
                    <a:pt x="1680312" y="434239"/>
                  </a:lnTo>
                  <a:lnTo>
                    <a:pt x="1687972" y="434239"/>
                  </a:lnTo>
                  <a:lnTo>
                    <a:pt x="1687972" y="426413"/>
                  </a:lnTo>
                  <a:lnTo>
                    <a:pt x="1696130" y="426413"/>
                  </a:lnTo>
                  <a:lnTo>
                    <a:pt x="1696130" y="434239"/>
                  </a:lnTo>
                  <a:lnTo>
                    <a:pt x="1703292" y="434239"/>
                  </a:lnTo>
                  <a:lnTo>
                    <a:pt x="1703292" y="426413"/>
                  </a:lnTo>
                  <a:lnTo>
                    <a:pt x="1708187" y="426413"/>
                  </a:lnTo>
                  <a:lnTo>
                    <a:pt x="1712114" y="430976"/>
                  </a:lnTo>
                  <a:lnTo>
                    <a:pt x="1710316" y="433105"/>
                  </a:lnTo>
                  <a:lnTo>
                    <a:pt x="1710648" y="443862"/>
                  </a:lnTo>
                  <a:lnTo>
                    <a:pt x="1713109" y="445162"/>
                  </a:lnTo>
                  <a:lnTo>
                    <a:pt x="1708215" y="450803"/>
                  </a:lnTo>
                  <a:lnTo>
                    <a:pt x="1718833" y="837645"/>
                  </a:lnTo>
                  <a:lnTo>
                    <a:pt x="1723009" y="669347"/>
                  </a:lnTo>
                  <a:lnTo>
                    <a:pt x="1731803" y="669153"/>
                  </a:lnTo>
                  <a:lnTo>
                    <a:pt x="1731803" y="663125"/>
                  </a:lnTo>
                  <a:lnTo>
                    <a:pt x="1856989" y="663125"/>
                  </a:lnTo>
                  <a:lnTo>
                    <a:pt x="1856989" y="633923"/>
                  </a:lnTo>
                  <a:lnTo>
                    <a:pt x="1921089" y="633923"/>
                  </a:lnTo>
                  <a:lnTo>
                    <a:pt x="1921089" y="371549"/>
                  </a:lnTo>
                  <a:lnTo>
                    <a:pt x="1923108" y="371549"/>
                  </a:lnTo>
                  <a:lnTo>
                    <a:pt x="1923108" y="363502"/>
                  </a:lnTo>
                  <a:lnTo>
                    <a:pt x="1922693" y="362340"/>
                  </a:lnTo>
                  <a:lnTo>
                    <a:pt x="1922693" y="360570"/>
                  </a:lnTo>
                  <a:lnTo>
                    <a:pt x="1923523" y="359907"/>
                  </a:lnTo>
                  <a:lnTo>
                    <a:pt x="1923523" y="356644"/>
                  </a:lnTo>
                  <a:lnTo>
                    <a:pt x="1924352" y="356229"/>
                  </a:lnTo>
                  <a:lnTo>
                    <a:pt x="1924352" y="337867"/>
                  </a:lnTo>
                  <a:lnTo>
                    <a:pt x="1922666" y="335433"/>
                  </a:lnTo>
                  <a:lnTo>
                    <a:pt x="1922666" y="329294"/>
                  </a:lnTo>
                  <a:lnTo>
                    <a:pt x="1924352" y="324510"/>
                  </a:lnTo>
                  <a:lnTo>
                    <a:pt x="1925348" y="324510"/>
                  </a:lnTo>
                  <a:lnTo>
                    <a:pt x="1925348" y="317127"/>
                  </a:lnTo>
                  <a:lnTo>
                    <a:pt x="1931902" y="312675"/>
                  </a:lnTo>
                  <a:lnTo>
                    <a:pt x="1934833" y="312675"/>
                  </a:lnTo>
                  <a:lnTo>
                    <a:pt x="1934833" y="311430"/>
                  </a:lnTo>
                  <a:lnTo>
                    <a:pt x="1936520" y="310822"/>
                  </a:lnTo>
                  <a:lnTo>
                    <a:pt x="1936520" y="306038"/>
                  </a:lnTo>
                  <a:lnTo>
                    <a:pt x="1938207" y="304545"/>
                  </a:lnTo>
                  <a:lnTo>
                    <a:pt x="1938207" y="300922"/>
                  </a:lnTo>
                  <a:lnTo>
                    <a:pt x="1939451" y="300922"/>
                  </a:lnTo>
                  <a:lnTo>
                    <a:pt x="1939451" y="303411"/>
                  </a:lnTo>
                  <a:lnTo>
                    <a:pt x="1943322" y="299982"/>
                  </a:lnTo>
                  <a:lnTo>
                    <a:pt x="1943322" y="257202"/>
                  </a:lnTo>
                  <a:lnTo>
                    <a:pt x="1946835" y="252335"/>
                  </a:lnTo>
                  <a:lnTo>
                    <a:pt x="1946835" y="246639"/>
                  </a:lnTo>
                  <a:lnTo>
                    <a:pt x="1948189" y="244371"/>
                  </a:lnTo>
                  <a:lnTo>
                    <a:pt x="1947277" y="243127"/>
                  </a:lnTo>
                  <a:lnTo>
                    <a:pt x="1948687" y="240113"/>
                  </a:lnTo>
                  <a:lnTo>
                    <a:pt x="1950125" y="242214"/>
                  </a:lnTo>
                  <a:lnTo>
                    <a:pt x="1952227" y="240113"/>
                  </a:lnTo>
                  <a:lnTo>
                    <a:pt x="1952227" y="236020"/>
                  </a:lnTo>
                  <a:lnTo>
                    <a:pt x="1954080" y="234167"/>
                  </a:lnTo>
                  <a:lnTo>
                    <a:pt x="1954080" y="229632"/>
                  </a:lnTo>
                  <a:lnTo>
                    <a:pt x="1957758" y="226203"/>
                  </a:lnTo>
                  <a:lnTo>
                    <a:pt x="1962790" y="226203"/>
                  </a:lnTo>
                  <a:lnTo>
                    <a:pt x="1963454" y="225539"/>
                  </a:lnTo>
                  <a:lnTo>
                    <a:pt x="1963454" y="203306"/>
                  </a:lnTo>
                  <a:lnTo>
                    <a:pt x="1968570" y="199379"/>
                  </a:lnTo>
                  <a:lnTo>
                    <a:pt x="1968570" y="197941"/>
                  </a:lnTo>
                  <a:lnTo>
                    <a:pt x="1971363" y="196448"/>
                  </a:lnTo>
                  <a:lnTo>
                    <a:pt x="1971363" y="192217"/>
                  </a:lnTo>
                  <a:cubicBezTo>
                    <a:pt x="1971114" y="191968"/>
                    <a:pt x="1970865" y="191664"/>
                    <a:pt x="1970589" y="191498"/>
                  </a:cubicBezTo>
                  <a:cubicBezTo>
                    <a:pt x="1969759" y="191028"/>
                    <a:pt x="1968929" y="190917"/>
                    <a:pt x="1967989" y="190834"/>
                  </a:cubicBezTo>
                  <a:cubicBezTo>
                    <a:pt x="1966109" y="190696"/>
                    <a:pt x="1966524" y="187848"/>
                    <a:pt x="1964726" y="187488"/>
                  </a:cubicBezTo>
                  <a:cubicBezTo>
                    <a:pt x="1964699" y="186852"/>
                    <a:pt x="1964505" y="186161"/>
                    <a:pt x="1965113" y="185995"/>
                  </a:cubicBezTo>
                  <a:cubicBezTo>
                    <a:pt x="1965915" y="185774"/>
                    <a:pt x="1967077" y="186078"/>
                    <a:pt x="1967796" y="186410"/>
                  </a:cubicBezTo>
                  <a:cubicBezTo>
                    <a:pt x="1968625" y="186825"/>
                    <a:pt x="1969151" y="186908"/>
                    <a:pt x="1970063" y="187074"/>
                  </a:cubicBezTo>
                  <a:cubicBezTo>
                    <a:pt x="1970616" y="187184"/>
                    <a:pt x="1971031" y="187350"/>
                    <a:pt x="1971391" y="187682"/>
                  </a:cubicBezTo>
                  <a:lnTo>
                    <a:pt x="1971391" y="185497"/>
                  </a:lnTo>
                  <a:cubicBezTo>
                    <a:pt x="1971142" y="185553"/>
                    <a:pt x="1970865" y="185663"/>
                    <a:pt x="1970616" y="185719"/>
                  </a:cubicBezTo>
                  <a:cubicBezTo>
                    <a:pt x="1969759" y="185885"/>
                    <a:pt x="1969206" y="185774"/>
                    <a:pt x="1968487" y="185331"/>
                  </a:cubicBezTo>
                  <a:cubicBezTo>
                    <a:pt x="1967215" y="184585"/>
                    <a:pt x="1965915" y="184806"/>
                    <a:pt x="1964505" y="184723"/>
                  </a:cubicBezTo>
                  <a:cubicBezTo>
                    <a:pt x="1964560" y="184253"/>
                    <a:pt x="1964422" y="183755"/>
                    <a:pt x="1964118" y="183451"/>
                  </a:cubicBezTo>
                  <a:cubicBezTo>
                    <a:pt x="1964588" y="182621"/>
                    <a:pt x="1965335" y="183036"/>
                    <a:pt x="1966164" y="182787"/>
                  </a:cubicBezTo>
                  <a:cubicBezTo>
                    <a:pt x="1967077" y="182483"/>
                    <a:pt x="1967298" y="181488"/>
                    <a:pt x="1968238" y="181377"/>
                  </a:cubicBezTo>
                  <a:cubicBezTo>
                    <a:pt x="1968985" y="181294"/>
                    <a:pt x="1970561" y="181571"/>
                    <a:pt x="1971391" y="182151"/>
                  </a:cubicBezTo>
                  <a:lnTo>
                    <a:pt x="1971391" y="180879"/>
                  </a:lnTo>
                  <a:cubicBezTo>
                    <a:pt x="1971031" y="180769"/>
                    <a:pt x="1970561" y="180271"/>
                    <a:pt x="1970395" y="180133"/>
                  </a:cubicBezTo>
                  <a:cubicBezTo>
                    <a:pt x="1969704" y="179580"/>
                    <a:pt x="1969151" y="179663"/>
                    <a:pt x="1968293" y="179663"/>
                  </a:cubicBezTo>
                  <a:cubicBezTo>
                    <a:pt x="1967049" y="179635"/>
                    <a:pt x="1966164" y="179109"/>
                    <a:pt x="1965030" y="178612"/>
                  </a:cubicBezTo>
                  <a:cubicBezTo>
                    <a:pt x="1964145" y="178225"/>
                    <a:pt x="1963122" y="177948"/>
                    <a:pt x="1962182" y="178363"/>
                  </a:cubicBezTo>
                  <a:cubicBezTo>
                    <a:pt x="1962182" y="177091"/>
                    <a:pt x="1962348" y="175653"/>
                    <a:pt x="1961076" y="174906"/>
                  </a:cubicBezTo>
                  <a:cubicBezTo>
                    <a:pt x="1961684" y="174381"/>
                    <a:pt x="1961933" y="173966"/>
                    <a:pt x="1962763" y="173938"/>
                  </a:cubicBezTo>
                  <a:cubicBezTo>
                    <a:pt x="1964062" y="173883"/>
                    <a:pt x="1965252" y="174436"/>
                    <a:pt x="1966579" y="174298"/>
                  </a:cubicBezTo>
                  <a:cubicBezTo>
                    <a:pt x="1968266" y="174132"/>
                    <a:pt x="1969870" y="173800"/>
                    <a:pt x="1971418" y="174657"/>
                  </a:cubicBezTo>
                  <a:lnTo>
                    <a:pt x="1971418" y="171422"/>
                  </a:lnTo>
                  <a:lnTo>
                    <a:pt x="1972248" y="171422"/>
                  </a:lnTo>
                  <a:lnTo>
                    <a:pt x="1972248" y="196420"/>
                  </a:lnTo>
                  <a:lnTo>
                    <a:pt x="1975207" y="197997"/>
                  </a:lnTo>
                  <a:lnTo>
                    <a:pt x="1975207" y="199407"/>
                  </a:lnTo>
                  <a:lnTo>
                    <a:pt x="1980323" y="203361"/>
                  </a:lnTo>
                  <a:lnTo>
                    <a:pt x="1980323" y="225595"/>
                  </a:lnTo>
                  <a:lnTo>
                    <a:pt x="1980986" y="226258"/>
                  </a:lnTo>
                  <a:lnTo>
                    <a:pt x="1986019" y="226258"/>
                  </a:lnTo>
                  <a:lnTo>
                    <a:pt x="1989725" y="229715"/>
                  </a:lnTo>
                  <a:lnTo>
                    <a:pt x="1989725" y="234250"/>
                  </a:lnTo>
                  <a:lnTo>
                    <a:pt x="1991577" y="236103"/>
                  </a:lnTo>
                  <a:lnTo>
                    <a:pt x="1991577" y="240223"/>
                  </a:lnTo>
                  <a:lnTo>
                    <a:pt x="1993679" y="242325"/>
                  </a:lnTo>
                  <a:lnTo>
                    <a:pt x="1995117" y="240223"/>
                  </a:lnTo>
                  <a:lnTo>
                    <a:pt x="1996527" y="243237"/>
                  </a:lnTo>
                  <a:lnTo>
                    <a:pt x="1995615" y="244509"/>
                  </a:lnTo>
                  <a:lnTo>
                    <a:pt x="1996970" y="246777"/>
                  </a:lnTo>
                  <a:lnTo>
                    <a:pt x="1996970" y="252474"/>
                  </a:lnTo>
                  <a:lnTo>
                    <a:pt x="2000482" y="257341"/>
                  </a:lnTo>
                  <a:lnTo>
                    <a:pt x="2000482" y="300120"/>
                  </a:lnTo>
                  <a:lnTo>
                    <a:pt x="2004353" y="303549"/>
                  </a:lnTo>
                  <a:lnTo>
                    <a:pt x="2004353" y="301033"/>
                  </a:lnTo>
                  <a:lnTo>
                    <a:pt x="2005625" y="301033"/>
                  </a:lnTo>
                  <a:lnTo>
                    <a:pt x="2005625" y="304655"/>
                  </a:lnTo>
                  <a:lnTo>
                    <a:pt x="2007312" y="306149"/>
                  </a:lnTo>
                  <a:lnTo>
                    <a:pt x="2007312" y="310933"/>
                  </a:lnTo>
                  <a:lnTo>
                    <a:pt x="2008999" y="311513"/>
                  </a:lnTo>
                  <a:lnTo>
                    <a:pt x="2008999" y="312785"/>
                  </a:lnTo>
                  <a:lnTo>
                    <a:pt x="2011930" y="312785"/>
                  </a:lnTo>
                  <a:lnTo>
                    <a:pt x="2018484" y="317238"/>
                  </a:lnTo>
                  <a:lnTo>
                    <a:pt x="2018484" y="324621"/>
                  </a:lnTo>
                  <a:lnTo>
                    <a:pt x="2019480" y="324621"/>
                  </a:lnTo>
                  <a:lnTo>
                    <a:pt x="2021166" y="329405"/>
                  </a:lnTo>
                  <a:lnTo>
                    <a:pt x="2021166" y="335516"/>
                  </a:lnTo>
                  <a:lnTo>
                    <a:pt x="2019480" y="337950"/>
                  </a:lnTo>
                  <a:lnTo>
                    <a:pt x="2019480" y="356312"/>
                  </a:lnTo>
                  <a:lnTo>
                    <a:pt x="2020337" y="356726"/>
                  </a:lnTo>
                  <a:lnTo>
                    <a:pt x="2020337" y="360017"/>
                  </a:lnTo>
                  <a:lnTo>
                    <a:pt x="2021166" y="360681"/>
                  </a:lnTo>
                  <a:lnTo>
                    <a:pt x="2021166" y="362451"/>
                  </a:lnTo>
                  <a:lnTo>
                    <a:pt x="2020752" y="363612"/>
                  </a:lnTo>
                  <a:lnTo>
                    <a:pt x="2020752" y="371659"/>
                  </a:lnTo>
                  <a:lnTo>
                    <a:pt x="2022770" y="371659"/>
                  </a:lnTo>
                  <a:lnTo>
                    <a:pt x="2022770" y="634033"/>
                  </a:lnTo>
                  <a:lnTo>
                    <a:pt x="2086871" y="634033"/>
                  </a:lnTo>
                  <a:lnTo>
                    <a:pt x="2086871" y="663235"/>
                  </a:lnTo>
                  <a:lnTo>
                    <a:pt x="2212057" y="663235"/>
                  </a:lnTo>
                  <a:lnTo>
                    <a:pt x="2212057" y="669264"/>
                  </a:lnTo>
                  <a:lnTo>
                    <a:pt x="2220602" y="668600"/>
                  </a:lnTo>
                  <a:lnTo>
                    <a:pt x="2228206" y="843230"/>
                  </a:lnTo>
                  <a:lnTo>
                    <a:pt x="2237387" y="623027"/>
                  </a:lnTo>
                  <a:lnTo>
                    <a:pt x="2256689" y="623027"/>
                  </a:lnTo>
                  <a:cubicBezTo>
                    <a:pt x="2276295" y="574690"/>
                    <a:pt x="2322504" y="540704"/>
                    <a:pt x="2376428" y="540704"/>
                  </a:cubicBezTo>
                  <a:cubicBezTo>
                    <a:pt x="2430352" y="540704"/>
                    <a:pt x="2476560" y="574662"/>
                    <a:pt x="2496167" y="623027"/>
                  </a:cubicBezTo>
                  <a:lnTo>
                    <a:pt x="2517681" y="623027"/>
                  </a:lnTo>
                  <a:lnTo>
                    <a:pt x="2517681" y="638873"/>
                  </a:lnTo>
                  <a:lnTo>
                    <a:pt x="2400210" y="638873"/>
                  </a:lnTo>
                  <a:lnTo>
                    <a:pt x="2406376" y="840908"/>
                  </a:lnTo>
                  <a:lnTo>
                    <a:pt x="2413483" y="651289"/>
                  </a:lnTo>
                  <a:lnTo>
                    <a:pt x="2854525" y="651289"/>
                  </a:lnTo>
                  <a:lnTo>
                    <a:pt x="2862849" y="838999"/>
                  </a:lnTo>
                  <a:lnTo>
                    <a:pt x="2868435" y="637380"/>
                  </a:lnTo>
                  <a:lnTo>
                    <a:pt x="2674641" y="637380"/>
                  </a:lnTo>
                  <a:lnTo>
                    <a:pt x="2674806" y="627175"/>
                  </a:lnTo>
                  <a:lnTo>
                    <a:pt x="2580039" y="627175"/>
                  </a:lnTo>
                  <a:cubicBezTo>
                    <a:pt x="2580039" y="627175"/>
                    <a:pt x="2580122" y="636522"/>
                    <a:pt x="2580122" y="636522"/>
                  </a:cubicBezTo>
                  <a:lnTo>
                    <a:pt x="2580039" y="636522"/>
                  </a:lnTo>
                  <a:lnTo>
                    <a:pt x="2580039" y="637352"/>
                  </a:lnTo>
                  <a:lnTo>
                    <a:pt x="2531590" y="637352"/>
                  </a:lnTo>
                  <a:lnTo>
                    <a:pt x="2531590" y="609090"/>
                  </a:lnTo>
                  <a:lnTo>
                    <a:pt x="2505237" y="609090"/>
                  </a:lnTo>
                  <a:cubicBezTo>
                    <a:pt x="2494286" y="586276"/>
                    <a:pt x="2477805" y="566753"/>
                    <a:pt x="2457175" y="552318"/>
                  </a:cubicBezTo>
                  <a:cubicBezTo>
                    <a:pt x="2433338" y="535615"/>
                    <a:pt x="2405409" y="526766"/>
                    <a:pt x="2376456" y="526766"/>
                  </a:cubicBezTo>
                  <a:cubicBezTo>
                    <a:pt x="2357264" y="526766"/>
                    <a:pt x="2334865" y="532546"/>
                    <a:pt x="2317471" y="540040"/>
                  </a:cubicBezTo>
                  <a:lnTo>
                    <a:pt x="2321121" y="160112"/>
                  </a:lnTo>
                  <a:lnTo>
                    <a:pt x="2407925" y="160112"/>
                  </a:lnTo>
                  <a:lnTo>
                    <a:pt x="2407925" y="146257"/>
                  </a:lnTo>
                  <a:lnTo>
                    <a:pt x="2488258" y="146257"/>
                  </a:lnTo>
                  <a:lnTo>
                    <a:pt x="2488258" y="160112"/>
                  </a:lnTo>
                  <a:lnTo>
                    <a:pt x="2526143" y="160112"/>
                  </a:lnTo>
                  <a:close/>
                  <a:moveTo>
                    <a:pt x="2169913" y="0"/>
                  </a:moveTo>
                  <a:lnTo>
                    <a:pt x="2174974" y="0"/>
                  </a:lnTo>
                  <a:lnTo>
                    <a:pt x="2174974" y="37000"/>
                  </a:lnTo>
                  <a:lnTo>
                    <a:pt x="2224971" y="37000"/>
                  </a:lnTo>
                  <a:lnTo>
                    <a:pt x="2224971" y="49610"/>
                  </a:lnTo>
                  <a:lnTo>
                    <a:pt x="2278342" y="49610"/>
                  </a:lnTo>
                  <a:lnTo>
                    <a:pt x="2278342" y="91615"/>
                  </a:lnTo>
                  <a:lnTo>
                    <a:pt x="2302289" y="91615"/>
                  </a:lnTo>
                  <a:lnTo>
                    <a:pt x="2305663" y="545931"/>
                  </a:lnTo>
                  <a:cubicBezTo>
                    <a:pt x="2303423" y="547314"/>
                    <a:pt x="2297809" y="550687"/>
                    <a:pt x="2295625" y="552208"/>
                  </a:cubicBezTo>
                  <a:cubicBezTo>
                    <a:pt x="2275023" y="566643"/>
                    <a:pt x="2258542" y="586139"/>
                    <a:pt x="2247563" y="608980"/>
                  </a:cubicBezTo>
                  <a:lnTo>
                    <a:pt x="2223395" y="608980"/>
                  </a:lnTo>
                  <a:lnTo>
                    <a:pt x="2223395" y="649161"/>
                  </a:lnTo>
                  <a:lnTo>
                    <a:pt x="2100752" y="649161"/>
                  </a:lnTo>
                  <a:lnTo>
                    <a:pt x="2100752" y="619959"/>
                  </a:lnTo>
                  <a:lnTo>
                    <a:pt x="2086843" y="619959"/>
                  </a:lnTo>
                  <a:lnTo>
                    <a:pt x="2040164" y="619599"/>
                  </a:lnTo>
                  <a:lnTo>
                    <a:pt x="2042598" y="91588"/>
                  </a:lnTo>
                  <a:lnTo>
                    <a:pt x="2066545" y="91588"/>
                  </a:lnTo>
                  <a:lnTo>
                    <a:pt x="2066545" y="49582"/>
                  </a:lnTo>
                  <a:lnTo>
                    <a:pt x="2119916" y="49582"/>
                  </a:lnTo>
                  <a:lnTo>
                    <a:pt x="2119916" y="36972"/>
                  </a:lnTo>
                  <a:lnTo>
                    <a:pt x="2169913" y="36972"/>
                  </a:lnTo>
                  <a:close/>
                </a:path>
              </a:pathLst>
            </a:custGeom>
            <a:solidFill>
              <a:schemeClr val="bg1">
                <a:alpha val="17000"/>
              </a:schemeClr>
            </a:solidFill>
            <a:ln w="2761" cap="flat">
              <a:noFill/>
              <a:prstDash val="solid"/>
              <a:miter/>
            </a:ln>
          </p:spPr>
          <p:txBody>
            <a:bodyPr rtlCol="0" anchor="ctr"/>
            <a:lstStyle/>
            <a:p>
              <a:endParaRPr lang="en-US" sz="2419"/>
            </a:p>
          </p:txBody>
        </p:sp>
        <p:sp>
          <p:nvSpPr>
            <p:cNvPr id="12" name="Freeform: Shape 11">
              <a:extLst>
                <a:ext uri="{FF2B5EF4-FFF2-40B4-BE49-F238E27FC236}">
                  <a16:creationId xmlns:a16="http://schemas.microsoft.com/office/drawing/2014/main" id="{F4C486A6-7C9F-F85D-FCB5-2A5E5AC6E975}"/>
                </a:ext>
              </a:extLst>
            </p:cNvPr>
            <p:cNvSpPr/>
            <p:nvPr/>
          </p:nvSpPr>
          <p:spPr>
            <a:xfrm flipV="1">
              <a:off x="3600750" y="3446476"/>
              <a:ext cx="4977649" cy="671294"/>
            </a:xfrm>
            <a:custGeom>
              <a:avLst/>
              <a:gdLst>
                <a:gd name="connsiteX0" fmla="*/ 1968135 w 4012966"/>
                <a:gd name="connsiteY0" fmla="*/ 139020 h 541195"/>
                <a:gd name="connsiteX1" fmla="*/ 1968135 w 4012966"/>
                <a:gd name="connsiteY1" fmla="*/ 133183 h 541195"/>
                <a:gd name="connsiteX2" fmla="*/ 1970402 w 4012966"/>
                <a:gd name="connsiteY2" fmla="*/ 133183 h 541195"/>
                <a:gd name="connsiteX3" fmla="*/ 1970402 w 4012966"/>
                <a:gd name="connsiteY3" fmla="*/ 137097 h 541195"/>
                <a:gd name="connsiteX4" fmla="*/ 1969131 w 4012966"/>
                <a:gd name="connsiteY4" fmla="*/ 137097 h 541195"/>
                <a:gd name="connsiteX5" fmla="*/ 1969131 w 4012966"/>
                <a:gd name="connsiteY5" fmla="*/ 138402 h 541195"/>
                <a:gd name="connsiteX6" fmla="*/ 1981961 w 4012966"/>
                <a:gd name="connsiteY6" fmla="*/ 139037 h 541195"/>
                <a:gd name="connsiteX7" fmla="*/ 1980966 w 4012966"/>
                <a:gd name="connsiteY7" fmla="*/ 138419 h 541195"/>
                <a:gd name="connsiteX8" fmla="*/ 1980966 w 4012966"/>
                <a:gd name="connsiteY8" fmla="*/ 137114 h 541195"/>
                <a:gd name="connsiteX9" fmla="*/ 1979694 w 4012966"/>
                <a:gd name="connsiteY9" fmla="*/ 137114 h 541195"/>
                <a:gd name="connsiteX10" fmla="*/ 1979694 w 4012966"/>
                <a:gd name="connsiteY10" fmla="*/ 133217 h 541195"/>
                <a:gd name="connsiteX11" fmla="*/ 1981961 w 4012966"/>
                <a:gd name="connsiteY11" fmla="*/ 133217 h 541195"/>
                <a:gd name="connsiteX12" fmla="*/ 2633305 w 4012966"/>
                <a:gd name="connsiteY12" fmla="*/ 174092 h 541195"/>
                <a:gd name="connsiteX13" fmla="*/ 2633305 w 4012966"/>
                <a:gd name="connsiteY13" fmla="*/ 168084 h 541195"/>
                <a:gd name="connsiteX14" fmla="*/ 2637315 w 4012966"/>
                <a:gd name="connsiteY14" fmla="*/ 168084 h 541195"/>
                <a:gd name="connsiteX15" fmla="*/ 2637315 w 4012966"/>
                <a:gd name="connsiteY15" fmla="*/ 174092 h 541195"/>
                <a:gd name="connsiteX16" fmla="*/ 2626309 w 4012966"/>
                <a:gd name="connsiteY16" fmla="*/ 174092 h 541195"/>
                <a:gd name="connsiteX17" fmla="*/ 2626309 w 4012966"/>
                <a:gd name="connsiteY17" fmla="*/ 168084 h 541195"/>
                <a:gd name="connsiteX18" fmla="*/ 2631673 w 4012966"/>
                <a:gd name="connsiteY18" fmla="*/ 168084 h 541195"/>
                <a:gd name="connsiteX19" fmla="*/ 2631673 w 4012966"/>
                <a:gd name="connsiteY19" fmla="*/ 174092 h 541195"/>
                <a:gd name="connsiteX20" fmla="*/ 2619728 w 4012966"/>
                <a:gd name="connsiteY20" fmla="*/ 174092 h 541195"/>
                <a:gd name="connsiteX21" fmla="*/ 2619728 w 4012966"/>
                <a:gd name="connsiteY21" fmla="*/ 168084 h 541195"/>
                <a:gd name="connsiteX22" fmla="*/ 2624125 w 4012966"/>
                <a:gd name="connsiteY22" fmla="*/ 168084 h 541195"/>
                <a:gd name="connsiteX23" fmla="*/ 2624125 w 4012966"/>
                <a:gd name="connsiteY23" fmla="*/ 174092 h 541195"/>
                <a:gd name="connsiteX24" fmla="*/ 2639472 w 4012966"/>
                <a:gd name="connsiteY24" fmla="*/ 174110 h 541195"/>
                <a:gd name="connsiteX25" fmla="*/ 2639472 w 4012966"/>
                <a:gd name="connsiteY25" fmla="*/ 168101 h 541195"/>
                <a:gd name="connsiteX26" fmla="*/ 2643869 w 4012966"/>
                <a:gd name="connsiteY26" fmla="*/ 168101 h 541195"/>
                <a:gd name="connsiteX27" fmla="*/ 2643869 w 4012966"/>
                <a:gd name="connsiteY27" fmla="*/ 174110 h 541195"/>
                <a:gd name="connsiteX28" fmla="*/ 2626724 w 4012966"/>
                <a:gd name="connsiteY28" fmla="*/ 185818 h 541195"/>
                <a:gd name="connsiteX29" fmla="*/ 2626724 w 4012966"/>
                <a:gd name="connsiteY29" fmla="*/ 184770 h 541195"/>
                <a:gd name="connsiteX30" fmla="*/ 2631785 w 4012966"/>
                <a:gd name="connsiteY30" fmla="*/ 181629 h 541195"/>
                <a:gd name="connsiteX31" fmla="*/ 2636845 w 4012966"/>
                <a:gd name="connsiteY31" fmla="*/ 184770 h 541195"/>
                <a:gd name="connsiteX32" fmla="*/ 2636872 w 4012966"/>
                <a:gd name="connsiteY32" fmla="*/ 184770 h 541195"/>
                <a:gd name="connsiteX33" fmla="*/ 2636872 w 4012966"/>
                <a:gd name="connsiteY33" fmla="*/ 185818 h 541195"/>
                <a:gd name="connsiteX34" fmla="*/ 2626724 w 4012966"/>
                <a:gd name="connsiteY34" fmla="*/ 192118 h 541195"/>
                <a:gd name="connsiteX35" fmla="*/ 2626724 w 4012966"/>
                <a:gd name="connsiteY35" fmla="*/ 188667 h 541195"/>
                <a:gd name="connsiteX36" fmla="*/ 2636872 w 4012966"/>
                <a:gd name="connsiteY36" fmla="*/ 188667 h 541195"/>
                <a:gd name="connsiteX37" fmla="*/ 2636872 w 4012966"/>
                <a:gd name="connsiteY37" fmla="*/ 192118 h 541195"/>
                <a:gd name="connsiteX38" fmla="*/ 2621165 w 4012966"/>
                <a:gd name="connsiteY38" fmla="*/ 235414 h 541195"/>
                <a:gd name="connsiteX39" fmla="*/ 2621165 w 4012966"/>
                <a:gd name="connsiteY39" fmla="*/ 218882 h 541195"/>
                <a:gd name="connsiteX40" fmla="*/ 2625729 w 4012966"/>
                <a:gd name="connsiteY40" fmla="*/ 216049 h 541195"/>
                <a:gd name="connsiteX41" fmla="*/ 2630291 w 4012966"/>
                <a:gd name="connsiteY41" fmla="*/ 218882 h 541195"/>
                <a:gd name="connsiteX42" fmla="*/ 2630319 w 4012966"/>
                <a:gd name="connsiteY42" fmla="*/ 218882 h 541195"/>
                <a:gd name="connsiteX43" fmla="*/ 2630319 w 4012966"/>
                <a:gd name="connsiteY43" fmla="*/ 235414 h 541195"/>
                <a:gd name="connsiteX44" fmla="*/ 2633084 w 4012966"/>
                <a:gd name="connsiteY44" fmla="*/ 235431 h 541195"/>
                <a:gd name="connsiteX45" fmla="*/ 2633084 w 4012966"/>
                <a:gd name="connsiteY45" fmla="*/ 218899 h 541195"/>
                <a:gd name="connsiteX46" fmla="*/ 2637675 w 4012966"/>
                <a:gd name="connsiteY46" fmla="*/ 216066 h 541195"/>
                <a:gd name="connsiteX47" fmla="*/ 2642237 w 4012966"/>
                <a:gd name="connsiteY47" fmla="*/ 218899 h 541195"/>
                <a:gd name="connsiteX48" fmla="*/ 2642237 w 4012966"/>
                <a:gd name="connsiteY48" fmla="*/ 235431 h 541195"/>
                <a:gd name="connsiteX49" fmla="*/ 2600343 w 4012966"/>
                <a:gd name="connsiteY49" fmla="*/ 343396 h 541195"/>
                <a:gd name="connsiteX50" fmla="*/ 2663253 w 4012966"/>
                <a:gd name="connsiteY50" fmla="*/ 343396 h 541195"/>
                <a:gd name="connsiteX51" fmla="*/ 2660433 w 4012966"/>
                <a:gd name="connsiteY51" fmla="*/ 246641 h 541195"/>
                <a:gd name="connsiteX52" fmla="*/ 2663254 w 4012966"/>
                <a:gd name="connsiteY52" fmla="*/ 245353 h 541195"/>
                <a:gd name="connsiteX53" fmla="*/ 2663254 w 4012966"/>
                <a:gd name="connsiteY53" fmla="*/ 241559 h 541195"/>
                <a:gd name="connsiteX54" fmla="*/ 2658332 w 4012966"/>
                <a:gd name="connsiteY54" fmla="*/ 240272 h 541195"/>
                <a:gd name="connsiteX55" fmla="*/ 2658332 w 4012966"/>
                <a:gd name="connsiteY55" fmla="*/ 209543 h 541195"/>
                <a:gd name="connsiteX56" fmla="*/ 2660433 w 4012966"/>
                <a:gd name="connsiteY56" fmla="*/ 208890 h 541195"/>
                <a:gd name="connsiteX57" fmla="*/ 2660793 w 4012966"/>
                <a:gd name="connsiteY57" fmla="*/ 205096 h 541195"/>
                <a:gd name="connsiteX58" fmla="*/ 2657281 w 4012966"/>
                <a:gd name="connsiteY58" fmla="*/ 205096 h 541195"/>
                <a:gd name="connsiteX59" fmla="*/ 2657281 w 4012966"/>
                <a:gd name="connsiteY59" fmla="*/ 198710 h 541195"/>
                <a:gd name="connsiteX60" fmla="*/ 2653852 w 4012966"/>
                <a:gd name="connsiteY60" fmla="*/ 196307 h 541195"/>
                <a:gd name="connsiteX61" fmla="*/ 2655566 w 4012966"/>
                <a:gd name="connsiteY61" fmla="*/ 194264 h 541195"/>
                <a:gd name="connsiteX62" fmla="*/ 2655566 w 4012966"/>
                <a:gd name="connsiteY62" fmla="*/ 191122 h 541195"/>
                <a:gd name="connsiteX63" fmla="*/ 2652192 w 4012966"/>
                <a:gd name="connsiteY63" fmla="*/ 187980 h 541195"/>
                <a:gd name="connsiteX64" fmla="*/ 2652192 w 4012966"/>
                <a:gd name="connsiteY64" fmla="*/ 181680 h 541195"/>
                <a:gd name="connsiteX65" fmla="*/ 2654737 w 4012966"/>
                <a:gd name="connsiteY65" fmla="*/ 180479 h 541195"/>
                <a:gd name="connsiteX66" fmla="*/ 2654737 w 4012966"/>
                <a:gd name="connsiteY66" fmla="*/ 178161 h 541195"/>
                <a:gd name="connsiteX67" fmla="*/ 2652192 w 4012966"/>
                <a:gd name="connsiteY67" fmla="*/ 176221 h 541195"/>
                <a:gd name="connsiteX68" fmla="*/ 2646690 w 4012966"/>
                <a:gd name="connsiteY68" fmla="*/ 176221 h 541195"/>
                <a:gd name="connsiteX69" fmla="*/ 2646690 w 4012966"/>
                <a:gd name="connsiteY69" fmla="*/ 174092 h 541195"/>
                <a:gd name="connsiteX70" fmla="*/ 2645362 w 4012966"/>
                <a:gd name="connsiteY70" fmla="*/ 174092 h 541195"/>
                <a:gd name="connsiteX71" fmla="*/ 2645362 w 4012966"/>
                <a:gd name="connsiteY71" fmla="*/ 168084 h 541195"/>
                <a:gd name="connsiteX72" fmla="*/ 2647906 w 4012966"/>
                <a:gd name="connsiteY72" fmla="*/ 168084 h 541195"/>
                <a:gd name="connsiteX73" fmla="*/ 2647906 w 4012966"/>
                <a:gd name="connsiteY73" fmla="*/ 166333 h 541195"/>
                <a:gd name="connsiteX74" fmla="*/ 2646552 w 4012966"/>
                <a:gd name="connsiteY74" fmla="*/ 166333 h 541195"/>
                <a:gd name="connsiteX75" fmla="*/ 2634025 w 4012966"/>
                <a:gd name="connsiteY75" fmla="*/ 157904 h 541195"/>
                <a:gd name="connsiteX76" fmla="*/ 2634025 w 4012966"/>
                <a:gd name="connsiteY76" fmla="*/ 151895 h 541195"/>
                <a:gd name="connsiteX77" fmla="*/ 2632531 w 4012966"/>
                <a:gd name="connsiteY77" fmla="*/ 151895 h 541195"/>
                <a:gd name="connsiteX78" fmla="*/ 2632531 w 4012966"/>
                <a:gd name="connsiteY78" fmla="*/ 150470 h 541195"/>
                <a:gd name="connsiteX79" fmla="*/ 2633887 w 4012966"/>
                <a:gd name="connsiteY79" fmla="*/ 149200 h 541195"/>
                <a:gd name="connsiteX80" fmla="*/ 2631785 w 4012966"/>
                <a:gd name="connsiteY80" fmla="*/ 147844 h 541195"/>
                <a:gd name="connsiteX81" fmla="*/ 2629711 w 4012966"/>
                <a:gd name="connsiteY81" fmla="*/ 149200 h 541195"/>
                <a:gd name="connsiteX82" fmla="*/ 2630900 w 4012966"/>
                <a:gd name="connsiteY82" fmla="*/ 150419 h 541195"/>
                <a:gd name="connsiteX83" fmla="*/ 2630900 w 4012966"/>
                <a:gd name="connsiteY83" fmla="*/ 151878 h 541195"/>
                <a:gd name="connsiteX84" fmla="*/ 2629572 w 4012966"/>
                <a:gd name="connsiteY84" fmla="*/ 151878 h 541195"/>
                <a:gd name="connsiteX85" fmla="*/ 2629572 w 4012966"/>
                <a:gd name="connsiteY85" fmla="*/ 157886 h 541195"/>
                <a:gd name="connsiteX86" fmla="*/ 2617046 w 4012966"/>
                <a:gd name="connsiteY86" fmla="*/ 166316 h 541195"/>
                <a:gd name="connsiteX87" fmla="*/ 2615718 w 4012966"/>
                <a:gd name="connsiteY87" fmla="*/ 166316 h 541195"/>
                <a:gd name="connsiteX88" fmla="*/ 2615718 w 4012966"/>
                <a:gd name="connsiteY88" fmla="*/ 168067 h 541195"/>
                <a:gd name="connsiteX89" fmla="*/ 2618262 w 4012966"/>
                <a:gd name="connsiteY89" fmla="*/ 168067 h 541195"/>
                <a:gd name="connsiteX90" fmla="*/ 2618262 w 4012966"/>
                <a:gd name="connsiteY90" fmla="*/ 174075 h 541195"/>
                <a:gd name="connsiteX91" fmla="*/ 2616907 w 4012966"/>
                <a:gd name="connsiteY91" fmla="*/ 174075 h 541195"/>
                <a:gd name="connsiteX92" fmla="*/ 2616907 w 4012966"/>
                <a:gd name="connsiteY92" fmla="*/ 176204 h 541195"/>
                <a:gd name="connsiteX93" fmla="*/ 2611404 w 4012966"/>
                <a:gd name="connsiteY93" fmla="*/ 176204 h 541195"/>
                <a:gd name="connsiteX94" fmla="*/ 2608860 w 4012966"/>
                <a:gd name="connsiteY94" fmla="*/ 178144 h 541195"/>
                <a:gd name="connsiteX95" fmla="*/ 2608860 w 4012966"/>
                <a:gd name="connsiteY95" fmla="*/ 180461 h 541195"/>
                <a:gd name="connsiteX96" fmla="*/ 2611404 w 4012966"/>
                <a:gd name="connsiteY96" fmla="*/ 181663 h 541195"/>
                <a:gd name="connsiteX97" fmla="*/ 2611404 w 4012966"/>
                <a:gd name="connsiteY97" fmla="*/ 187964 h 541195"/>
                <a:gd name="connsiteX98" fmla="*/ 2608058 w 4012966"/>
                <a:gd name="connsiteY98" fmla="*/ 191105 h 541195"/>
                <a:gd name="connsiteX99" fmla="*/ 2608058 w 4012966"/>
                <a:gd name="connsiteY99" fmla="*/ 194247 h 541195"/>
                <a:gd name="connsiteX100" fmla="*/ 2609773 w 4012966"/>
                <a:gd name="connsiteY100" fmla="*/ 196290 h 541195"/>
                <a:gd name="connsiteX101" fmla="*/ 2606343 w 4012966"/>
                <a:gd name="connsiteY101" fmla="*/ 198693 h 541195"/>
                <a:gd name="connsiteX102" fmla="*/ 2606343 w 4012966"/>
                <a:gd name="connsiteY102" fmla="*/ 205079 h 541195"/>
                <a:gd name="connsiteX103" fmla="*/ 2602832 w 4012966"/>
                <a:gd name="connsiteY103" fmla="*/ 205079 h 541195"/>
                <a:gd name="connsiteX104" fmla="*/ 2603191 w 4012966"/>
                <a:gd name="connsiteY104" fmla="*/ 208873 h 541195"/>
                <a:gd name="connsiteX105" fmla="*/ 2605265 w 4012966"/>
                <a:gd name="connsiteY105" fmla="*/ 209525 h 541195"/>
                <a:gd name="connsiteX106" fmla="*/ 2605265 w 4012966"/>
                <a:gd name="connsiteY106" fmla="*/ 240255 h 541195"/>
                <a:gd name="connsiteX107" fmla="*/ 2600343 w 4012966"/>
                <a:gd name="connsiteY107" fmla="*/ 241543 h 541195"/>
                <a:gd name="connsiteX108" fmla="*/ 2600343 w 4012966"/>
                <a:gd name="connsiteY108" fmla="*/ 245336 h 541195"/>
                <a:gd name="connsiteX109" fmla="*/ 2603191 w 4012966"/>
                <a:gd name="connsiteY109" fmla="*/ 246624 h 541195"/>
                <a:gd name="connsiteX110" fmla="*/ 2663254 w 4012966"/>
                <a:gd name="connsiteY110" fmla="*/ 343412 h 541195"/>
                <a:gd name="connsiteX111" fmla="*/ 2663281 w 4012966"/>
                <a:gd name="connsiteY111" fmla="*/ 343396 h 541195"/>
                <a:gd name="connsiteX112" fmla="*/ 2663253 w 4012966"/>
                <a:gd name="connsiteY112" fmla="*/ 343396 h 541195"/>
                <a:gd name="connsiteX113" fmla="*/ 3500595 w 4012966"/>
                <a:gd name="connsiteY113" fmla="*/ 354125 h 541195"/>
                <a:gd name="connsiteX114" fmla="*/ 3500595 w 4012966"/>
                <a:gd name="connsiteY114" fmla="*/ 319979 h 541195"/>
                <a:gd name="connsiteX115" fmla="*/ 3506818 w 4012966"/>
                <a:gd name="connsiteY115" fmla="*/ 312099 h 541195"/>
                <a:gd name="connsiteX116" fmla="*/ 3513040 w 4012966"/>
                <a:gd name="connsiteY116" fmla="*/ 319979 h 541195"/>
                <a:gd name="connsiteX117" fmla="*/ 3513040 w 4012966"/>
                <a:gd name="connsiteY117" fmla="*/ 354125 h 541195"/>
                <a:gd name="connsiteX118" fmla="*/ 3478445 w 4012966"/>
                <a:gd name="connsiteY118" fmla="*/ 354125 h 541195"/>
                <a:gd name="connsiteX119" fmla="*/ 3478445 w 4012966"/>
                <a:gd name="connsiteY119" fmla="*/ 319979 h 541195"/>
                <a:gd name="connsiteX120" fmla="*/ 3484308 w 4012966"/>
                <a:gd name="connsiteY120" fmla="*/ 312099 h 541195"/>
                <a:gd name="connsiteX121" fmla="*/ 3490170 w 4012966"/>
                <a:gd name="connsiteY121" fmla="*/ 319979 h 541195"/>
                <a:gd name="connsiteX122" fmla="*/ 3490170 w 4012966"/>
                <a:gd name="connsiteY122" fmla="*/ 354125 h 541195"/>
                <a:gd name="connsiteX123" fmla="*/ 3490142 w 4012966"/>
                <a:gd name="connsiteY123" fmla="*/ 354125 h 541195"/>
                <a:gd name="connsiteX124" fmla="*/ 3444598 w 4012966"/>
                <a:gd name="connsiteY124" fmla="*/ 355361 h 541195"/>
                <a:gd name="connsiteX125" fmla="*/ 3444598 w 4012966"/>
                <a:gd name="connsiteY125" fmla="*/ 349661 h 541195"/>
                <a:gd name="connsiteX126" fmla="*/ 3448082 w 4012966"/>
                <a:gd name="connsiteY126" fmla="*/ 349661 h 541195"/>
                <a:gd name="connsiteX127" fmla="*/ 3448082 w 4012966"/>
                <a:gd name="connsiteY127" fmla="*/ 314983 h 541195"/>
                <a:gd name="connsiteX128" fmla="*/ 3386387 w 4012966"/>
                <a:gd name="connsiteY128" fmla="*/ 319241 h 541195"/>
                <a:gd name="connsiteX129" fmla="*/ 3253126 w 4012966"/>
                <a:gd name="connsiteY129" fmla="*/ 363876 h 541195"/>
                <a:gd name="connsiteX130" fmla="*/ 3288771 w 4012966"/>
                <a:gd name="connsiteY130" fmla="*/ 339893 h 541195"/>
                <a:gd name="connsiteX131" fmla="*/ 3288771 w 4012966"/>
                <a:gd name="connsiteY131" fmla="*/ 331687 h 541195"/>
                <a:gd name="connsiteX132" fmla="*/ 3241290 w 4012966"/>
                <a:gd name="connsiteY132" fmla="*/ 340116 h 541195"/>
                <a:gd name="connsiteX133" fmla="*/ 3248508 w 4012966"/>
                <a:gd name="connsiteY133" fmla="*/ 341971 h 541195"/>
                <a:gd name="connsiteX134" fmla="*/ 3243779 w 4012966"/>
                <a:gd name="connsiteY134" fmla="*/ 346674 h 541195"/>
                <a:gd name="connsiteX135" fmla="*/ 3243752 w 4012966"/>
                <a:gd name="connsiteY135" fmla="*/ 346674 h 541195"/>
                <a:gd name="connsiteX136" fmla="*/ 3247457 w 4012966"/>
                <a:gd name="connsiteY136" fmla="*/ 352614 h 541195"/>
                <a:gd name="connsiteX137" fmla="*/ 3249393 w 4012966"/>
                <a:gd name="connsiteY137" fmla="*/ 355704 h 541195"/>
                <a:gd name="connsiteX138" fmla="*/ 3251356 w 4012966"/>
                <a:gd name="connsiteY138" fmla="*/ 356116 h 541195"/>
                <a:gd name="connsiteX139" fmla="*/ 3251356 w 4012966"/>
                <a:gd name="connsiteY139" fmla="*/ 360734 h 541195"/>
                <a:gd name="connsiteX140" fmla="*/ 3253126 w 4012966"/>
                <a:gd name="connsiteY140" fmla="*/ 361284 h 541195"/>
                <a:gd name="connsiteX141" fmla="*/ 2638616 w 4012966"/>
                <a:gd name="connsiteY141" fmla="*/ 367154 h 541195"/>
                <a:gd name="connsiteX142" fmla="*/ 2636320 w 4012966"/>
                <a:gd name="connsiteY142" fmla="*/ 362073 h 541195"/>
                <a:gd name="connsiteX143" fmla="*/ 2640911 w 4012966"/>
                <a:gd name="connsiteY143" fmla="*/ 362073 h 541195"/>
                <a:gd name="connsiteX144" fmla="*/ 2671219 w 4012966"/>
                <a:gd name="connsiteY144" fmla="*/ 367738 h 541195"/>
                <a:gd name="connsiteX145" fmla="*/ 2668205 w 4012966"/>
                <a:gd name="connsiteY145" fmla="*/ 362073 h 541195"/>
                <a:gd name="connsiteX146" fmla="*/ 2674233 w 4012966"/>
                <a:gd name="connsiteY146" fmla="*/ 362073 h 541195"/>
                <a:gd name="connsiteX147" fmla="*/ 2606704 w 4012966"/>
                <a:gd name="connsiteY147" fmla="*/ 368081 h 541195"/>
                <a:gd name="connsiteX148" fmla="*/ 2603137 w 4012966"/>
                <a:gd name="connsiteY148" fmla="*/ 362073 h 541195"/>
                <a:gd name="connsiteX149" fmla="*/ 2610244 w 4012966"/>
                <a:gd name="connsiteY149" fmla="*/ 362073 h 541195"/>
                <a:gd name="connsiteX150" fmla="*/ 2590582 w 4012966"/>
                <a:gd name="connsiteY150" fmla="*/ 368820 h 541195"/>
                <a:gd name="connsiteX151" fmla="*/ 2585273 w 4012966"/>
                <a:gd name="connsiteY151" fmla="*/ 362073 h 541195"/>
                <a:gd name="connsiteX152" fmla="*/ 2595891 w 4012966"/>
                <a:gd name="connsiteY152" fmla="*/ 362073 h 541195"/>
                <a:gd name="connsiteX153" fmla="*/ 2623545 w 4012966"/>
                <a:gd name="connsiteY153" fmla="*/ 368940 h 541195"/>
                <a:gd name="connsiteX154" fmla="*/ 2617793 w 4012966"/>
                <a:gd name="connsiteY154" fmla="*/ 362073 h 541195"/>
                <a:gd name="connsiteX155" fmla="*/ 2629297 w 4012966"/>
                <a:gd name="connsiteY155" fmla="*/ 362073 h 541195"/>
                <a:gd name="connsiteX156" fmla="*/ 2654544 w 4012966"/>
                <a:gd name="connsiteY156" fmla="*/ 369077 h 541195"/>
                <a:gd name="connsiteX157" fmla="*/ 2648267 w 4012966"/>
                <a:gd name="connsiteY157" fmla="*/ 362073 h 541195"/>
                <a:gd name="connsiteX158" fmla="*/ 2660822 w 4012966"/>
                <a:gd name="connsiteY158" fmla="*/ 362073 h 541195"/>
                <a:gd name="connsiteX159" fmla="*/ 2583171 w 4012966"/>
                <a:gd name="connsiteY159" fmla="*/ 378193 h 541195"/>
                <a:gd name="connsiteX160" fmla="*/ 2583171 w 4012966"/>
                <a:gd name="connsiteY160" fmla="*/ 364802 h 541195"/>
                <a:gd name="connsiteX161" fmla="*/ 2588452 w 4012966"/>
                <a:gd name="connsiteY161" fmla="*/ 371497 h 541195"/>
                <a:gd name="connsiteX162" fmla="*/ 2676888 w 4012966"/>
                <a:gd name="connsiteY162" fmla="*/ 378331 h 541195"/>
                <a:gd name="connsiteX163" fmla="*/ 2673237 w 4012966"/>
                <a:gd name="connsiteY163" fmla="*/ 371497 h 541195"/>
                <a:gd name="connsiteX164" fmla="*/ 2676888 w 4012966"/>
                <a:gd name="connsiteY164" fmla="*/ 364665 h 541195"/>
                <a:gd name="connsiteX165" fmla="*/ 2632780 w 4012966"/>
                <a:gd name="connsiteY165" fmla="*/ 379978 h 541195"/>
                <a:gd name="connsiteX166" fmla="*/ 2625674 w 4012966"/>
                <a:gd name="connsiteY166" fmla="*/ 371497 h 541195"/>
                <a:gd name="connsiteX167" fmla="*/ 2632780 w 4012966"/>
                <a:gd name="connsiteY167" fmla="*/ 363017 h 541195"/>
                <a:gd name="connsiteX168" fmla="*/ 2636625 w 4012966"/>
                <a:gd name="connsiteY168" fmla="*/ 371497 h 541195"/>
                <a:gd name="connsiteX169" fmla="*/ 2599541 w 4012966"/>
                <a:gd name="connsiteY169" fmla="*/ 380167 h 541195"/>
                <a:gd name="connsiteX170" fmla="*/ 2592683 w 4012966"/>
                <a:gd name="connsiteY170" fmla="*/ 371497 h 541195"/>
                <a:gd name="connsiteX171" fmla="*/ 2599541 w 4012966"/>
                <a:gd name="connsiteY171" fmla="*/ 362828 h 541195"/>
                <a:gd name="connsiteX172" fmla="*/ 2604685 w 4012966"/>
                <a:gd name="connsiteY172" fmla="*/ 371497 h 541195"/>
                <a:gd name="connsiteX173" fmla="*/ 2644534 w 4012966"/>
                <a:gd name="connsiteY173" fmla="*/ 380201 h 541195"/>
                <a:gd name="connsiteX174" fmla="*/ 2640579 w 4012966"/>
                <a:gd name="connsiteY174" fmla="*/ 371497 h 541195"/>
                <a:gd name="connsiteX175" fmla="*/ 2644534 w 4012966"/>
                <a:gd name="connsiteY175" fmla="*/ 362794 h 541195"/>
                <a:gd name="connsiteX176" fmla="*/ 2652360 w 4012966"/>
                <a:gd name="connsiteY176" fmla="*/ 371497 h 541195"/>
                <a:gd name="connsiteX177" fmla="*/ 2664555 w 4012966"/>
                <a:gd name="connsiteY177" fmla="*/ 380236 h 541195"/>
                <a:gd name="connsiteX178" fmla="*/ 2656701 w 4012966"/>
                <a:gd name="connsiteY178" fmla="*/ 371497 h 541195"/>
                <a:gd name="connsiteX179" fmla="*/ 2664555 w 4012966"/>
                <a:gd name="connsiteY179" fmla="*/ 362742 h 541195"/>
                <a:gd name="connsiteX180" fmla="*/ 2669228 w 4012966"/>
                <a:gd name="connsiteY180" fmla="*/ 371497 h 541195"/>
                <a:gd name="connsiteX181" fmla="*/ 2613950 w 4012966"/>
                <a:gd name="connsiteY181" fmla="*/ 380356 h 541195"/>
                <a:gd name="connsiteX182" fmla="*/ 2608695 w 4012966"/>
                <a:gd name="connsiteY182" fmla="*/ 371497 h 541195"/>
                <a:gd name="connsiteX183" fmla="*/ 2613950 w 4012966"/>
                <a:gd name="connsiteY183" fmla="*/ 362622 h 541195"/>
                <a:gd name="connsiteX184" fmla="*/ 2621388 w 4012966"/>
                <a:gd name="connsiteY184" fmla="*/ 371497 h 541195"/>
                <a:gd name="connsiteX185" fmla="*/ 2668205 w 4012966"/>
                <a:gd name="connsiteY185" fmla="*/ 380940 h 541195"/>
                <a:gd name="connsiteX186" fmla="*/ 2671219 w 4012966"/>
                <a:gd name="connsiteY186" fmla="*/ 375257 h 541195"/>
                <a:gd name="connsiteX187" fmla="*/ 2674260 w 4012966"/>
                <a:gd name="connsiteY187" fmla="*/ 380940 h 541195"/>
                <a:gd name="connsiteX188" fmla="*/ 2648239 w 4012966"/>
                <a:gd name="connsiteY188" fmla="*/ 380940 h 541195"/>
                <a:gd name="connsiteX189" fmla="*/ 2654544 w 4012966"/>
                <a:gd name="connsiteY189" fmla="*/ 373918 h 541195"/>
                <a:gd name="connsiteX190" fmla="*/ 2660849 w 4012966"/>
                <a:gd name="connsiteY190" fmla="*/ 380940 h 541195"/>
                <a:gd name="connsiteX191" fmla="*/ 2648267 w 4012966"/>
                <a:gd name="connsiteY191" fmla="*/ 380940 h 541195"/>
                <a:gd name="connsiteX192" fmla="*/ 2636293 w 4012966"/>
                <a:gd name="connsiteY192" fmla="*/ 380940 h 541195"/>
                <a:gd name="connsiteX193" fmla="*/ 2638616 w 4012966"/>
                <a:gd name="connsiteY193" fmla="*/ 375841 h 541195"/>
                <a:gd name="connsiteX194" fmla="*/ 2640911 w 4012966"/>
                <a:gd name="connsiteY194" fmla="*/ 380940 h 541195"/>
                <a:gd name="connsiteX195" fmla="*/ 2617765 w 4012966"/>
                <a:gd name="connsiteY195" fmla="*/ 380940 h 541195"/>
                <a:gd name="connsiteX196" fmla="*/ 2623545 w 4012966"/>
                <a:gd name="connsiteY196" fmla="*/ 374056 h 541195"/>
                <a:gd name="connsiteX197" fmla="*/ 2629324 w 4012966"/>
                <a:gd name="connsiteY197" fmla="*/ 380940 h 541195"/>
                <a:gd name="connsiteX198" fmla="*/ 2617793 w 4012966"/>
                <a:gd name="connsiteY198" fmla="*/ 380940 h 541195"/>
                <a:gd name="connsiteX199" fmla="*/ 2603109 w 4012966"/>
                <a:gd name="connsiteY199" fmla="*/ 380940 h 541195"/>
                <a:gd name="connsiteX200" fmla="*/ 2606677 w 4012966"/>
                <a:gd name="connsiteY200" fmla="*/ 374914 h 541195"/>
                <a:gd name="connsiteX201" fmla="*/ 2610244 w 4012966"/>
                <a:gd name="connsiteY201" fmla="*/ 380940 h 541195"/>
                <a:gd name="connsiteX202" fmla="*/ 2585245 w 4012966"/>
                <a:gd name="connsiteY202" fmla="*/ 380940 h 541195"/>
                <a:gd name="connsiteX203" fmla="*/ 2590582 w 4012966"/>
                <a:gd name="connsiteY203" fmla="*/ 374176 h 541195"/>
                <a:gd name="connsiteX204" fmla="*/ 2595919 w 4012966"/>
                <a:gd name="connsiteY204" fmla="*/ 380940 h 541195"/>
                <a:gd name="connsiteX205" fmla="*/ 1726583 w 4012966"/>
                <a:gd name="connsiteY205" fmla="*/ 402983 h 541195"/>
                <a:gd name="connsiteX206" fmla="*/ 1734962 w 4012966"/>
                <a:gd name="connsiteY206" fmla="*/ 402983 h 541195"/>
                <a:gd name="connsiteX207" fmla="*/ 1846238 w 4012966"/>
                <a:gd name="connsiteY207" fmla="*/ 402983 h 541195"/>
                <a:gd name="connsiteX208" fmla="*/ 1846238 w 4012966"/>
                <a:gd name="connsiteY208" fmla="*/ 393489 h 541195"/>
                <a:gd name="connsiteX209" fmla="*/ 1846238 w 4012966"/>
                <a:gd name="connsiteY209" fmla="*/ 384854 h 541195"/>
                <a:gd name="connsiteX210" fmla="*/ 1860176 w 4012966"/>
                <a:gd name="connsiteY210" fmla="*/ 384854 h 541195"/>
                <a:gd name="connsiteX211" fmla="*/ 1905305 w 4012966"/>
                <a:gd name="connsiteY211" fmla="*/ 384854 h 541195"/>
                <a:gd name="connsiteX212" fmla="*/ 1902900 w 4012966"/>
                <a:gd name="connsiteY212" fmla="*/ 185045 h 541195"/>
                <a:gd name="connsiteX213" fmla="*/ 1869827 w 4012966"/>
                <a:gd name="connsiteY213" fmla="*/ 185045 h 541195"/>
                <a:gd name="connsiteX214" fmla="*/ 1869827 w 4012966"/>
                <a:gd name="connsiteY214" fmla="*/ 190590 h 541195"/>
                <a:gd name="connsiteX215" fmla="*/ 1798371 w 4012966"/>
                <a:gd name="connsiteY215" fmla="*/ 190590 h 541195"/>
                <a:gd name="connsiteX216" fmla="*/ 1798371 w 4012966"/>
                <a:gd name="connsiteY216" fmla="*/ 185045 h 541195"/>
                <a:gd name="connsiteX217" fmla="*/ 1789439 w 4012966"/>
                <a:gd name="connsiteY217" fmla="*/ 185045 h 541195"/>
                <a:gd name="connsiteX218" fmla="*/ 1789439 w 4012966"/>
                <a:gd name="connsiteY218" fmla="*/ 170075 h 541195"/>
                <a:gd name="connsiteX219" fmla="*/ 1779622 w 4012966"/>
                <a:gd name="connsiteY219" fmla="*/ 170075 h 541195"/>
                <a:gd name="connsiteX220" fmla="*/ 1779622 w 4012966"/>
                <a:gd name="connsiteY220" fmla="*/ 164530 h 541195"/>
                <a:gd name="connsiteX221" fmla="*/ 1749231 w 4012966"/>
                <a:gd name="connsiteY221" fmla="*/ 164530 h 541195"/>
                <a:gd name="connsiteX222" fmla="*/ 1694754 w 4012966"/>
                <a:gd name="connsiteY222" fmla="*/ 164530 h 541195"/>
                <a:gd name="connsiteX223" fmla="*/ 1664363 w 4012966"/>
                <a:gd name="connsiteY223" fmla="*/ 164530 h 541195"/>
                <a:gd name="connsiteX224" fmla="*/ 1664363 w 4012966"/>
                <a:gd name="connsiteY224" fmla="*/ 170075 h 541195"/>
                <a:gd name="connsiteX225" fmla="*/ 1654547 w 4012966"/>
                <a:gd name="connsiteY225" fmla="*/ 170075 h 541195"/>
                <a:gd name="connsiteX226" fmla="*/ 1654547 w 4012966"/>
                <a:gd name="connsiteY226" fmla="*/ 185045 h 541195"/>
                <a:gd name="connsiteX227" fmla="*/ 1645615 w 4012966"/>
                <a:gd name="connsiteY227" fmla="*/ 185045 h 541195"/>
                <a:gd name="connsiteX228" fmla="*/ 1645615 w 4012966"/>
                <a:gd name="connsiteY228" fmla="*/ 190590 h 541195"/>
                <a:gd name="connsiteX229" fmla="*/ 1574131 w 4012966"/>
                <a:gd name="connsiteY229" fmla="*/ 190590 h 541195"/>
                <a:gd name="connsiteX230" fmla="*/ 1574131 w 4012966"/>
                <a:gd name="connsiteY230" fmla="*/ 185045 h 541195"/>
                <a:gd name="connsiteX231" fmla="*/ 1541085 w 4012966"/>
                <a:gd name="connsiteY231" fmla="*/ 185045 h 541195"/>
                <a:gd name="connsiteX232" fmla="*/ 1541085 w 4012966"/>
                <a:gd name="connsiteY232" fmla="*/ 218126 h 541195"/>
                <a:gd name="connsiteX233" fmla="*/ 1546007 w 4012966"/>
                <a:gd name="connsiteY233" fmla="*/ 218126 h 541195"/>
                <a:gd name="connsiteX234" fmla="*/ 1546007 w 4012966"/>
                <a:gd name="connsiteY234" fmla="*/ 217903 h 541195"/>
                <a:gd name="connsiteX235" fmla="*/ 1561216 w 4012966"/>
                <a:gd name="connsiteY235" fmla="*/ 217903 h 541195"/>
                <a:gd name="connsiteX236" fmla="*/ 1566470 w 4012966"/>
                <a:gd name="connsiteY236" fmla="*/ 217903 h 541195"/>
                <a:gd name="connsiteX237" fmla="*/ 1573605 w 4012966"/>
                <a:gd name="connsiteY237" fmla="*/ 217903 h 541195"/>
                <a:gd name="connsiteX238" fmla="*/ 1578167 w 4012966"/>
                <a:gd name="connsiteY238" fmla="*/ 221303 h 541195"/>
                <a:gd name="connsiteX239" fmla="*/ 1581099 w 4012966"/>
                <a:gd name="connsiteY239" fmla="*/ 223517 h 541195"/>
                <a:gd name="connsiteX240" fmla="*/ 1592548 w 4012966"/>
                <a:gd name="connsiteY240" fmla="*/ 232083 h 541195"/>
                <a:gd name="connsiteX241" fmla="*/ 1593764 w 4012966"/>
                <a:gd name="connsiteY241" fmla="*/ 232083 h 541195"/>
                <a:gd name="connsiteX242" fmla="*/ 1594981 w 4012966"/>
                <a:gd name="connsiteY242" fmla="*/ 232083 h 541195"/>
                <a:gd name="connsiteX243" fmla="*/ 1596751 w 4012966"/>
                <a:gd name="connsiteY243" fmla="*/ 232461 h 541195"/>
                <a:gd name="connsiteX244" fmla="*/ 1596862 w 4012966"/>
                <a:gd name="connsiteY244" fmla="*/ 232409 h 541195"/>
                <a:gd name="connsiteX245" fmla="*/ 1604826 w 4012966"/>
                <a:gd name="connsiteY245" fmla="*/ 233680 h 541195"/>
                <a:gd name="connsiteX246" fmla="*/ 1609029 w 4012966"/>
                <a:gd name="connsiteY246" fmla="*/ 234332 h 541195"/>
                <a:gd name="connsiteX247" fmla="*/ 1610107 w 4012966"/>
                <a:gd name="connsiteY247" fmla="*/ 233834 h 541195"/>
                <a:gd name="connsiteX248" fmla="*/ 1618210 w 4012966"/>
                <a:gd name="connsiteY248" fmla="*/ 235929 h 541195"/>
                <a:gd name="connsiteX249" fmla="*/ 1621999 w 4012966"/>
                <a:gd name="connsiteY249" fmla="*/ 236924 h 541195"/>
                <a:gd name="connsiteX250" fmla="*/ 1625787 w 4012966"/>
                <a:gd name="connsiteY250" fmla="*/ 237903 h 541195"/>
                <a:gd name="connsiteX251" fmla="*/ 1628276 w 4012966"/>
                <a:gd name="connsiteY251" fmla="*/ 239963 h 541195"/>
                <a:gd name="connsiteX252" fmla="*/ 1631566 w 4012966"/>
                <a:gd name="connsiteY252" fmla="*/ 242693 h 541195"/>
                <a:gd name="connsiteX253" fmla="*/ 1638535 w 4012966"/>
                <a:gd name="connsiteY253" fmla="*/ 248461 h 541195"/>
                <a:gd name="connsiteX254" fmla="*/ 1632894 w 4012966"/>
                <a:gd name="connsiteY254" fmla="*/ 252958 h 541195"/>
                <a:gd name="connsiteX255" fmla="*/ 1632894 w 4012966"/>
                <a:gd name="connsiteY255" fmla="*/ 255259 h 541195"/>
                <a:gd name="connsiteX256" fmla="*/ 1639475 w 4012966"/>
                <a:gd name="connsiteY256" fmla="*/ 255259 h 541195"/>
                <a:gd name="connsiteX257" fmla="*/ 1654657 w 4012966"/>
                <a:gd name="connsiteY257" fmla="*/ 255259 h 541195"/>
                <a:gd name="connsiteX258" fmla="*/ 1668705 w 4012966"/>
                <a:gd name="connsiteY258" fmla="*/ 255259 h 541195"/>
                <a:gd name="connsiteX259" fmla="*/ 1683858 w 4012966"/>
                <a:gd name="connsiteY259" fmla="*/ 255259 h 541195"/>
                <a:gd name="connsiteX260" fmla="*/ 1698709 w 4012966"/>
                <a:gd name="connsiteY260" fmla="*/ 255259 h 541195"/>
                <a:gd name="connsiteX261" fmla="*/ 1699317 w 4012966"/>
                <a:gd name="connsiteY261" fmla="*/ 255259 h 541195"/>
                <a:gd name="connsiteX262" fmla="*/ 1714526 w 4012966"/>
                <a:gd name="connsiteY262" fmla="*/ 255259 h 541195"/>
                <a:gd name="connsiteX263" fmla="*/ 1718370 w 4012966"/>
                <a:gd name="connsiteY263" fmla="*/ 255259 h 541195"/>
                <a:gd name="connsiteX264" fmla="*/ 1722933 w 4012966"/>
                <a:gd name="connsiteY264" fmla="*/ 258555 h 541195"/>
                <a:gd name="connsiteX265" fmla="*/ 1726832 w 4012966"/>
                <a:gd name="connsiteY265" fmla="*/ 261388 h 541195"/>
                <a:gd name="connsiteX266" fmla="*/ 1735266 w 4012966"/>
                <a:gd name="connsiteY266" fmla="*/ 267482 h 541195"/>
                <a:gd name="connsiteX267" fmla="*/ 1731090 w 4012966"/>
                <a:gd name="connsiteY267" fmla="*/ 270538 h 541195"/>
                <a:gd name="connsiteX268" fmla="*/ 1740244 w 4012966"/>
                <a:gd name="connsiteY268" fmla="*/ 273577 h 541195"/>
                <a:gd name="connsiteX269" fmla="*/ 1727745 w 4012966"/>
                <a:gd name="connsiteY269" fmla="*/ 282503 h 541195"/>
                <a:gd name="connsiteX270" fmla="*/ 1726583 w 4012966"/>
                <a:gd name="connsiteY270" fmla="*/ 283344 h 541195"/>
                <a:gd name="connsiteX271" fmla="*/ 2103884 w 4012966"/>
                <a:gd name="connsiteY271" fmla="*/ 403000 h 541195"/>
                <a:gd name="connsiteX272" fmla="*/ 2226526 w 4012966"/>
                <a:gd name="connsiteY272" fmla="*/ 403000 h 541195"/>
                <a:gd name="connsiteX273" fmla="*/ 2226526 w 4012966"/>
                <a:gd name="connsiteY273" fmla="*/ 378056 h 541195"/>
                <a:gd name="connsiteX274" fmla="*/ 2250695 w 4012966"/>
                <a:gd name="connsiteY274" fmla="*/ 378056 h 541195"/>
                <a:gd name="connsiteX275" fmla="*/ 2298756 w 4012966"/>
                <a:gd name="connsiteY275" fmla="*/ 342812 h 541195"/>
                <a:gd name="connsiteX276" fmla="*/ 2308795 w 4012966"/>
                <a:gd name="connsiteY276" fmla="*/ 338915 h 541195"/>
                <a:gd name="connsiteX277" fmla="*/ 2305421 w 4012966"/>
                <a:gd name="connsiteY277" fmla="*/ 56875 h 541195"/>
                <a:gd name="connsiteX278" fmla="*/ 2281474 w 4012966"/>
                <a:gd name="connsiteY278" fmla="*/ 56875 h 541195"/>
                <a:gd name="connsiteX279" fmla="*/ 2281474 w 4012966"/>
                <a:gd name="connsiteY279" fmla="*/ 30798 h 541195"/>
                <a:gd name="connsiteX280" fmla="*/ 2228102 w 4012966"/>
                <a:gd name="connsiteY280" fmla="*/ 30798 h 541195"/>
                <a:gd name="connsiteX281" fmla="*/ 2228102 w 4012966"/>
                <a:gd name="connsiteY281" fmla="*/ 22970 h 541195"/>
                <a:gd name="connsiteX282" fmla="*/ 2178105 w 4012966"/>
                <a:gd name="connsiteY282" fmla="*/ 22970 h 541195"/>
                <a:gd name="connsiteX283" fmla="*/ 2178105 w 4012966"/>
                <a:gd name="connsiteY283" fmla="*/ 0 h 541195"/>
                <a:gd name="connsiteX284" fmla="*/ 2173044 w 4012966"/>
                <a:gd name="connsiteY284" fmla="*/ 0 h 541195"/>
                <a:gd name="connsiteX285" fmla="*/ 2173044 w 4012966"/>
                <a:gd name="connsiteY285" fmla="*/ 22953 h 541195"/>
                <a:gd name="connsiteX286" fmla="*/ 2123047 w 4012966"/>
                <a:gd name="connsiteY286" fmla="*/ 22953 h 541195"/>
                <a:gd name="connsiteX287" fmla="*/ 2123047 w 4012966"/>
                <a:gd name="connsiteY287" fmla="*/ 30781 h 541195"/>
                <a:gd name="connsiteX288" fmla="*/ 2069677 w 4012966"/>
                <a:gd name="connsiteY288" fmla="*/ 30781 h 541195"/>
                <a:gd name="connsiteX289" fmla="*/ 2069677 w 4012966"/>
                <a:gd name="connsiteY289" fmla="*/ 56858 h 541195"/>
                <a:gd name="connsiteX290" fmla="*/ 2045729 w 4012966"/>
                <a:gd name="connsiteY290" fmla="*/ 56858 h 541195"/>
                <a:gd name="connsiteX291" fmla="*/ 2043296 w 4012966"/>
                <a:gd name="connsiteY291" fmla="*/ 384648 h 541195"/>
                <a:gd name="connsiteX292" fmla="*/ 2089974 w 4012966"/>
                <a:gd name="connsiteY292" fmla="*/ 384871 h 541195"/>
                <a:gd name="connsiteX293" fmla="*/ 2103884 w 4012966"/>
                <a:gd name="connsiteY293" fmla="*/ 384871 h 541195"/>
                <a:gd name="connsiteX294" fmla="*/ 758305 w 4012966"/>
                <a:gd name="connsiteY294" fmla="*/ 434484 h 541195"/>
                <a:gd name="connsiteX295" fmla="*/ 758111 w 4012966"/>
                <a:gd name="connsiteY295" fmla="*/ 421557 h 541195"/>
                <a:gd name="connsiteX296" fmla="*/ 777081 w 4012966"/>
                <a:gd name="connsiteY296" fmla="*/ 418793 h 541195"/>
                <a:gd name="connsiteX297" fmla="*/ 926768 w 4012966"/>
                <a:gd name="connsiteY297" fmla="*/ 434519 h 541195"/>
                <a:gd name="connsiteX298" fmla="*/ 926768 w 4012966"/>
                <a:gd name="connsiteY298" fmla="*/ 434501 h 541195"/>
                <a:gd name="connsiteX299" fmla="*/ 907992 w 4012966"/>
                <a:gd name="connsiteY299" fmla="*/ 418810 h 541195"/>
                <a:gd name="connsiteX300" fmla="*/ 926962 w 4012966"/>
                <a:gd name="connsiteY300" fmla="*/ 421575 h 541195"/>
                <a:gd name="connsiteX301" fmla="*/ 158975 w 4012966"/>
                <a:gd name="connsiteY301" fmla="*/ 434519 h 541195"/>
                <a:gd name="connsiteX302" fmla="*/ 158975 w 4012966"/>
                <a:gd name="connsiteY302" fmla="*/ 434501 h 541195"/>
                <a:gd name="connsiteX303" fmla="*/ 140199 w 4012966"/>
                <a:gd name="connsiteY303" fmla="*/ 418810 h 541195"/>
                <a:gd name="connsiteX304" fmla="*/ 159170 w 4012966"/>
                <a:gd name="connsiteY304" fmla="*/ 421575 h 541195"/>
                <a:gd name="connsiteX305" fmla="*/ 812643 w 4012966"/>
                <a:gd name="connsiteY305" fmla="*/ 442655 h 541195"/>
                <a:gd name="connsiteX306" fmla="*/ 783110 w 4012966"/>
                <a:gd name="connsiteY306" fmla="*/ 417815 h 541195"/>
                <a:gd name="connsiteX307" fmla="*/ 811675 w 4012966"/>
                <a:gd name="connsiteY307" fmla="*/ 412150 h 541195"/>
                <a:gd name="connsiteX308" fmla="*/ 44823 w 4012966"/>
                <a:gd name="connsiteY308" fmla="*/ 442655 h 541195"/>
                <a:gd name="connsiteX309" fmla="*/ 15289 w 4012966"/>
                <a:gd name="connsiteY309" fmla="*/ 417815 h 541195"/>
                <a:gd name="connsiteX310" fmla="*/ 43855 w 4012966"/>
                <a:gd name="connsiteY310" fmla="*/ 412150 h 541195"/>
                <a:gd name="connsiteX311" fmla="*/ 872458 w 4012966"/>
                <a:gd name="connsiteY311" fmla="*/ 442673 h 541195"/>
                <a:gd name="connsiteX312" fmla="*/ 873425 w 4012966"/>
                <a:gd name="connsiteY312" fmla="*/ 412166 h 541195"/>
                <a:gd name="connsiteX313" fmla="*/ 901991 w 4012966"/>
                <a:gd name="connsiteY313" fmla="*/ 417832 h 541195"/>
                <a:gd name="connsiteX314" fmla="*/ 104637 w 4012966"/>
                <a:gd name="connsiteY314" fmla="*/ 442673 h 541195"/>
                <a:gd name="connsiteX315" fmla="*/ 105605 w 4012966"/>
                <a:gd name="connsiteY315" fmla="*/ 412166 h 541195"/>
                <a:gd name="connsiteX316" fmla="*/ 134171 w 4012966"/>
                <a:gd name="connsiteY316" fmla="*/ 417832 h 541195"/>
                <a:gd name="connsiteX317" fmla="*/ 870134 w 4012966"/>
                <a:gd name="connsiteY317" fmla="*/ 444184 h 541195"/>
                <a:gd name="connsiteX318" fmla="*/ 846325 w 4012966"/>
                <a:gd name="connsiteY318" fmla="*/ 437591 h 541195"/>
                <a:gd name="connsiteX319" fmla="*/ 846325 w 4012966"/>
                <a:gd name="connsiteY319" fmla="*/ 404115 h 541195"/>
                <a:gd name="connsiteX320" fmla="*/ 871158 w 4012966"/>
                <a:gd name="connsiteY320" fmla="*/ 411617 h 541195"/>
                <a:gd name="connsiteX321" fmla="*/ 814966 w 4012966"/>
                <a:gd name="connsiteY321" fmla="*/ 444184 h 541195"/>
                <a:gd name="connsiteX322" fmla="*/ 813943 w 4012966"/>
                <a:gd name="connsiteY322" fmla="*/ 411617 h 541195"/>
                <a:gd name="connsiteX323" fmla="*/ 838776 w 4012966"/>
                <a:gd name="connsiteY323" fmla="*/ 404115 h 541195"/>
                <a:gd name="connsiteX324" fmla="*/ 838776 w 4012966"/>
                <a:gd name="connsiteY324" fmla="*/ 437591 h 541195"/>
                <a:gd name="connsiteX325" fmla="*/ 102341 w 4012966"/>
                <a:gd name="connsiteY325" fmla="*/ 444184 h 541195"/>
                <a:gd name="connsiteX326" fmla="*/ 78532 w 4012966"/>
                <a:gd name="connsiteY326" fmla="*/ 437591 h 541195"/>
                <a:gd name="connsiteX327" fmla="*/ 78532 w 4012966"/>
                <a:gd name="connsiteY327" fmla="*/ 404115 h 541195"/>
                <a:gd name="connsiteX328" fmla="*/ 103364 w 4012966"/>
                <a:gd name="connsiteY328" fmla="*/ 411617 h 541195"/>
                <a:gd name="connsiteX329" fmla="*/ 47174 w 4012966"/>
                <a:gd name="connsiteY329" fmla="*/ 444184 h 541195"/>
                <a:gd name="connsiteX330" fmla="*/ 46151 w 4012966"/>
                <a:gd name="connsiteY330" fmla="*/ 411617 h 541195"/>
                <a:gd name="connsiteX331" fmla="*/ 71011 w 4012966"/>
                <a:gd name="connsiteY331" fmla="*/ 404115 h 541195"/>
                <a:gd name="connsiteX332" fmla="*/ 71011 w 4012966"/>
                <a:gd name="connsiteY332" fmla="*/ 437591 h 541195"/>
                <a:gd name="connsiteX333" fmla="*/ 70983 w 4012966"/>
                <a:gd name="connsiteY333" fmla="*/ 437591 h 541195"/>
                <a:gd name="connsiteX334" fmla="*/ 1055605 w 4012966"/>
                <a:gd name="connsiteY334" fmla="*/ 461316 h 541195"/>
                <a:gd name="connsiteX335" fmla="*/ 1055605 w 4012966"/>
                <a:gd name="connsiteY335" fmla="*/ 432029 h 541195"/>
                <a:gd name="connsiteX336" fmla="*/ 1079664 w 4012966"/>
                <a:gd name="connsiteY336" fmla="*/ 432974 h 541195"/>
                <a:gd name="connsiteX337" fmla="*/ 287784 w 4012966"/>
                <a:gd name="connsiteY337" fmla="*/ 461316 h 541195"/>
                <a:gd name="connsiteX338" fmla="*/ 287784 w 4012966"/>
                <a:gd name="connsiteY338" fmla="*/ 432029 h 541195"/>
                <a:gd name="connsiteX339" fmla="*/ 311843 w 4012966"/>
                <a:gd name="connsiteY339" fmla="*/ 432974 h 541195"/>
                <a:gd name="connsiteX340" fmla="*/ 629496 w 4012966"/>
                <a:gd name="connsiteY340" fmla="*/ 461334 h 541195"/>
                <a:gd name="connsiteX341" fmla="*/ 605438 w 4012966"/>
                <a:gd name="connsiteY341" fmla="*/ 432990 h 541195"/>
                <a:gd name="connsiteX342" fmla="*/ 629496 w 4012966"/>
                <a:gd name="connsiteY342" fmla="*/ 432046 h 541195"/>
                <a:gd name="connsiteX343" fmla="*/ 1021204 w 4012966"/>
                <a:gd name="connsiteY343" fmla="*/ 461488 h 541195"/>
                <a:gd name="connsiteX344" fmla="*/ 1021176 w 4012966"/>
                <a:gd name="connsiteY344" fmla="*/ 461471 h 541195"/>
                <a:gd name="connsiteX345" fmla="*/ 1021176 w 4012966"/>
                <a:gd name="connsiteY345" fmla="*/ 461449 h 541195"/>
                <a:gd name="connsiteX346" fmla="*/ 997119 w 4012966"/>
                <a:gd name="connsiteY346" fmla="*/ 428613 h 541195"/>
                <a:gd name="connsiteX347" fmla="*/ 1021979 w 4012966"/>
                <a:gd name="connsiteY347" fmla="*/ 430278 h 541195"/>
                <a:gd name="connsiteX348" fmla="*/ 1020845 w 4012966"/>
                <a:gd name="connsiteY348" fmla="*/ 430278 h 541195"/>
                <a:gd name="connsiteX349" fmla="*/ 1021125 w 4012966"/>
                <a:gd name="connsiteY349" fmla="*/ 456597 h 541195"/>
                <a:gd name="connsiteX350" fmla="*/ 1021176 w 4012966"/>
                <a:gd name="connsiteY350" fmla="*/ 461449 h 541195"/>
                <a:gd name="connsiteX351" fmla="*/ 253412 w 4012966"/>
                <a:gd name="connsiteY351" fmla="*/ 461488 h 541195"/>
                <a:gd name="connsiteX352" fmla="*/ 229326 w 4012966"/>
                <a:gd name="connsiteY352" fmla="*/ 428613 h 541195"/>
                <a:gd name="connsiteX353" fmla="*/ 254213 w 4012966"/>
                <a:gd name="connsiteY353" fmla="*/ 430278 h 541195"/>
                <a:gd name="connsiteX354" fmla="*/ 253080 w 4012966"/>
                <a:gd name="connsiteY354" fmla="*/ 430278 h 541195"/>
                <a:gd name="connsiteX355" fmla="*/ 253412 w 4012966"/>
                <a:gd name="connsiteY355" fmla="*/ 461471 h 541195"/>
                <a:gd name="connsiteX356" fmla="*/ 663841 w 4012966"/>
                <a:gd name="connsiteY356" fmla="*/ 461505 h 541195"/>
                <a:gd name="connsiteX357" fmla="*/ 664173 w 4012966"/>
                <a:gd name="connsiteY357" fmla="*/ 430312 h 541195"/>
                <a:gd name="connsiteX358" fmla="*/ 663039 w 4012966"/>
                <a:gd name="connsiteY358" fmla="*/ 430312 h 541195"/>
                <a:gd name="connsiteX359" fmla="*/ 663067 w 4012966"/>
                <a:gd name="connsiteY359" fmla="*/ 430295 h 541195"/>
                <a:gd name="connsiteX360" fmla="*/ 687927 w 4012966"/>
                <a:gd name="connsiteY360" fmla="*/ 428630 h 541195"/>
                <a:gd name="connsiteX361" fmla="*/ 1109473 w 4012966"/>
                <a:gd name="connsiteY361" fmla="*/ 462140 h 541195"/>
                <a:gd name="connsiteX362" fmla="*/ 1084890 w 4012966"/>
                <a:gd name="connsiteY362" fmla="*/ 433145 h 541195"/>
                <a:gd name="connsiteX363" fmla="*/ 1109170 w 4012966"/>
                <a:gd name="connsiteY363" fmla="*/ 433832 h 541195"/>
                <a:gd name="connsiteX364" fmla="*/ 341681 w 4012966"/>
                <a:gd name="connsiteY364" fmla="*/ 462140 h 541195"/>
                <a:gd name="connsiteX365" fmla="*/ 317070 w 4012966"/>
                <a:gd name="connsiteY365" fmla="*/ 433145 h 541195"/>
                <a:gd name="connsiteX366" fmla="*/ 341349 w 4012966"/>
                <a:gd name="connsiteY366" fmla="*/ 433832 h 541195"/>
                <a:gd name="connsiteX367" fmla="*/ 575627 w 4012966"/>
                <a:gd name="connsiteY367" fmla="*/ 462158 h 541195"/>
                <a:gd name="connsiteX368" fmla="*/ 575932 w 4012966"/>
                <a:gd name="connsiteY368" fmla="*/ 433849 h 541195"/>
                <a:gd name="connsiteX369" fmla="*/ 600211 w 4012966"/>
                <a:gd name="connsiteY369" fmla="*/ 433162 h 541195"/>
                <a:gd name="connsiteX370" fmla="*/ 963962 w 4012966"/>
                <a:gd name="connsiteY370" fmla="*/ 462553 h 541195"/>
                <a:gd name="connsiteX371" fmla="*/ 963879 w 4012966"/>
                <a:gd name="connsiteY371" fmla="*/ 425780 h 541195"/>
                <a:gd name="connsiteX372" fmla="*/ 992030 w 4012966"/>
                <a:gd name="connsiteY372" fmla="*/ 428235 h 541195"/>
                <a:gd name="connsiteX373" fmla="*/ 721139 w 4012966"/>
                <a:gd name="connsiteY373" fmla="*/ 462553 h 541195"/>
                <a:gd name="connsiteX374" fmla="*/ 693071 w 4012966"/>
                <a:gd name="connsiteY374" fmla="*/ 428235 h 541195"/>
                <a:gd name="connsiteX375" fmla="*/ 721222 w 4012966"/>
                <a:gd name="connsiteY375" fmla="*/ 425780 h 541195"/>
                <a:gd name="connsiteX376" fmla="*/ 196142 w 4012966"/>
                <a:gd name="connsiteY376" fmla="*/ 462553 h 541195"/>
                <a:gd name="connsiteX377" fmla="*/ 196059 w 4012966"/>
                <a:gd name="connsiteY377" fmla="*/ 425780 h 541195"/>
                <a:gd name="connsiteX378" fmla="*/ 224209 w 4012966"/>
                <a:gd name="connsiteY378" fmla="*/ 428235 h 541195"/>
                <a:gd name="connsiteX379" fmla="*/ 1171582 w 4012966"/>
                <a:gd name="connsiteY379" fmla="*/ 462604 h 541195"/>
                <a:gd name="connsiteX380" fmla="*/ 1170671 w 4012966"/>
                <a:gd name="connsiteY380" fmla="*/ 434741 h 541195"/>
                <a:gd name="connsiteX381" fmla="*/ 1170643 w 4012966"/>
                <a:gd name="connsiteY381" fmla="*/ 434741 h 541195"/>
                <a:gd name="connsiteX382" fmla="*/ 1170671 w 4012966"/>
                <a:gd name="connsiteY382" fmla="*/ 434725 h 541195"/>
                <a:gd name="connsiteX383" fmla="*/ 1170671 w 4012966"/>
                <a:gd name="connsiteY383" fmla="*/ 434741 h 541195"/>
                <a:gd name="connsiteX384" fmla="*/ 1194977 w 4012966"/>
                <a:gd name="connsiteY384" fmla="*/ 434810 h 541195"/>
                <a:gd name="connsiteX385" fmla="*/ 403763 w 4012966"/>
                <a:gd name="connsiteY385" fmla="*/ 462604 h 541195"/>
                <a:gd name="connsiteX386" fmla="*/ 402822 w 4012966"/>
                <a:gd name="connsiteY386" fmla="*/ 434741 h 541195"/>
                <a:gd name="connsiteX387" fmla="*/ 427157 w 4012966"/>
                <a:gd name="connsiteY387" fmla="*/ 434810 h 541195"/>
                <a:gd name="connsiteX388" fmla="*/ 513518 w 4012966"/>
                <a:gd name="connsiteY388" fmla="*/ 462639 h 541195"/>
                <a:gd name="connsiteX389" fmla="*/ 513518 w 4012966"/>
                <a:gd name="connsiteY389" fmla="*/ 462621 h 541195"/>
                <a:gd name="connsiteX390" fmla="*/ 490096 w 4012966"/>
                <a:gd name="connsiteY390" fmla="*/ 434827 h 541195"/>
                <a:gd name="connsiteX391" fmla="*/ 514431 w 4012966"/>
                <a:gd name="connsiteY391" fmla="*/ 434759 h 541195"/>
                <a:gd name="connsiteX392" fmla="*/ 1169315 w 4012966"/>
                <a:gd name="connsiteY392" fmla="*/ 462913 h 541195"/>
                <a:gd name="connsiteX393" fmla="*/ 1143404 w 4012966"/>
                <a:gd name="connsiteY393" fmla="*/ 434467 h 541195"/>
                <a:gd name="connsiteX394" fmla="*/ 1168375 w 4012966"/>
                <a:gd name="connsiteY394" fmla="*/ 434725 h 541195"/>
                <a:gd name="connsiteX395" fmla="*/ 515758 w 4012966"/>
                <a:gd name="connsiteY395" fmla="*/ 462913 h 541195"/>
                <a:gd name="connsiteX396" fmla="*/ 516698 w 4012966"/>
                <a:gd name="connsiteY396" fmla="*/ 434725 h 541195"/>
                <a:gd name="connsiteX397" fmla="*/ 541669 w 4012966"/>
                <a:gd name="connsiteY397" fmla="*/ 434467 h 541195"/>
                <a:gd name="connsiteX398" fmla="*/ 401494 w 4012966"/>
                <a:gd name="connsiteY398" fmla="*/ 462913 h 541195"/>
                <a:gd name="connsiteX399" fmla="*/ 375556 w 4012966"/>
                <a:gd name="connsiteY399" fmla="*/ 434467 h 541195"/>
                <a:gd name="connsiteX400" fmla="*/ 375584 w 4012966"/>
                <a:gd name="connsiteY400" fmla="*/ 434467 h 541195"/>
                <a:gd name="connsiteX401" fmla="*/ 400554 w 4012966"/>
                <a:gd name="connsiteY401" fmla="*/ 434725 h 541195"/>
                <a:gd name="connsiteX402" fmla="*/ 1023500 w 4012966"/>
                <a:gd name="connsiteY402" fmla="*/ 463222 h 541195"/>
                <a:gd name="connsiteX403" fmla="*/ 1023140 w 4012966"/>
                <a:gd name="connsiteY403" fmla="*/ 430347 h 541195"/>
                <a:gd name="connsiteX404" fmla="*/ 1050821 w 4012966"/>
                <a:gd name="connsiteY404" fmla="*/ 431806 h 541195"/>
                <a:gd name="connsiteX405" fmla="*/ 255707 w 4012966"/>
                <a:gd name="connsiteY405" fmla="*/ 463222 h 541195"/>
                <a:gd name="connsiteX406" fmla="*/ 255347 w 4012966"/>
                <a:gd name="connsiteY406" fmla="*/ 430349 h 541195"/>
                <a:gd name="connsiteX407" fmla="*/ 255319 w 4012966"/>
                <a:gd name="connsiteY407" fmla="*/ 430347 h 541195"/>
                <a:gd name="connsiteX408" fmla="*/ 255347 w 4012966"/>
                <a:gd name="connsiteY408" fmla="*/ 430347 h 541195"/>
                <a:gd name="connsiteX409" fmla="*/ 255347 w 4012966"/>
                <a:gd name="connsiteY409" fmla="*/ 430349 h 541195"/>
                <a:gd name="connsiteX410" fmla="*/ 283001 w 4012966"/>
                <a:gd name="connsiteY410" fmla="*/ 431806 h 541195"/>
                <a:gd name="connsiteX411" fmla="*/ 661574 w 4012966"/>
                <a:gd name="connsiteY411" fmla="*/ 463239 h 541195"/>
                <a:gd name="connsiteX412" fmla="*/ 634252 w 4012966"/>
                <a:gd name="connsiteY412" fmla="*/ 431823 h 541195"/>
                <a:gd name="connsiteX413" fmla="*/ 661933 w 4012966"/>
                <a:gd name="connsiteY413" fmla="*/ 430364 h 541195"/>
                <a:gd name="connsiteX414" fmla="*/ 1111769 w 4012966"/>
                <a:gd name="connsiteY414" fmla="*/ 463290 h 541195"/>
                <a:gd name="connsiteX415" fmla="*/ 1111437 w 4012966"/>
                <a:gd name="connsiteY415" fmla="*/ 433883 h 541195"/>
                <a:gd name="connsiteX416" fmla="*/ 1137597 w 4012966"/>
                <a:gd name="connsiteY416" fmla="*/ 434381 h 541195"/>
                <a:gd name="connsiteX417" fmla="*/ 343948 w 4012966"/>
                <a:gd name="connsiteY417" fmla="*/ 463290 h 541195"/>
                <a:gd name="connsiteX418" fmla="*/ 343616 w 4012966"/>
                <a:gd name="connsiteY418" fmla="*/ 433883 h 541195"/>
                <a:gd name="connsiteX419" fmla="*/ 369776 w 4012966"/>
                <a:gd name="connsiteY419" fmla="*/ 434381 h 541195"/>
                <a:gd name="connsiteX420" fmla="*/ 573304 w 4012966"/>
                <a:gd name="connsiteY420" fmla="*/ 463308 h 541195"/>
                <a:gd name="connsiteX421" fmla="*/ 573304 w 4012966"/>
                <a:gd name="connsiteY421" fmla="*/ 463277 h 541195"/>
                <a:gd name="connsiteX422" fmla="*/ 547476 w 4012966"/>
                <a:gd name="connsiteY422" fmla="*/ 434398 h 541195"/>
                <a:gd name="connsiteX423" fmla="*/ 573637 w 4012966"/>
                <a:gd name="connsiteY423" fmla="*/ 433900 h 541195"/>
                <a:gd name="connsiteX424" fmla="*/ 573304 w 4012966"/>
                <a:gd name="connsiteY424" fmla="*/ 463277 h 541195"/>
                <a:gd name="connsiteX425" fmla="*/ 573332 w 4012966"/>
                <a:gd name="connsiteY425" fmla="*/ 463308 h 541195"/>
                <a:gd name="connsiteX426" fmla="*/ 961666 w 4012966"/>
                <a:gd name="connsiteY426" fmla="*/ 463685 h 541195"/>
                <a:gd name="connsiteX427" fmla="*/ 961666 w 4012966"/>
                <a:gd name="connsiteY427" fmla="*/ 463662 h 541195"/>
                <a:gd name="connsiteX428" fmla="*/ 929008 w 4012966"/>
                <a:gd name="connsiteY428" fmla="*/ 436355 h 541195"/>
                <a:gd name="connsiteX429" fmla="*/ 929230 w 4012966"/>
                <a:gd name="connsiteY429" fmla="*/ 421849 h 541195"/>
                <a:gd name="connsiteX430" fmla="*/ 962717 w 4012966"/>
                <a:gd name="connsiteY430" fmla="*/ 425660 h 541195"/>
                <a:gd name="connsiteX431" fmla="*/ 961584 w 4012966"/>
                <a:gd name="connsiteY431" fmla="*/ 425660 h 541195"/>
                <a:gd name="connsiteX432" fmla="*/ 961666 w 4012966"/>
                <a:gd name="connsiteY432" fmla="*/ 463662 h 541195"/>
                <a:gd name="connsiteX433" fmla="*/ 961694 w 4012966"/>
                <a:gd name="connsiteY433" fmla="*/ 463685 h 541195"/>
                <a:gd name="connsiteX434" fmla="*/ 193846 w 4012966"/>
                <a:gd name="connsiteY434" fmla="*/ 463685 h 541195"/>
                <a:gd name="connsiteX435" fmla="*/ 193846 w 4012966"/>
                <a:gd name="connsiteY435" fmla="*/ 463663 h 541195"/>
                <a:gd name="connsiteX436" fmla="*/ 161187 w 4012966"/>
                <a:gd name="connsiteY436" fmla="*/ 436355 h 541195"/>
                <a:gd name="connsiteX437" fmla="*/ 161437 w 4012966"/>
                <a:gd name="connsiteY437" fmla="*/ 421849 h 541195"/>
                <a:gd name="connsiteX438" fmla="*/ 194925 w 4012966"/>
                <a:gd name="connsiteY438" fmla="*/ 425660 h 541195"/>
                <a:gd name="connsiteX439" fmla="*/ 193763 w 4012966"/>
                <a:gd name="connsiteY439" fmla="*/ 425660 h 541195"/>
                <a:gd name="connsiteX440" fmla="*/ 193846 w 4012966"/>
                <a:gd name="connsiteY440" fmla="*/ 463663 h 541195"/>
                <a:gd name="connsiteX441" fmla="*/ 193874 w 4012966"/>
                <a:gd name="connsiteY441" fmla="*/ 463685 h 541195"/>
                <a:gd name="connsiteX442" fmla="*/ 723406 w 4012966"/>
                <a:gd name="connsiteY442" fmla="*/ 463703 h 541195"/>
                <a:gd name="connsiteX443" fmla="*/ 723489 w 4012966"/>
                <a:gd name="connsiteY443" fmla="*/ 425677 h 541195"/>
                <a:gd name="connsiteX444" fmla="*/ 722355 w 4012966"/>
                <a:gd name="connsiteY444" fmla="*/ 425677 h 541195"/>
                <a:gd name="connsiteX445" fmla="*/ 755844 w 4012966"/>
                <a:gd name="connsiteY445" fmla="*/ 421866 h 541195"/>
                <a:gd name="connsiteX446" fmla="*/ 756092 w 4012966"/>
                <a:gd name="connsiteY446" fmla="*/ 436372 h 541195"/>
                <a:gd name="connsiteX447" fmla="*/ 1141220 w 4012966"/>
                <a:gd name="connsiteY447" fmla="*/ 464355 h 541195"/>
                <a:gd name="connsiteX448" fmla="*/ 1141220 w 4012966"/>
                <a:gd name="connsiteY448" fmla="*/ 437900 h 541195"/>
                <a:gd name="connsiteX449" fmla="*/ 1165333 w 4012966"/>
                <a:gd name="connsiteY449" fmla="*/ 464355 h 541195"/>
                <a:gd name="connsiteX450" fmla="*/ 1116110 w 4012966"/>
                <a:gd name="connsiteY450" fmla="*/ 464355 h 541195"/>
                <a:gd name="connsiteX451" fmla="*/ 1138951 w 4012966"/>
                <a:gd name="connsiteY451" fmla="*/ 438810 h 541195"/>
                <a:gd name="connsiteX452" fmla="*/ 1138951 w 4012966"/>
                <a:gd name="connsiteY452" fmla="*/ 464355 h 541195"/>
                <a:gd name="connsiteX453" fmla="*/ 373399 w 4012966"/>
                <a:gd name="connsiteY453" fmla="*/ 464355 h 541195"/>
                <a:gd name="connsiteX454" fmla="*/ 373399 w 4012966"/>
                <a:gd name="connsiteY454" fmla="*/ 437900 h 541195"/>
                <a:gd name="connsiteX455" fmla="*/ 397485 w 4012966"/>
                <a:gd name="connsiteY455" fmla="*/ 464355 h 541195"/>
                <a:gd name="connsiteX456" fmla="*/ 348290 w 4012966"/>
                <a:gd name="connsiteY456" fmla="*/ 464355 h 541195"/>
                <a:gd name="connsiteX457" fmla="*/ 371132 w 4012966"/>
                <a:gd name="connsiteY457" fmla="*/ 438810 h 541195"/>
                <a:gd name="connsiteX458" fmla="*/ 371132 w 4012966"/>
                <a:gd name="connsiteY458" fmla="*/ 464355 h 541195"/>
                <a:gd name="connsiteX459" fmla="*/ 1198102 w 4012966"/>
                <a:gd name="connsiteY459" fmla="*/ 464372 h 541195"/>
                <a:gd name="connsiteX460" fmla="*/ 1197798 w 4012966"/>
                <a:gd name="connsiteY460" fmla="*/ 438330 h 541195"/>
                <a:gd name="connsiteX461" fmla="*/ 1218649 w 4012966"/>
                <a:gd name="connsiteY461" fmla="*/ 464372 h 541195"/>
                <a:gd name="connsiteX462" fmla="*/ 1175315 w 4012966"/>
                <a:gd name="connsiteY462" fmla="*/ 464372 h 541195"/>
                <a:gd name="connsiteX463" fmla="*/ 1195586 w 4012966"/>
                <a:gd name="connsiteY463" fmla="*/ 440304 h 541195"/>
                <a:gd name="connsiteX464" fmla="*/ 1195862 w 4012966"/>
                <a:gd name="connsiteY464" fmla="*/ 464372 h 541195"/>
                <a:gd name="connsiteX465" fmla="*/ 1175344 w 4012966"/>
                <a:gd name="connsiteY465" fmla="*/ 464372 h 541195"/>
                <a:gd name="connsiteX466" fmla="*/ 1082401 w 4012966"/>
                <a:gd name="connsiteY466" fmla="*/ 464372 h 541195"/>
                <a:gd name="connsiteX467" fmla="*/ 1082705 w 4012966"/>
                <a:gd name="connsiteY467" fmla="*/ 436750 h 541195"/>
                <a:gd name="connsiteX468" fmla="*/ 1106127 w 4012966"/>
                <a:gd name="connsiteY468" fmla="*/ 464372 h 541195"/>
                <a:gd name="connsiteX469" fmla="*/ 1058232 w 4012966"/>
                <a:gd name="connsiteY469" fmla="*/ 464372 h 541195"/>
                <a:gd name="connsiteX470" fmla="*/ 1080410 w 4012966"/>
                <a:gd name="connsiteY470" fmla="*/ 438226 h 541195"/>
                <a:gd name="connsiteX471" fmla="*/ 1080133 w 4012966"/>
                <a:gd name="connsiteY471" fmla="*/ 464372 h 541195"/>
                <a:gd name="connsiteX472" fmla="*/ 1027758 w 4012966"/>
                <a:gd name="connsiteY472" fmla="*/ 464372 h 541195"/>
                <a:gd name="connsiteX473" fmla="*/ 1051070 w 4012966"/>
                <a:gd name="connsiteY473" fmla="*/ 437557 h 541195"/>
                <a:gd name="connsiteX474" fmla="*/ 1051070 w 4012966"/>
                <a:gd name="connsiteY474" fmla="*/ 464372 h 541195"/>
                <a:gd name="connsiteX475" fmla="*/ 546149 w 4012966"/>
                <a:gd name="connsiteY475" fmla="*/ 464372 h 541195"/>
                <a:gd name="connsiteX476" fmla="*/ 546149 w 4012966"/>
                <a:gd name="connsiteY476" fmla="*/ 438827 h 541195"/>
                <a:gd name="connsiteX477" fmla="*/ 568991 w 4012966"/>
                <a:gd name="connsiteY477" fmla="*/ 464372 h 541195"/>
                <a:gd name="connsiteX478" fmla="*/ 519768 w 4012966"/>
                <a:gd name="connsiteY478" fmla="*/ 464372 h 541195"/>
                <a:gd name="connsiteX479" fmla="*/ 543881 w 4012966"/>
                <a:gd name="connsiteY479" fmla="*/ 437918 h 541195"/>
                <a:gd name="connsiteX480" fmla="*/ 543881 w 4012966"/>
                <a:gd name="connsiteY480" fmla="*/ 464372 h 541195"/>
                <a:gd name="connsiteX481" fmla="*/ 489238 w 4012966"/>
                <a:gd name="connsiteY481" fmla="*/ 464372 h 541195"/>
                <a:gd name="connsiteX482" fmla="*/ 489515 w 4012966"/>
                <a:gd name="connsiteY482" fmla="*/ 440304 h 541195"/>
                <a:gd name="connsiteX483" fmla="*/ 509785 w 4012966"/>
                <a:gd name="connsiteY483" fmla="*/ 464372 h 541195"/>
                <a:gd name="connsiteX484" fmla="*/ 489266 w 4012966"/>
                <a:gd name="connsiteY484" fmla="*/ 464372 h 541195"/>
                <a:gd name="connsiteX485" fmla="*/ 466425 w 4012966"/>
                <a:gd name="connsiteY485" fmla="*/ 464372 h 541195"/>
                <a:gd name="connsiteX486" fmla="*/ 487275 w 4012966"/>
                <a:gd name="connsiteY486" fmla="*/ 438330 h 541195"/>
                <a:gd name="connsiteX487" fmla="*/ 486971 w 4012966"/>
                <a:gd name="connsiteY487" fmla="*/ 464372 h 541195"/>
                <a:gd name="connsiteX488" fmla="*/ 460921 w 4012966"/>
                <a:gd name="connsiteY488" fmla="*/ 464372 h 541195"/>
                <a:gd name="connsiteX489" fmla="*/ 460921 w 4012966"/>
                <a:gd name="connsiteY489" fmla="*/ 434725 h 541195"/>
                <a:gd name="connsiteX490" fmla="*/ 484925 w 4012966"/>
                <a:gd name="connsiteY490" fmla="*/ 434810 h 541195"/>
                <a:gd name="connsiteX491" fmla="*/ 461281 w 4012966"/>
                <a:gd name="connsiteY491" fmla="*/ 464372 h 541195"/>
                <a:gd name="connsiteX492" fmla="*/ 455972 w 4012966"/>
                <a:gd name="connsiteY492" fmla="*/ 464372 h 541195"/>
                <a:gd name="connsiteX493" fmla="*/ 432328 w 4012966"/>
                <a:gd name="connsiteY493" fmla="*/ 434810 h 541195"/>
                <a:gd name="connsiteX494" fmla="*/ 456331 w 4012966"/>
                <a:gd name="connsiteY494" fmla="*/ 434725 h 541195"/>
                <a:gd name="connsiteX495" fmla="*/ 456331 w 4012966"/>
                <a:gd name="connsiteY495" fmla="*/ 464372 h 541195"/>
                <a:gd name="connsiteX496" fmla="*/ 430282 w 4012966"/>
                <a:gd name="connsiteY496" fmla="*/ 464372 h 541195"/>
                <a:gd name="connsiteX497" fmla="*/ 430005 w 4012966"/>
                <a:gd name="connsiteY497" fmla="*/ 438330 h 541195"/>
                <a:gd name="connsiteX498" fmla="*/ 450856 w 4012966"/>
                <a:gd name="connsiteY498" fmla="*/ 464372 h 541195"/>
                <a:gd name="connsiteX499" fmla="*/ 430309 w 4012966"/>
                <a:gd name="connsiteY499" fmla="*/ 464372 h 541195"/>
                <a:gd name="connsiteX500" fmla="*/ 407496 w 4012966"/>
                <a:gd name="connsiteY500" fmla="*/ 464372 h 541195"/>
                <a:gd name="connsiteX501" fmla="*/ 427765 w 4012966"/>
                <a:gd name="connsiteY501" fmla="*/ 440304 h 541195"/>
                <a:gd name="connsiteX502" fmla="*/ 428042 w 4012966"/>
                <a:gd name="connsiteY502" fmla="*/ 464372 h 541195"/>
                <a:gd name="connsiteX503" fmla="*/ 407523 w 4012966"/>
                <a:gd name="connsiteY503" fmla="*/ 464372 h 541195"/>
                <a:gd name="connsiteX504" fmla="*/ 314608 w 4012966"/>
                <a:gd name="connsiteY504" fmla="*/ 464372 h 541195"/>
                <a:gd name="connsiteX505" fmla="*/ 314913 w 4012966"/>
                <a:gd name="connsiteY505" fmla="*/ 436750 h 541195"/>
                <a:gd name="connsiteX506" fmla="*/ 338334 w 4012966"/>
                <a:gd name="connsiteY506" fmla="*/ 464372 h 541195"/>
                <a:gd name="connsiteX507" fmla="*/ 290439 w 4012966"/>
                <a:gd name="connsiteY507" fmla="*/ 464372 h 541195"/>
                <a:gd name="connsiteX508" fmla="*/ 312617 w 4012966"/>
                <a:gd name="connsiteY508" fmla="*/ 438226 h 541195"/>
                <a:gd name="connsiteX509" fmla="*/ 312341 w 4012966"/>
                <a:gd name="connsiteY509" fmla="*/ 464372 h 541195"/>
                <a:gd name="connsiteX510" fmla="*/ 259938 w 4012966"/>
                <a:gd name="connsiteY510" fmla="*/ 464372 h 541195"/>
                <a:gd name="connsiteX511" fmla="*/ 283249 w 4012966"/>
                <a:gd name="connsiteY511" fmla="*/ 437557 h 541195"/>
                <a:gd name="connsiteX512" fmla="*/ 283249 w 4012966"/>
                <a:gd name="connsiteY512" fmla="*/ 464372 h 541195"/>
                <a:gd name="connsiteX513" fmla="*/ 994574 w 4012966"/>
                <a:gd name="connsiteY513" fmla="*/ 464389 h 541195"/>
                <a:gd name="connsiteX514" fmla="*/ 995183 w 4012966"/>
                <a:gd name="connsiteY514" fmla="*/ 432870 h 541195"/>
                <a:gd name="connsiteX515" fmla="*/ 1018301 w 4012966"/>
                <a:gd name="connsiteY515" fmla="*/ 464389 h 541195"/>
                <a:gd name="connsiteX516" fmla="*/ 967640 w 4012966"/>
                <a:gd name="connsiteY516" fmla="*/ 464389 h 541195"/>
                <a:gd name="connsiteX517" fmla="*/ 992915 w 4012966"/>
                <a:gd name="connsiteY517" fmla="*/ 433489 h 541195"/>
                <a:gd name="connsiteX518" fmla="*/ 992335 w 4012966"/>
                <a:gd name="connsiteY518" fmla="*/ 464389 h 541195"/>
                <a:gd name="connsiteX519" fmla="*/ 928565 w 4012966"/>
                <a:gd name="connsiteY519" fmla="*/ 464389 h 541195"/>
                <a:gd name="connsiteX520" fmla="*/ 928925 w 4012966"/>
                <a:gd name="connsiteY520" fmla="*/ 441179 h 541195"/>
                <a:gd name="connsiteX521" fmla="*/ 956662 w 4012966"/>
                <a:gd name="connsiteY521" fmla="*/ 464389 h 541195"/>
                <a:gd name="connsiteX522" fmla="*/ 904452 w 4012966"/>
                <a:gd name="connsiteY522" fmla="*/ 464389 h 541195"/>
                <a:gd name="connsiteX523" fmla="*/ 905503 w 4012966"/>
                <a:gd name="connsiteY523" fmla="*/ 421591 h 541195"/>
                <a:gd name="connsiteX524" fmla="*/ 926686 w 4012966"/>
                <a:gd name="connsiteY524" fmla="*/ 439308 h 541195"/>
                <a:gd name="connsiteX525" fmla="*/ 926298 w 4012966"/>
                <a:gd name="connsiteY525" fmla="*/ 464372 h 541195"/>
                <a:gd name="connsiteX526" fmla="*/ 926298 w 4012966"/>
                <a:gd name="connsiteY526" fmla="*/ 464389 h 541195"/>
                <a:gd name="connsiteX527" fmla="*/ 894386 w 4012966"/>
                <a:gd name="connsiteY527" fmla="*/ 464389 h 541195"/>
                <a:gd name="connsiteX528" fmla="*/ 875085 w 4012966"/>
                <a:gd name="connsiteY528" fmla="*/ 445677 h 541195"/>
                <a:gd name="connsiteX529" fmla="*/ 874172 w 4012966"/>
                <a:gd name="connsiteY529" fmla="*/ 446124 h 541195"/>
                <a:gd name="connsiteX530" fmla="*/ 903290 w 4012966"/>
                <a:gd name="connsiteY530" fmla="*/ 421643 h 541195"/>
                <a:gd name="connsiteX531" fmla="*/ 902212 w 4012966"/>
                <a:gd name="connsiteY531" fmla="*/ 464389 h 541195"/>
                <a:gd name="connsiteX532" fmla="*/ 902184 w 4012966"/>
                <a:gd name="connsiteY532" fmla="*/ 464389 h 541195"/>
                <a:gd name="connsiteX533" fmla="*/ 852437 w 4012966"/>
                <a:gd name="connsiteY533" fmla="*/ 464389 h 541195"/>
                <a:gd name="connsiteX534" fmla="*/ 869969 w 4012966"/>
                <a:gd name="connsiteY534" fmla="*/ 449643 h 541195"/>
                <a:gd name="connsiteX535" fmla="*/ 869498 w 4012966"/>
                <a:gd name="connsiteY535" fmla="*/ 464389 h 541195"/>
                <a:gd name="connsiteX536" fmla="*/ 846325 w 4012966"/>
                <a:gd name="connsiteY536" fmla="*/ 464389 h 541195"/>
                <a:gd name="connsiteX537" fmla="*/ 846325 w 4012966"/>
                <a:gd name="connsiteY537" fmla="*/ 439256 h 541195"/>
                <a:gd name="connsiteX538" fmla="*/ 869028 w 4012966"/>
                <a:gd name="connsiteY538" fmla="*/ 445540 h 541195"/>
                <a:gd name="connsiteX539" fmla="*/ 846601 w 4012966"/>
                <a:gd name="connsiteY539" fmla="*/ 464389 h 541195"/>
                <a:gd name="connsiteX540" fmla="*/ 838471 w 4012966"/>
                <a:gd name="connsiteY540" fmla="*/ 464389 h 541195"/>
                <a:gd name="connsiteX541" fmla="*/ 816072 w 4012966"/>
                <a:gd name="connsiteY541" fmla="*/ 445540 h 541195"/>
                <a:gd name="connsiteX542" fmla="*/ 838776 w 4012966"/>
                <a:gd name="connsiteY542" fmla="*/ 439256 h 541195"/>
                <a:gd name="connsiteX543" fmla="*/ 838776 w 4012966"/>
                <a:gd name="connsiteY543" fmla="*/ 464389 h 541195"/>
                <a:gd name="connsiteX544" fmla="*/ 815603 w 4012966"/>
                <a:gd name="connsiteY544" fmla="*/ 464389 h 541195"/>
                <a:gd name="connsiteX545" fmla="*/ 815132 w 4012966"/>
                <a:gd name="connsiteY545" fmla="*/ 449643 h 541195"/>
                <a:gd name="connsiteX546" fmla="*/ 832664 w 4012966"/>
                <a:gd name="connsiteY546" fmla="*/ 464389 h 541195"/>
                <a:gd name="connsiteX547" fmla="*/ 793480 w 4012966"/>
                <a:gd name="connsiteY547" fmla="*/ 464389 h 541195"/>
                <a:gd name="connsiteX548" fmla="*/ 811675 w 4012966"/>
                <a:gd name="connsiteY548" fmla="*/ 446759 h 541195"/>
                <a:gd name="connsiteX549" fmla="*/ 812781 w 4012966"/>
                <a:gd name="connsiteY549" fmla="*/ 447685 h 541195"/>
                <a:gd name="connsiteX550" fmla="*/ 813307 w 4012966"/>
                <a:gd name="connsiteY550" fmla="*/ 464389 h 541195"/>
                <a:gd name="connsiteX551" fmla="*/ 782916 w 4012966"/>
                <a:gd name="connsiteY551" fmla="*/ 464389 h 541195"/>
                <a:gd name="connsiteX552" fmla="*/ 781865 w 4012966"/>
                <a:gd name="connsiteY552" fmla="*/ 421643 h 541195"/>
                <a:gd name="connsiteX553" fmla="*/ 810984 w 4012966"/>
                <a:gd name="connsiteY553" fmla="*/ 446124 h 541195"/>
                <a:gd name="connsiteX554" fmla="*/ 810072 w 4012966"/>
                <a:gd name="connsiteY554" fmla="*/ 445677 h 541195"/>
                <a:gd name="connsiteX555" fmla="*/ 790742 w 4012966"/>
                <a:gd name="connsiteY555" fmla="*/ 464389 h 541195"/>
                <a:gd name="connsiteX556" fmla="*/ 782943 w 4012966"/>
                <a:gd name="connsiteY556" fmla="*/ 464389 h 541195"/>
                <a:gd name="connsiteX557" fmla="*/ 728412 w 4012966"/>
                <a:gd name="connsiteY557" fmla="*/ 464389 h 541195"/>
                <a:gd name="connsiteX558" fmla="*/ 756148 w 4012966"/>
                <a:gd name="connsiteY558" fmla="*/ 441179 h 541195"/>
                <a:gd name="connsiteX559" fmla="*/ 756507 w 4012966"/>
                <a:gd name="connsiteY559" fmla="*/ 464389 h 541195"/>
                <a:gd name="connsiteX560" fmla="*/ 692766 w 4012966"/>
                <a:gd name="connsiteY560" fmla="*/ 464389 h 541195"/>
                <a:gd name="connsiteX561" fmla="*/ 692186 w 4012966"/>
                <a:gd name="connsiteY561" fmla="*/ 433489 h 541195"/>
                <a:gd name="connsiteX562" fmla="*/ 717461 w 4012966"/>
                <a:gd name="connsiteY562" fmla="*/ 464389 h 541195"/>
                <a:gd name="connsiteX563" fmla="*/ 666800 w 4012966"/>
                <a:gd name="connsiteY563" fmla="*/ 464389 h 541195"/>
                <a:gd name="connsiteX564" fmla="*/ 689891 w 4012966"/>
                <a:gd name="connsiteY564" fmla="*/ 432870 h 541195"/>
                <a:gd name="connsiteX565" fmla="*/ 690499 w 4012966"/>
                <a:gd name="connsiteY565" fmla="*/ 464389 h 541195"/>
                <a:gd name="connsiteX566" fmla="*/ 634003 w 4012966"/>
                <a:gd name="connsiteY566" fmla="*/ 464389 h 541195"/>
                <a:gd name="connsiteX567" fmla="*/ 634003 w 4012966"/>
                <a:gd name="connsiteY567" fmla="*/ 437574 h 541195"/>
                <a:gd name="connsiteX568" fmla="*/ 657315 w 4012966"/>
                <a:gd name="connsiteY568" fmla="*/ 464389 h 541195"/>
                <a:gd name="connsiteX569" fmla="*/ 604940 w 4012966"/>
                <a:gd name="connsiteY569" fmla="*/ 464389 h 541195"/>
                <a:gd name="connsiteX570" fmla="*/ 604663 w 4012966"/>
                <a:gd name="connsiteY570" fmla="*/ 438244 h 541195"/>
                <a:gd name="connsiteX571" fmla="*/ 626841 w 4012966"/>
                <a:gd name="connsiteY571" fmla="*/ 464389 h 541195"/>
                <a:gd name="connsiteX572" fmla="*/ 578946 w 4012966"/>
                <a:gd name="connsiteY572" fmla="*/ 464389 h 541195"/>
                <a:gd name="connsiteX573" fmla="*/ 602368 w 4012966"/>
                <a:gd name="connsiteY573" fmla="*/ 436767 h 541195"/>
                <a:gd name="connsiteX574" fmla="*/ 602672 w 4012966"/>
                <a:gd name="connsiteY574" fmla="*/ 464389 h 541195"/>
                <a:gd name="connsiteX575" fmla="*/ 226781 w 4012966"/>
                <a:gd name="connsiteY575" fmla="*/ 464389 h 541195"/>
                <a:gd name="connsiteX576" fmla="*/ 227390 w 4012966"/>
                <a:gd name="connsiteY576" fmla="*/ 432870 h 541195"/>
                <a:gd name="connsiteX577" fmla="*/ 250508 w 4012966"/>
                <a:gd name="connsiteY577" fmla="*/ 464389 h 541195"/>
                <a:gd name="connsiteX578" fmla="*/ 226809 w 4012966"/>
                <a:gd name="connsiteY578" fmla="*/ 464389 h 541195"/>
                <a:gd name="connsiteX579" fmla="*/ 199820 w 4012966"/>
                <a:gd name="connsiteY579" fmla="*/ 464389 h 541195"/>
                <a:gd name="connsiteX580" fmla="*/ 225095 w 4012966"/>
                <a:gd name="connsiteY580" fmla="*/ 433489 h 541195"/>
                <a:gd name="connsiteX581" fmla="*/ 224486 w 4012966"/>
                <a:gd name="connsiteY581" fmla="*/ 464389 h 541195"/>
                <a:gd name="connsiteX582" fmla="*/ 160746 w 4012966"/>
                <a:gd name="connsiteY582" fmla="*/ 464389 h 541195"/>
                <a:gd name="connsiteX583" fmla="*/ 161105 w 4012966"/>
                <a:gd name="connsiteY583" fmla="*/ 441179 h 541195"/>
                <a:gd name="connsiteX584" fmla="*/ 188841 w 4012966"/>
                <a:gd name="connsiteY584" fmla="*/ 464389 h 541195"/>
                <a:gd name="connsiteX585" fmla="*/ 136660 w 4012966"/>
                <a:gd name="connsiteY585" fmla="*/ 464389 h 541195"/>
                <a:gd name="connsiteX586" fmla="*/ 137711 w 4012966"/>
                <a:gd name="connsiteY586" fmla="*/ 421591 h 541195"/>
                <a:gd name="connsiteX587" fmla="*/ 158920 w 4012966"/>
                <a:gd name="connsiteY587" fmla="*/ 439308 h 541195"/>
                <a:gd name="connsiteX588" fmla="*/ 158505 w 4012966"/>
                <a:gd name="connsiteY588" fmla="*/ 464372 h 541195"/>
                <a:gd name="connsiteX589" fmla="*/ 158505 w 4012966"/>
                <a:gd name="connsiteY589" fmla="*/ 464389 h 541195"/>
                <a:gd name="connsiteX590" fmla="*/ 126594 w 4012966"/>
                <a:gd name="connsiteY590" fmla="*/ 464389 h 541195"/>
                <a:gd name="connsiteX591" fmla="*/ 107292 w 4012966"/>
                <a:gd name="connsiteY591" fmla="*/ 445677 h 541195"/>
                <a:gd name="connsiteX592" fmla="*/ 106379 w 4012966"/>
                <a:gd name="connsiteY592" fmla="*/ 446124 h 541195"/>
                <a:gd name="connsiteX593" fmla="*/ 135470 w 4012966"/>
                <a:gd name="connsiteY593" fmla="*/ 421643 h 541195"/>
                <a:gd name="connsiteX594" fmla="*/ 134419 w 4012966"/>
                <a:gd name="connsiteY594" fmla="*/ 464389 h 541195"/>
                <a:gd name="connsiteX595" fmla="*/ 134391 w 4012966"/>
                <a:gd name="connsiteY595" fmla="*/ 464389 h 541195"/>
                <a:gd name="connsiteX596" fmla="*/ 84644 w 4012966"/>
                <a:gd name="connsiteY596" fmla="*/ 464389 h 541195"/>
                <a:gd name="connsiteX597" fmla="*/ 102176 w 4012966"/>
                <a:gd name="connsiteY597" fmla="*/ 449643 h 541195"/>
                <a:gd name="connsiteX598" fmla="*/ 101705 w 4012966"/>
                <a:gd name="connsiteY598" fmla="*/ 464389 h 541195"/>
                <a:gd name="connsiteX599" fmla="*/ 78504 w 4012966"/>
                <a:gd name="connsiteY599" fmla="*/ 464389 h 541195"/>
                <a:gd name="connsiteX600" fmla="*/ 78504 w 4012966"/>
                <a:gd name="connsiteY600" fmla="*/ 439256 h 541195"/>
                <a:gd name="connsiteX601" fmla="*/ 101208 w 4012966"/>
                <a:gd name="connsiteY601" fmla="*/ 445540 h 541195"/>
                <a:gd name="connsiteX602" fmla="*/ 78781 w 4012966"/>
                <a:gd name="connsiteY602" fmla="*/ 464389 h 541195"/>
                <a:gd name="connsiteX603" fmla="*/ 70678 w 4012966"/>
                <a:gd name="connsiteY603" fmla="*/ 464389 h 541195"/>
                <a:gd name="connsiteX604" fmla="*/ 48280 w 4012966"/>
                <a:gd name="connsiteY604" fmla="*/ 445540 h 541195"/>
                <a:gd name="connsiteX605" fmla="*/ 70983 w 4012966"/>
                <a:gd name="connsiteY605" fmla="*/ 439256 h 541195"/>
                <a:gd name="connsiteX606" fmla="*/ 70983 w 4012966"/>
                <a:gd name="connsiteY606" fmla="*/ 464389 h 541195"/>
                <a:gd name="connsiteX607" fmla="*/ 47810 w 4012966"/>
                <a:gd name="connsiteY607" fmla="*/ 464389 h 541195"/>
                <a:gd name="connsiteX608" fmla="*/ 47339 w 4012966"/>
                <a:gd name="connsiteY608" fmla="*/ 449643 h 541195"/>
                <a:gd name="connsiteX609" fmla="*/ 64871 w 4012966"/>
                <a:gd name="connsiteY609" fmla="*/ 464389 h 541195"/>
                <a:gd name="connsiteX610" fmla="*/ 25687 w 4012966"/>
                <a:gd name="connsiteY610" fmla="*/ 464389 h 541195"/>
                <a:gd name="connsiteX611" fmla="*/ 43882 w 4012966"/>
                <a:gd name="connsiteY611" fmla="*/ 446759 h 541195"/>
                <a:gd name="connsiteX612" fmla="*/ 44988 w 4012966"/>
                <a:gd name="connsiteY612" fmla="*/ 447685 h 541195"/>
                <a:gd name="connsiteX613" fmla="*/ 45514 w 4012966"/>
                <a:gd name="connsiteY613" fmla="*/ 464389 h 541195"/>
                <a:gd name="connsiteX614" fmla="*/ 15124 w 4012966"/>
                <a:gd name="connsiteY614" fmla="*/ 464389 h 541195"/>
                <a:gd name="connsiteX615" fmla="*/ 14045 w 4012966"/>
                <a:gd name="connsiteY615" fmla="*/ 421643 h 541195"/>
                <a:gd name="connsiteX616" fmla="*/ 43164 w 4012966"/>
                <a:gd name="connsiteY616" fmla="*/ 446124 h 541195"/>
                <a:gd name="connsiteX617" fmla="*/ 42251 w 4012966"/>
                <a:gd name="connsiteY617" fmla="*/ 445677 h 541195"/>
                <a:gd name="connsiteX618" fmla="*/ 22949 w 4012966"/>
                <a:gd name="connsiteY618" fmla="*/ 464389 h 541195"/>
                <a:gd name="connsiteX619" fmla="*/ 15151 w 4012966"/>
                <a:gd name="connsiteY619" fmla="*/ 464389 h 541195"/>
                <a:gd name="connsiteX620" fmla="*/ 871738 w 4012966"/>
                <a:gd name="connsiteY620" fmla="*/ 464406 h 541195"/>
                <a:gd name="connsiteX621" fmla="*/ 871766 w 4012966"/>
                <a:gd name="connsiteY621" fmla="*/ 464389 h 541195"/>
                <a:gd name="connsiteX622" fmla="*/ 872291 w 4012966"/>
                <a:gd name="connsiteY622" fmla="*/ 447685 h 541195"/>
                <a:gd name="connsiteX623" fmla="*/ 873397 w 4012966"/>
                <a:gd name="connsiteY623" fmla="*/ 446759 h 541195"/>
                <a:gd name="connsiteX624" fmla="*/ 891593 w 4012966"/>
                <a:gd name="connsiteY624" fmla="*/ 464406 h 541195"/>
                <a:gd name="connsiteX625" fmla="*/ 758803 w 4012966"/>
                <a:gd name="connsiteY625" fmla="*/ 464406 h 541195"/>
                <a:gd name="connsiteX626" fmla="*/ 758803 w 4012966"/>
                <a:gd name="connsiteY626" fmla="*/ 464389 h 541195"/>
                <a:gd name="connsiteX627" fmla="*/ 758415 w 4012966"/>
                <a:gd name="connsiteY627" fmla="*/ 439325 h 541195"/>
                <a:gd name="connsiteX628" fmla="*/ 779625 w 4012966"/>
                <a:gd name="connsiteY628" fmla="*/ 421609 h 541195"/>
                <a:gd name="connsiteX629" fmla="*/ 780676 w 4012966"/>
                <a:gd name="connsiteY629" fmla="*/ 464406 h 541195"/>
                <a:gd name="connsiteX630" fmla="*/ 103973 w 4012966"/>
                <a:gd name="connsiteY630" fmla="*/ 464406 h 541195"/>
                <a:gd name="connsiteX631" fmla="*/ 103973 w 4012966"/>
                <a:gd name="connsiteY631" fmla="*/ 464389 h 541195"/>
                <a:gd name="connsiteX632" fmla="*/ 104499 w 4012966"/>
                <a:gd name="connsiteY632" fmla="*/ 447685 h 541195"/>
                <a:gd name="connsiteX633" fmla="*/ 105633 w 4012966"/>
                <a:gd name="connsiteY633" fmla="*/ 446759 h 541195"/>
                <a:gd name="connsiteX634" fmla="*/ 123828 w 4012966"/>
                <a:gd name="connsiteY634" fmla="*/ 464406 h 541195"/>
                <a:gd name="connsiteX635" fmla="*/ 1236291 w 4012966"/>
                <a:gd name="connsiteY635" fmla="*/ 465780 h 541195"/>
                <a:gd name="connsiteX636" fmla="*/ 1227801 w 4012966"/>
                <a:gd name="connsiteY636" fmla="*/ 340580 h 541195"/>
                <a:gd name="connsiteX637" fmla="*/ 1227801 w 4012966"/>
                <a:gd name="connsiteY637" fmla="*/ 339532 h 541195"/>
                <a:gd name="connsiteX638" fmla="*/ 1228714 w 4012966"/>
                <a:gd name="connsiteY638" fmla="*/ 338897 h 541195"/>
                <a:gd name="connsiteX639" fmla="*/ 1227801 w 4012966"/>
                <a:gd name="connsiteY639" fmla="*/ 338005 h 541195"/>
                <a:gd name="connsiteX640" fmla="*/ 1227801 w 4012966"/>
                <a:gd name="connsiteY640" fmla="*/ 335378 h 541195"/>
                <a:gd name="connsiteX641" fmla="*/ 1226585 w 4012966"/>
                <a:gd name="connsiteY641" fmla="*/ 334777 h 541195"/>
                <a:gd name="connsiteX642" fmla="*/ 1226585 w 4012966"/>
                <a:gd name="connsiteY642" fmla="*/ 328580 h 541195"/>
                <a:gd name="connsiteX643" fmla="*/ 1222409 w 4012966"/>
                <a:gd name="connsiteY643" fmla="*/ 328580 h 541195"/>
                <a:gd name="connsiteX644" fmla="*/ 1222409 w 4012966"/>
                <a:gd name="connsiteY644" fmla="*/ 334777 h 541195"/>
                <a:gd name="connsiteX645" fmla="*/ 1221137 w 4012966"/>
                <a:gd name="connsiteY645" fmla="*/ 335378 h 541195"/>
                <a:gd name="connsiteX646" fmla="*/ 1221137 w 4012966"/>
                <a:gd name="connsiteY646" fmla="*/ 338091 h 541195"/>
                <a:gd name="connsiteX647" fmla="*/ 1219920 w 4012966"/>
                <a:gd name="connsiteY647" fmla="*/ 338691 h 541195"/>
                <a:gd name="connsiteX648" fmla="*/ 1220473 w 4012966"/>
                <a:gd name="connsiteY648" fmla="*/ 339361 h 541195"/>
                <a:gd name="connsiteX649" fmla="*/ 1220473 w 4012966"/>
                <a:gd name="connsiteY649" fmla="*/ 340374 h 541195"/>
                <a:gd name="connsiteX650" fmla="*/ 1212178 w 4012966"/>
                <a:gd name="connsiteY650" fmla="*/ 340374 h 541195"/>
                <a:gd name="connsiteX651" fmla="*/ 1212178 w 4012966"/>
                <a:gd name="connsiteY651" fmla="*/ 291396 h 541195"/>
                <a:gd name="connsiteX652" fmla="*/ 1215441 w 4012966"/>
                <a:gd name="connsiteY652" fmla="*/ 288581 h 541195"/>
                <a:gd name="connsiteX653" fmla="*/ 1212178 w 4012966"/>
                <a:gd name="connsiteY653" fmla="*/ 288581 h 541195"/>
                <a:gd name="connsiteX654" fmla="*/ 1212178 w 4012966"/>
                <a:gd name="connsiteY654" fmla="*/ 287001 h 541195"/>
                <a:gd name="connsiteX655" fmla="*/ 1211956 w 4012966"/>
                <a:gd name="connsiteY655" fmla="*/ 287001 h 541195"/>
                <a:gd name="connsiteX656" fmla="*/ 1213284 w 4012966"/>
                <a:gd name="connsiteY656" fmla="*/ 285868 h 541195"/>
                <a:gd name="connsiteX657" fmla="*/ 1213394 w 4012966"/>
                <a:gd name="connsiteY657" fmla="*/ 279705 h 541195"/>
                <a:gd name="connsiteX658" fmla="*/ 1214473 w 4012966"/>
                <a:gd name="connsiteY658" fmla="*/ 278280 h 541195"/>
                <a:gd name="connsiteX659" fmla="*/ 1212066 w 4012966"/>
                <a:gd name="connsiteY659" fmla="*/ 278280 h 541195"/>
                <a:gd name="connsiteX660" fmla="*/ 1189225 w 4012966"/>
                <a:gd name="connsiteY660" fmla="*/ 244203 h 541195"/>
                <a:gd name="connsiteX661" fmla="*/ 1188976 w 4012966"/>
                <a:gd name="connsiteY661" fmla="*/ 244203 h 541195"/>
                <a:gd name="connsiteX662" fmla="*/ 1188976 w 4012966"/>
                <a:gd name="connsiteY662" fmla="*/ 238658 h 541195"/>
                <a:gd name="connsiteX663" fmla="*/ 1191880 w 4012966"/>
                <a:gd name="connsiteY663" fmla="*/ 238658 h 541195"/>
                <a:gd name="connsiteX664" fmla="*/ 1191880 w 4012966"/>
                <a:gd name="connsiteY664" fmla="*/ 237457 h 541195"/>
                <a:gd name="connsiteX665" fmla="*/ 1188976 w 4012966"/>
                <a:gd name="connsiteY665" fmla="*/ 237457 h 541195"/>
                <a:gd name="connsiteX666" fmla="*/ 1188976 w 4012966"/>
                <a:gd name="connsiteY666" fmla="*/ 234607 h 541195"/>
                <a:gd name="connsiteX667" fmla="*/ 1186930 w 4012966"/>
                <a:gd name="connsiteY667" fmla="*/ 234607 h 541195"/>
                <a:gd name="connsiteX668" fmla="*/ 1186930 w 4012966"/>
                <a:gd name="connsiteY668" fmla="*/ 237457 h 541195"/>
                <a:gd name="connsiteX669" fmla="*/ 1183778 w 4012966"/>
                <a:gd name="connsiteY669" fmla="*/ 237457 h 541195"/>
                <a:gd name="connsiteX670" fmla="*/ 1183778 w 4012966"/>
                <a:gd name="connsiteY670" fmla="*/ 238658 h 541195"/>
                <a:gd name="connsiteX671" fmla="*/ 1186930 w 4012966"/>
                <a:gd name="connsiteY671" fmla="*/ 238658 h 541195"/>
                <a:gd name="connsiteX672" fmla="*/ 1186930 w 4012966"/>
                <a:gd name="connsiteY672" fmla="*/ 244203 h 541195"/>
                <a:gd name="connsiteX673" fmla="*/ 1186681 w 4012966"/>
                <a:gd name="connsiteY673" fmla="*/ 244203 h 541195"/>
                <a:gd name="connsiteX674" fmla="*/ 1164199 w 4012966"/>
                <a:gd name="connsiteY674" fmla="*/ 278280 h 541195"/>
                <a:gd name="connsiteX675" fmla="*/ 1160687 w 4012966"/>
                <a:gd name="connsiteY675" fmla="*/ 278280 h 541195"/>
                <a:gd name="connsiteX676" fmla="*/ 1162374 w 4012966"/>
                <a:gd name="connsiteY676" fmla="*/ 279482 h 541195"/>
                <a:gd name="connsiteX677" fmla="*/ 1162374 w 4012966"/>
                <a:gd name="connsiteY677" fmla="*/ 285937 h 541195"/>
                <a:gd name="connsiteX678" fmla="*/ 1163590 w 4012966"/>
                <a:gd name="connsiteY678" fmla="*/ 287001 h 541195"/>
                <a:gd name="connsiteX679" fmla="*/ 1163590 w 4012966"/>
                <a:gd name="connsiteY679" fmla="*/ 288563 h 541195"/>
                <a:gd name="connsiteX680" fmla="*/ 1160687 w 4012966"/>
                <a:gd name="connsiteY680" fmla="*/ 288563 h 541195"/>
                <a:gd name="connsiteX681" fmla="*/ 1163590 w 4012966"/>
                <a:gd name="connsiteY681" fmla="*/ 291344 h 541195"/>
                <a:gd name="connsiteX682" fmla="*/ 1163590 w 4012966"/>
                <a:gd name="connsiteY682" fmla="*/ 340116 h 541195"/>
                <a:gd name="connsiteX683" fmla="*/ 1132038 w 4012966"/>
                <a:gd name="connsiteY683" fmla="*/ 340116 h 541195"/>
                <a:gd name="connsiteX684" fmla="*/ 1161793 w 4012966"/>
                <a:gd name="connsiteY684" fmla="*/ 380871 h 541195"/>
                <a:gd name="connsiteX685" fmla="*/ 1120839 w 4012966"/>
                <a:gd name="connsiteY685" fmla="*/ 338468 h 541195"/>
                <a:gd name="connsiteX686" fmla="*/ 1121696 w 4012966"/>
                <a:gd name="connsiteY686" fmla="*/ 337472 h 541195"/>
                <a:gd name="connsiteX687" fmla="*/ 1120424 w 4012966"/>
                <a:gd name="connsiteY687" fmla="*/ 336460 h 541195"/>
                <a:gd name="connsiteX688" fmla="*/ 1120424 w 4012966"/>
                <a:gd name="connsiteY688" fmla="*/ 334881 h 541195"/>
                <a:gd name="connsiteX689" fmla="*/ 1119511 w 4012966"/>
                <a:gd name="connsiteY689" fmla="*/ 334211 h 541195"/>
                <a:gd name="connsiteX690" fmla="*/ 1119511 w 4012966"/>
                <a:gd name="connsiteY690" fmla="*/ 330486 h 541195"/>
                <a:gd name="connsiteX691" fmla="*/ 1121696 w 4012966"/>
                <a:gd name="connsiteY691" fmla="*/ 330486 h 541195"/>
                <a:gd name="connsiteX692" fmla="*/ 1121696 w 4012966"/>
                <a:gd name="connsiteY692" fmla="*/ 329644 h 541195"/>
                <a:gd name="connsiteX693" fmla="*/ 1119511 w 4012966"/>
                <a:gd name="connsiteY693" fmla="*/ 329644 h 541195"/>
                <a:gd name="connsiteX694" fmla="*/ 1119511 w 4012966"/>
                <a:gd name="connsiteY694" fmla="*/ 328134 h 541195"/>
                <a:gd name="connsiteX695" fmla="*/ 1118157 w 4012966"/>
                <a:gd name="connsiteY695" fmla="*/ 328134 h 541195"/>
                <a:gd name="connsiteX696" fmla="*/ 1118157 w 4012966"/>
                <a:gd name="connsiteY696" fmla="*/ 329644 h 541195"/>
                <a:gd name="connsiteX697" fmla="*/ 1115889 w 4012966"/>
                <a:gd name="connsiteY697" fmla="*/ 329644 h 541195"/>
                <a:gd name="connsiteX698" fmla="*/ 1115889 w 4012966"/>
                <a:gd name="connsiteY698" fmla="*/ 330486 h 541195"/>
                <a:gd name="connsiteX699" fmla="*/ 1118157 w 4012966"/>
                <a:gd name="connsiteY699" fmla="*/ 330486 h 541195"/>
                <a:gd name="connsiteX700" fmla="*/ 1118157 w 4012966"/>
                <a:gd name="connsiteY700" fmla="*/ 334262 h 541195"/>
                <a:gd name="connsiteX701" fmla="*/ 1117437 w 4012966"/>
                <a:gd name="connsiteY701" fmla="*/ 334777 h 541195"/>
                <a:gd name="connsiteX702" fmla="*/ 1117437 w 4012966"/>
                <a:gd name="connsiteY702" fmla="*/ 336185 h 541195"/>
                <a:gd name="connsiteX703" fmla="*/ 1115889 w 4012966"/>
                <a:gd name="connsiteY703" fmla="*/ 337593 h 541195"/>
                <a:gd name="connsiteX704" fmla="*/ 1116691 w 4012966"/>
                <a:gd name="connsiteY704" fmla="*/ 338571 h 541195"/>
                <a:gd name="connsiteX705" fmla="*/ 1044239 w 4012966"/>
                <a:gd name="connsiteY705" fmla="*/ 415326 h 541195"/>
                <a:gd name="connsiteX706" fmla="*/ 1107731 w 4012966"/>
                <a:gd name="connsiteY706" fmla="*/ 339893 h 541195"/>
                <a:gd name="connsiteX707" fmla="*/ 1017029 w 4012966"/>
                <a:gd name="connsiteY707" fmla="*/ 339670 h 541195"/>
                <a:gd name="connsiteX708" fmla="*/ 1017029 w 4012966"/>
                <a:gd name="connsiteY708" fmla="*/ 337644 h 541195"/>
                <a:gd name="connsiteX709" fmla="*/ 1015839 w 4012966"/>
                <a:gd name="connsiteY709" fmla="*/ 336683 h 541195"/>
                <a:gd name="connsiteX710" fmla="*/ 1015839 w 4012966"/>
                <a:gd name="connsiteY710" fmla="*/ 334486 h 541195"/>
                <a:gd name="connsiteX711" fmla="*/ 1014843 w 4012966"/>
                <a:gd name="connsiteY711" fmla="*/ 333696 h 541195"/>
                <a:gd name="connsiteX712" fmla="*/ 1014843 w 4012966"/>
                <a:gd name="connsiteY712" fmla="*/ 327670 h 541195"/>
                <a:gd name="connsiteX713" fmla="*/ 1010668 w 4012966"/>
                <a:gd name="connsiteY713" fmla="*/ 327670 h 541195"/>
                <a:gd name="connsiteX714" fmla="*/ 1010668 w 4012966"/>
                <a:gd name="connsiteY714" fmla="*/ 333919 h 541195"/>
                <a:gd name="connsiteX715" fmla="*/ 1009756 w 4012966"/>
                <a:gd name="connsiteY715" fmla="*/ 334537 h 541195"/>
                <a:gd name="connsiteX716" fmla="*/ 1009756 w 4012966"/>
                <a:gd name="connsiteY716" fmla="*/ 336906 h 541195"/>
                <a:gd name="connsiteX717" fmla="*/ 1008290 w 4012966"/>
                <a:gd name="connsiteY717" fmla="*/ 337644 h 541195"/>
                <a:gd name="connsiteX718" fmla="*/ 1008290 w 4012966"/>
                <a:gd name="connsiteY718" fmla="*/ 417592 h 541195"/>
                <a:gd name="connsiteX719" fmla="*/ 1197742 w 4012966"/>
                <a:gd name="connsiteY719" fmla="*/ 423343 h 541195"/>
                <a:gd name="connsiteX720" fmla="*/ 1206370 w 4012966"/>
                <a:gd name="connsiteY720" fmla="*/ 423343 h 541195"/>
                <a:gd name="connsiteX721" fmla="*/ 1210214 w 4012966"/>
                <a:gd name="connsiteY721" fmla="*/ 428133 h 541195"/>
                <a:gd name="connsiteX722" fmla="*/ 50520 w 4012966"/>
                <a:gd name="connsiteY722" fmla="*/ 541195 h 541195"/>
                <a:gd name="connsiteX723" fmla="*/ 97087 w 4012966"/>
                <a:gd name="connsiteY723" fmla="*/ 541195 h 541195"/>
                <a:gd name="connsiteX724" fmla="*/ 97087 w 4012966"/>
                <a:gd name="connsiteY724" fmla="*/ 529624 h 541195"/>
                <a:gd name="connsiteX725" fmla="*/ 84616 w 4012966"/>
                <a:gd name="connsiteY725" fmla="*/ 529624 h 541195"/>
                <a:gd name="connsiteX726" fmla="*/ 81325 w 4012966"/>
                <a:gd name="connsiteY726" fmla="*/ 477076 h 541195"/>
                <a:gd name="connsiteX727" fmla="*/ 82376 w 4012966"/>
                <a:gd name="connsiteY727" fmla="*/ 477076 h 541195"/>
                <a:gd name="connsiteX728" fmla="*/ 82376 w 4012966"/>
                <a:gd name="connsiteY728" fmla="*/ 474501 h 541195"/>
                <a:gd name="connsiteX729" fmla="*/ 80108 w 4012966"/>
                <a:gd name="connsiteY729" fmla="*/ 474501 h 541195"/>
                <a:gd name="connsiteX730" fmla="*/ 80108 w 4012966"/>
                <a:gd name="connsiteY730" fmla="*/ 470140 h 541195"/>
                <a:gd name="connsiteX731" fmla="*/ 103669 w 4012966"/>
                <a:gd name="connsiteY731" fmla="*/ 470140 h 541195"/>
                <a:gd name="connsiteX732" fmla="*/ 813473 w 4012966"/>
                <a:gd name="connsiteY732" fmla="*/ 470140 h 541195"/>
                <a:gd name="connsiteX733" fmla="*/ 814607 w 4012966"/>
                <a:gd name="connsiteY733" fmla="*/ 470140 h 541195"/>
                <a:gd name="connsiteX734" fmla="*/ 837033 w 4012966"/>
                <a:gd name="connsiteY734" fmla="*/ 470140 h 541195"/>
                <a:gd name="connsiteX735" fmla="*/ 837033 w 4012966"/>
                <a:gd name="connsiteY735" fmla="*/ 474501 h 541195"/>
                <a:gd name="connsiteX736" fmla="*/ 834766 w 4012966"/>
                <a:gd name="connsiteY736" fmla="*/ 474501 h 541195"/>
                <a:gd name="connsiteX737" fmla="*/ 834766 w 4012966"/>
                <a:gd name="connsiteY737" fmla="*/ 477076 h 541195"/>
                <a:gd name="connsiteX738" fmla="*/ 835817 w 4012966"/>
                <a:gd name="connsiteY738" fmla="*/ 477076 h 541195"/>
                <a:gd name="connsiteX739" fmla="*/ 832554 w 4012966"/>
                <a:gd name="connsiteY739" fmla="*/ 529624 h 541195"/>
                <a:gd name="connsiteX740" fmla="*/ 820082 w 4012966"/>
                <a:gd name="connsiteY740" fmla="*/ 529624 h 541195"/>
                <a:gd name="connsiteX741" fmla="*/ 820082 w 4012966"/>
                <a:gd name="connsiteY741" fmla="*/ 541195 h 541195"/>
                <a:gd name="connsiteX742" fmla="*/ 866651 w 4012966"/>
                <a:gd name="connsiteY742" fmla="*/ 541195 h 541195"/>
                <a:gd name="connsiteX743" fmla="*/ 866651 w 4012966"/>
                <a:gd name="connsiteY743" fmla="*/ 529624 h 541195"/>
                <a:gd name="connsiteX744" fmla="*/ 854455 w 4012966"/>
                <a:gd name="connsiteY744" fmla="*/ 529624 h 541195"/>
                <a:gd name="connsiteX745" fmla="*/ 849975 w 4012966"/>
                <a:gd name="connsiteY745" fmla="*/ 477076 h 541195"/>
                <a:gd name="connsiteX746" fmla="*/ 850611 w 4012966"/>
                <a:gd name="connsiteY746" fmla="*/ 477076 h 541195"/>
                <a:gd name="connsiteX747" fmla="*/ 850611 w 4012966"/>
                <a:gd name="connsiteY747" fmla="*/ 474501 h 541195"/>
                <a:gd name="connsiteX748" fmla="*/ 848150 w 4012966"/>
                <a:gd name="connsiteY748" fmla="*/ 474501 h 541195"/>
                <a:gd name="connsiteX749" fmla="*/ 848150 w 4012966"/>
                <a:gd name="connsiteY749" fmla="*/ 470140 h 541195"/>
                <a:gd name="connsiteX750" fmla="*/ 871517 w 4012966"/>
                <a:gd name="connsiteY750" fmla="*/ 470140 h 541195"/>
                <a:gd name="connsiteX751" fmla="*/ 1008263 w 4012966"/>
                <a:gd name="connsiteY751" fmla="*/ 470140 h 541195"/>
                <a:gd name="connsiteX752" fmla="*/ 905862 w 4012966"/>
                <a:gd name="connsiteY752" fmla="*/ 541195 h 541195"/>
                <a:gd name="connsiteX753" fmla="*/ 4012469 w 4012966"/>
                <a:gd name="connsiteY753" fmla="*/ 540417 h 541195"/>
                <a:gd name="connsiteX754" fmla="*/ 4012966 w 4012966"/>
                <a:gd name="connsiteY754" fmla="*/ 530578 h 541195"/>
                <a:gd name="connsiteX755" fmla="*/ 4009693 w 4012966"/>
                <a:gd name="connsiteY755" fmla="*/ 465763 h 541195"/>
                <a:gd name="connsiteX756" fmla="*/ 3987044 w 4012966"/>
                <a:gd name="connsiteY756" fmla="*/ 465763 h 541195"/>
                <a:gd name="connsiteX757" fmla="*/ 3987044 w 4012966"/>
                <a:gd name="connsiteY757" fmla="*/ 465780 h 541195"/>
                <a:gd name="connsiteX758" fmla="*/ 3968351 w 4012966"/>
                <a:gd name="connsiteY758" fmla="*/ 424939 h 541195"/>
                <a:gd name="connsiteX759" fmla="*/ 3996474 w 4012966"/>
                <a:gd name="connsiteY759" fmla="*/ 416596 h 541195"/>
                <a:gd name="connsiteX760" fmla="*/ 4000374 w 4012966"/>
                <a:gd name="connsiteY760" fmla="*/ 412510 h 541195"/>
                <a:gd name="connsiteX761" fmla="*/ 4004991 w 4012966"/>
                <a:gd name="connsiteY761" fmla="*/ 403755 h 541195"/>
                <a:gd name="connsiteX762" fmla="*/ 4006411 w 4012966"/>
                <a:gd name="connsiteY762" fmla="*/ 400766 h 541195"/>
                <a:gd name="connsiteX763" fmla="*/ 4005634 w 4012966"/>
                <a:gd name="connsiteY763" fmla="*/ 385378 h 541195"/>
                <a:gd name="connsiteX764" fmla="*/ 4002032 w 4012966"/>
                <a:gd name="connsiteY764" fmla="*/ 383601 h 541195"/>
                <a:gd name="connsiteX765" fmla="*/ 3996806 w 4012966"/>
                <a:gd name="connsiteY765" fmla="*/ 382313 h 541195"/>
                <a:gd name="connsiteX766" fmla="*/ 3958396 w 4012966"/>
                <a:gd name="connsiteY766" fmla="*/ 372802 h 541195"/>
                <a:gd name="connsiteX767" fmla="*/ 3956100 w 4012966"/>
                <a:gd name="connsiteY767" fmla="*/ 376064 h 541195"/>
                <a:gd name="connsiteX768" fmla="*/ 3546528 w 4012966"/>
                <a:gd name="connsiteY768" fmla="*/ 313816 h 541195"/>
                <a:gd name="connsiteX769" fmla="*/ 3542628 w 4012966"/>
                <a:gd name="connsiteY769" fmla="*/ 313816 h 541195"/>
                <a:gd name="connsiteX770" fmla="*/ 3542628 w 4012966"/>
                <a:gd name="connsiteY770" fmla="*/ 349678 h 541195"/>
                <a:gd name="connsiteX771" fmla="*/ 3544868 w 4012966"/>
                <a:gd name="connsiteY771" fmla="*/ 349678 h 541195"/>
                <a:gd name="connsiteX772" fmla="*/ 3544868 w 4012966"/>
                <a:gd name="connsiteY772" fmla="*/ 360528 h 541195"/>
                <a:gd name="connsiteX773" fmla="*/ 3580348 w 4012966"/>
                <a:gd name="connsiteY773" fmla="*/ 344803 h 541195"/>
                <a:gd name="connsiteX774" fmla="*/ 3588118 w 4012966"/>
                <a:gd name="connsiteY774" fmla="*/ 341352 h 541195"/>
                <a:gd name="connsiteX775" fmla="*/ 3596082 w 4012966"/>
                <a:gd name="connsiteY775" fmla="*/ 344614 h 541195"/>
                <a:gd name="connsiteX776" fmla="*/ 3603853 w 4012966"/>
                <a:gd name="connsiteY776" fmla="*/ 347807 h 541195"/>
                <a:gd name="connsiteX777" fmla="*/ 3603853 w 4012966"/>
                <a:gd name="connsiteY777" fmla="*/ 345661 h 541195"/>
                <a:gd name="connsiteX778" fmla="*/ 3641655 w 4012966"/>
                <a:gd name="connsiteY778" fmla="*/ 345661 h 541195"/>
                <a:gd name="connsiteX779" fmla="*/ 3641655 w 4012966"/>
                <a:gd name="connsiteY779" fmla="*/ 363275 h 541195"/>
                <a:gd name="connsiteX780" fmla="*/ 3642872 w 4012966"/>
                <a:gd name="connsiteY780" fmla="*/ 363772 h 541195"/>
                <a:gd name="connsiteX781" fmla="*/ 3649122 w 4012966"/>
                <a:gd name="connsiteY781" fmla="*/ 366331 h 541195"/>
                <a:gd name="connsiteX782" fmla="*/ 3649122 w 4012966"/>
                <a:gd name="connsiteY782" fmla="*/ 370982 h 541195"/>
                <a:gd name="connsiteX783" fmla="*/ 3642706 w 4012966"/>
                <a:gd name="connsiteY783" fmla="*/ 521161 h 541195"/>
                <a:gd name="connsiteX784" fmla="*/ 3635184 w 4012966"/>
                <a:gd name="connsiteY784" fmla="*/ 370982 h 541195"/>
                <a:gd name="connsiteX785" fmla="*/ 3627718 w 4012966"/>
                <a:gd name="connsiteY785" fmla="*/ 367927 h 541195"/>
                <a:gd name="connsiteX786" fmla="*/ 3627718 w 4012966"/>
                <a:gd name="connsiteY786" fmla="*/ 354296 h 541195"/>
                <a:gd name="connsiteX787" fmla="*/ 3617763 w 4012966"/>
                <a:gd name="connsiteY787" fmla="*/ 354296 h 541195"/>
                <a:gd name="connsiteX788" fmla="*/ 3617763 w 4012966"/>
                <a:gd name="connsiteY788" fmla="*/ 363858 h 541195"/>
                <a:gd name="connsiteX789" fmla="*/ 3588395 w 4012966"/>
                <a:gd name="connsiteY789" fmla="*/ 351841 h 541195"/>
                <a:gd name="connsiteX790" fmla="*/ 3538204 w 4012966"/>
                <a:gd name="connsiteY790" fmla="*/ 374090 h 541195"/>
                <a:gd name="connsiteX791" fmla="*/ 3528636 w 4012966"/>
                <a:gd name="connsiteY791" fmla="*/ 374090 h 541195"/>
                <a:gd name="connsiteX792" fmla="*/ 3528636 w 4012966"/>
                <a:gd name="connsiteY792" fmla="*/ 360339 h 541195"/>
                <a:gd name="connsiteX793" fmla="*/ 3530876 w 4012966"/>
                <a:gd name="connsiteY793" fmla="*/ 360339 h 541195"/>
                <a:gd name="connsiteX794" fmla="*/ 3530876 w 4012966"/>
                <a:gd name="connsiteY794" fmla="*/ 358331 h 541195"/>
                <a:gd name="connsiteX795" fmla="*/ 3528636 w 4012966"/>
                <a:gd name="connsiteY795" fmla="*/ 358331 h 541195"/>
                <a:gd name="connsiteX796" fmla="*/ 3528636 w 4012966"/>
                <a:gd name="connsiteY796" fmla="*/ 301558 h 541195"/>
                <a:gd name="connsiteX797" fmla="*/ 3532618 w 4012966"/>
                <a:gd name="connsiteY797" fmla="*/ 296237 h 541195"/>
                <a:gd name="connsiteX798" fmla="*/ 3528636 w 4012966"/>
                <a:gd name="connsiteY798" fmla="*/ 296237 h 541195"/>
                <a:gd name="connsiteX799" fmla="*/ 3528636 w 4012966"/>
                <a:gd name="connsiteY799" fmla="*/ 282640 h 541195"/>
                <a:gd name="connsiteX800" fmla="*/ 3526893 w 4012966"/>
                <a:gd name="connsiteY800" fmla="*/ 282640 h 541195"/>
                <a:gd name="connsiteX801" fmla="*/ 3526893 w 4012966"/>
                <a:gd name="connsiteY801" fmla="*/ 279396 h 541195"/>
                <a:gd name="connsiteX802" fmla="*/ 3525760 w 4012966"/>
                <a:gd name="connsiteY802" fmla="*/ 279396 h 541195"/>
                <a:gd name="connsiteX803" fmla="*/ 3525760 w 4012966"/>
                <a:gd name="connsiteY803" fmla="*/ 276374 h 541195"/>
                <a:gd name="connsiteX804" fmla="*/ 3524764 w 4012966"/>
                <a:gd name="connsiteY804" fmla="*/ 276374 h 541195"/>
                <a:gd name="connsiteX805" fmla="*/ 3524764 w 4012966"/>
                <a:gd name="connsiteY805" fmla="*/ 272975 h 541195"/>
                <a:gd name="connsiteX806" fmla="*/ 3523631 w 4012966"/>
                <a:gd name="connsiteY806" fmla="*/ 272975 h 541195"/>
                <a:gd name="connsiteX807" fmla="*/ 3523631 w 4012966"/>
                <a:gd name="connsiteY807" fmla="*/ 269885 h 541195"/>
                <a:gd name="connsiteX808" fmla="*/ 3522525 w 4012966"/>
                <a:gd name="connsiteY808" fmla="*/ 269885 h 541195"/>
                <a:gd name="connsiteX809" fmla="*/ 3520340 w 4012966"/>
                <a:gd name="connsiteY809" fmla="*/ 262554 h 541195"/>
                <a:gd name="connsiteX810" fmla="*/ 3518266 w 4012966"/>
                <a:gd name="connsiteY810" fmla="*/ 269885 h 541195"/>
                <a:gd name="connsiteX811" fmla="*/ 3517050 w 4012966"/>
                <a:gd name="connsiteY811" fmla="*/ 269885 h 541195"/>
                <a:gd name="connsiteX812" fmla="*/ 3517050 w 4012966"/>
                <a:gd name="connsiteY812" fmla="*/ 272975 h 541195"/>
                <a:gd name="connsiteX813" fmla="*/ 3515943 w 4012966"/>
                <a:gd name="connsiteY813" fmla="*/ 272975 h 541195"/>
                <a:gd name="connsiteX814" fmla="*/ 3515943 w 4012966"/>
                <a:gd name="connsiteY814" fmla="*/ 276374 h 541195"/>
                <a:gd name="connsiteX815" fmla="*/ 3515196 w 4012966"/>
                <a:gd name="connsiteY815" fmla="*/ 276374 h 541195"/>
                <a:gd name="connsiteX816" fmla="*/ 3515196 w 4012966"/>
                <a:gd name="connsiteY816" fmla="*/ 279396 h 541195"/>
                <a:gd name="connsiteX817" fmla="*/ 3514091 w 4012966"/>
                <a:gd name="connsiteY817" fmla="*/ 279396 h 541195"/>
                <a:gd name="connsiteX818" fmla="*/ 3514091 w 4012966"/>
                <a:gd name="connsiteY818" fmla="*/ 282640 h 541195"/>
                <a:gd name="connsiteX819" fmla="*/ 3512984 w 4012966"/>
                <a:gd name="connsiteY819" fmla="*/ 282640 h 541195"/>
                <a:gd name="connsiteX820" fmla="*/ 3512984 w 4012966"/>
                <a:gd name="connsiteY820" fmla="*/ 284889 h 541195"/>
                <a:gd name="connsiteX821" fmla="*/ 3510108 w 4012966"/>
                <a:gd name="connsiteY821" fmla="*/ 284889 h 541195"/>
                <a:gd name="connsiteX822" fmla="*/ 3510108 w 4012966"/>
                <a:gd name="connsiteY822" fmla="*/ 288752 h 541195"/>
                <a:gd name="connsiteX823" fmla="*/ 3505269 w 4012966"/>
                <a:gd name="connsiteY823" fmla="*/ 288752 h 541195"/>
                <a:gd name="connsiteX824" fmla="*/ 3505269 w 4012966"/>
                <a:gd name="connsiteY824" fmla="*/ 282658 h 541195"/>
                <a:gd name="connsiteX825" fmla="*/ 3497858 w 4012966"/>
                <a:gd name="connsiteY825" fmla="*/ 282658 h 541195"/>
                <a:gd name="connsiteX826" fmla="*/ 3497858 w 4012966"/>
                <a:gd name="connsiteY826" fmla="*/ 278640 h 541195"/>
                <a:gd name="connsiteX827" fmla="*/ 3493682 w 4012966"/>
                <a:gd name="connsiteY827" fmla="*/ 278640 h 541195"/>
                <a:gd name="connsiteX828" fmla="*/ 3493682 w 4012966"/>
                <a:gd name="connsiteY828" fmla="*/ 282658 h 541195"/>
                <a:gd name="connsiteX829" fmla="*/ 3485967 w 4012966"/>
                <a:gd name="connsiteY829" fmla="*/ 282658 h 541195"/>
                <a:gd name="connsiteX830" fmla="*/ 3485967 w 4012966"/>
                <a:gd name="connsiteY830" fmla="*/ 288752 h 541195"/>
                <a:gd name="connsiteX831" fmla="*/ 3481127 w 4012966"/>
                <a:gd name="connsiteY831" fmla="*/ 288752 h 541195"/>
                <a:gd name="connsiteX832" fmla="*/ 3481127 w 4012966"/>
                <a:gd name="connsiteY832" fmla="*/ 284889 h 541195"/>
                <a:gd name="connsiteX833" fmla="*/ 3478390 w 4012966"/>
                <a:gd name="connsiteY833" fmla="*/ 284889 h 541195"/>
                <a:gd name="connsiteX834" fmla="*/ 3478390 w 4012966"/>
                <a:gd name="connsiteY834" fmla="*/ 282640 h 541195"/>
                <a:gd name="connsiteX835" fmla="*/ 3476150 w 4012966"/>
                <a:gd name="connsiteY835" fmla="*/ 282640 h 541195"/>
                <a:gd name="connsiteX836" fmla="*/ 3476150 w 4012966"/>
                <a:gd name="connsiteY836" fmla="*/ 279396 h 541195"/>
                <a:gd name="connsiteX837" fmla="*/ 3475017 w 4012966"/>
                <a:gd name="connsiteY837" fmla="*/ 279396 h 541195"/>
                <a:gd name="connsiteX838" fmla="*/ 3475017 w 4012966"/>
                <a:gd name="connsiteY838" fmla="*/ 276374 h 541195"/>
                <a:gd name="connsiteX839" fmla="*/ 3474021 w 4012966"/>
                <a:gd name="connsiteY839" fmla="*/ 276374 h 541195"/>
                <a:gd name="connsiteX840" fmla="*/ 3474021 w 4012966"/>
                <a:gd name="connsiteY840" fmla="*/ 272975 h 541195"/>
                <a:gd name="connsiteX841" fmla="*/ 3472915 w 4012966"/>
                <a:gd name="connsiteY841" fmla="*/ 272975 h 541195"/>
                <a:gd name="connsiteX842" fmla="*/ 3472915 w 4012966"/>
                <a:gd name="connsiteY842" fmla="*/ 269885 h 541195"/>
                <a:gd name="connsiteX843" fmla="*/ 3471809 w 4012966"/>
                <a:gd name="connsiteY843" fmla="*/ 269885 h 541195"/>
                <a:gd name="connsiteX844" fmla="*/ 3469623 w 4012966"/>
                <a:gd name="connsiteY844" fmla="*/ 262554 h 541195"/>
                <a:gd name="connsiteX845" fmla="*/ 3467550 w 4012966"/>
                <a:gd name="connsiteY845" fmla="*/ 269885 h 541195"/>
                <a:gd name="connsiteX846" fmla="*/ 3466305 w 4012966"/>
                <a:gd name="connsiteY846" fmla="*/ 269885 h 541195"/>
                <a:gd name="connsiteX847" fmla="*/ 3466305 w 4012966"/>
                <a:gd name="connsiteY847" fmla="*/ 272975 h 541195"/>
                <a:gd name="connsiteX848" fmla="*/ 3465199 w 4012966"/>
                <a:gd name="connsiteY848" fmla="*/ 272975 h 541195"/>
                <a:gd name="connsiteX849" fmla="*/ 3465199 w 4012966"/>
                <a:gd name="connsiteY849" fmla="*/ 276374 h 541195"/>
                <a:gd name="connsiteX850" fmla="*/ 3464453 w 4012966"/>
                <a:gd name="connsiteY850" fmla="*/ 276374 h 541195"/>
                <a:gd name="connsiteX851" fmla="*/ 3464453 w 4012966"/>
                <a:gd name="connsiteY851" fmla="*/ 279396 h 541195"/>
                <a:gd name="connsiteX852" fmla="*/ 3463319 w 4012966"/>
                <a:gd name="connsiteY852" fmla="*/ 279396 h 541195"/>
                <a:gd name="connsiteX853" fmla="*/ 3463319 w 4012966"/>
                <a:gd name="connsiteY853" fmla="*/ 282640 h 541195"/>
                <a:gd name="connsiteX854" fmla="*/ 3461964 w 4012966"/>
                <a:gd name="connsiteY854" fmla="*/ 282640 h 541195"/>
                <a:gd name="connsiteX855" fmla="*/ 3461964 w 4012966"/>
                <a:gd name="connsiteY855" fmla="*/ 296237 h 541195"/>
                <a:gd name="connsiteX856" fmla="*/ 3457235 w 4012966"/>
                <a:gd name="connsiteY856" fmla="*/ 296237 h 541195"/>
                <a:gd name="connsiteX857" fmla="*/ 3461964 w 4012966"/>
                <a:gd name="connsiteY857" fmla="*/ 301593 h 541195"/>
                <a:gd name="connsiteX858" fmla="*/ 3461964 w 4012966"/>
                <a:gd name="connsiteY858" fmla="*/ 358347 h 541195"/>
                <a:gd name="connsiteX859" fmla="*/ 3458479 w 4012966"/>
                <a:gd name="connsiteY859" fmla="*/ 358347 h 541195"/>
                <a:gd name="connsiteX860" fmla="*/ 3458479 w 4012966"/>
                <a:gd name="connsiteY860" fmla="*/ 360356 h 541195"/>
                <a:gd name="connsiteX861" fmla="*/ 3461964 w 4012966"/>
                <a:gd name="connsiteY861" fmla="*/ 360356 h 541195"/>
                <a:gd name="connsiteX862" fmla="*/ 3461964 w 4012966"/>
                <a:gd name="connsiteY862" fmla="*/ 374107 h 541195"/>
                <a:gd name="connsiteX863" fmla="*/ 3454995 w 4012966"/>
                <a:gd name="connsiteY863" fmla="*/ 374107 h 541195"/>
                <a:gd name="connsiteX864" fmla="*/ 3351960 w 4012966"/>
                <a:gd name="connsiteY864" fmla="*/ 310159 h 541195"/>
                <a:gd name="connsiteX865" fmla="*/ 3318111 w 4012966"/>
                <a:gd name="connsiteY865" fmla="*/ 332923 h 541195"/>
                <a:gd name="connsiteX866" fmla="*/ 3318111 w 4012966"/>
                <a:gd name="connsiteY866" fmla="*/ 321593 h 541195"/>
                <a:gd name="connsiteX867" fmla="*/ 3302681 w 4012966"/>
                <a:gd name="connsiteY867" fmla="*/ 321593 h 541195"/>
                <a:gd name="connsiteX868" fmla="*/ 3302681 w 4012966"/>
                <a:gd name="connsiteY868" fmla="*/ 343309 h 541195"/>
                <a:gd name="connsiteX869" fmla="*/ 3256887 w 4012966"/>
                <a:gd name="connsiteY869" fmla="*/ 374107 h 541195"/>
                <a:gd name="connsiteX870" fmla="*/ 3252214 w 4012966"/>
                <a:gd name="connsiteY870" fmla="*/ 521590 h 541195"/>
                <a:gd name="connsiteX871" fmla="*/ 3243614 w 4012966"/>
                <a:gd name="connsiteY871" fmla="*/ 413420 h 541195"/>
                <a:gd name="connsiteX872" fmla="*/ 3239189 w 4012966"/>
                <a:gd name="connsiteY872" fmla="*/ 409849 h 541195"/>
                <a:gd name="connsiteX873" fmla="*/ 3239189 w 4012966"/>
                <a:gd name="connsiteY873" fmla="*/ 366691 h 541195"/>
                <a:gd name="connsiteX874" fmla="*/ 3235981 w 4012966"/>
                <a:gd name="connsiteY874" fmla="*/ 365712 h 541195"/>
                <a:gd name="connsiteX875" fmla="*/ 3237419 w 4012966"/>
                <a:gd name="connsiteY875" fmla="*/ 364579 h 541195"/>
                <a:gd name="connsiteX876" fmla="*/ 3237419 w 4012966"/>
                <a:gd name="connsiteY876" fmla="*/ 362382 h 541195"/>
                <a:gd name="connsiteX877" fmla="*/ 3232995 w 4012966"/>
                <a:gd name="connsiteY877" fmla="*/ 361472 h 541195"/>
                <a:gd name="connsiteX878" fmla="*/ 3232995 w 4012966"/>
                <a:gd name="connsiteY878" fmla="*/ 356802 h 541195"/>
                <a:gd name="connsiteX879" fmla="*/ 3234460 w 4012966"/>
                <a:gd name="connsiteY879" fmla="*/ 355807 h 541195"/>
                <a:gd name="connsiteX880" fmla="*/ 3230617 w 4012966"/>
                <a:gd name="connsiteY880" fmla="*/ 349661 h 541195"/>
                <a:gd name="connsiteX881" fmla="*/ 3229290 w 4012966"/>
                <a:gd name="connsiteY881" fmla="*/ 349661 h 541195"/>
                <a:gd name="connsiteX882" fmla="*/ 3227216 w 4012966"/>
                <a:gd name="connsiteY882" fmla="*/ 346811 h 541195"/>
                <a:gd name="connsiteX883" fmla="*/ 3227962 w 4012966"/>
                <a:gd name="connsiteY883" fmla="*/ 346073 h 541195"/>
                <a:gd name="connsiteX884" fmla="*/ 3226192 w 4012966"/>
                <a:gd name="connsiteY884" fmla="*/ 345610 h 541195"/>
                <a:gd name="connsiteX885" fmla="*/ 3227381 w 4012966"/>
                <a:gd name="connsiteY885" fmla="*/ 344322 h 541195"/>
                <a:gd name="connsiteX886" fmla="*/ 3225169 w 4012966"/>
                <a:gd name="connsiteY886" fmla="*/ 341936 h 541195"/>
                <a:gd name="connsiteX887" fmla="*/ 3223261 w 4012966"/>
                <a:gd name="connsiteY887" fmla="*/ 344322 h 541195"/>
                <a:gd name="connsiteX888" fmla="*/ 3224422 w 4012966"/>
                <a:gd name="connsiteY888" fmla="*/ 345421 h 541195"/>
                <a:gd name="connsiteX889" fmla="*/ 3222072 w 4012966"/>
                <a:gd name="connsiteY889" fmla="*/ 345970 h 541195"/>
                <a:gd name="connsiteX890" fmla="*/ 3223399 w 4012966"/>
                <a:gd name="connsiteY890" fmla="*/ 346983 h 541195"/>
                <a:gd name="connsiteX891" fmla="*/ 3217066 w 4012966"/>
                <a:gd name="connsiteY891" fmla="*/ 355790 h 541195"/>
                <a:gd name="connsiteX892" fmla="*/ 3218837 w 4012966"/>
                <a:gd name="connsiteY892" fmla="*/ 357163 h 541195"/>
                <a:gd name="connsiteX893" fmla="*/ 3218587 w 4012966"/>
                <a:gd name="connsiteY893" fmla="*/ 360356 h 541195"/>
                <a:gd name="connsiteX894" fmla="*/ 3175283 w 4012966"/>
                <a:gd name="connsiteY894" fmla="*/ 347052 h 541195"/>
                <a:gd name="connsiteX895" fmla="*/ 3175283 w 4012966"/>
                <a:gd name="connsiteY895" fmla="*/ 336906 h 541195"/>
                <a:gd name="connsiteX896" fmla="*/ 3173209 w 4012966"/>
                <a:gd name="connsiteY896" fmla="*/ 336906 h 541195"/>
                <a:gd name="connsiteX897" fmla="*/ 3171743 w 4012966"/>
                <a:gd name="connsiteY897" fmla="*/ 333421 h 541195"/>
                <a:gd name="connsiteX898" fmla="*/ 3172323 w 4012966"/>
                <a:gd name="connsiteY898" fmla="*/ 333060 h 541195"/>
                <a:gd name="connsiteX899" fmla="*/ 3171439 w 4012966"/>
                <a:gd name="connsiteY899" fmla="*/ 332151 h 541195"/>
                <a:gd name="connsiteX900" fmla="*/ 3172186 w 4012966"/>
                <a:gd name="connsiteY900" fmla="*/ 330966 h 541195"/>
                <a:gd name="connsiteX901" fmla="*/ 3170277 w 4012966"/>
                <a:gd name="connsiteY901" fmla="*/ 329507 h 541195"/>
                <a:gd name="connsiteX902" fmla="*/ 3168507 w 4012966"/>
                <a:gd name="connsiteY902" fmla="*/ 330880 h 541195"/>
                <a:gd name="connsiteX903" fmla="*/ 3169393 w 4012966"/>
                <a:gd name="connsiteY903" fmla="*/ 332065 h 541195"/>
                <a:gd name="connsiteX904" fmla="*/ 3168507 w 4012966"/>
                <a:gd name="connsiteY904" fmla="*/ 332888 h 541195"/>
                <a:gd name="connsiteX905" fmla="*/ 3169254 w 4012966"/>
                <a:gd name="connsiteY905" fmla="*/ 333798 h 541195"/>
                <a:gd name="connsiteX906" fmla="*/ 3167319 w 4012966"/>
                <a:gd name="connsiteY906" fmla="*/ 337283 h 541195"/>
                <a:gd name="connsiteX907" fmla="*/ 3165245 w 4012966"/>
                <a:gd name="connsiteY907" fmla="*/ 337369 h 541195"/>
                <a:gd name="connsiteX908" fmla="*/ 3165245 w 4012966"/>
                <a:gd name="connsiteY908" fmla="*/ 343962 h 541195"/>
                <a:gd name="connsiteX909" fmla="*/ 3151805 w 4012966"/>
                <a:gd name="connsiteY909" fmla="*/ 339842 h 541195"/>
                <a:gd name="connsiteX910" fmla="*/ 3151805 w 4012966"/>
                <a:gd name="connsiteY910" fmla="*/ 331138 h 541195"/>
                <a:gd name="connsiteX911" fmla="*/ 3149150 w 4012966"/>
                <a:gd name="connsiteY911" fmla="*/ 331138 h 541195"/>
                <a:gd name="connsiteX912" fmla="*/ 3146192 w 4012966"/>
                <a:gd name="connsiteY912" fmla="*/ 326091 h 541195"/>
                <a:gd name="connsiteX913" fmla="*/ 3147823 w 4012966"/>
                <a:gd name="connsiteY913" fmla="*/ 326091 h 541195"/>
                <a:gd name="connsiteX914" fmla="*/ 3148985 w 4012966"/>
                <a:gd name="connsiteY914" fmla="*/ 323343 h 541195"/>
                <a:gd name="connsiteX915" fmla="*/ 3140135 w 4012966"/>
                <a:gd name="connsiteY915" fmla="*/ 320133 h 541195"/>
                <a:gd name="connsiteX916" fmla="*/ 3139112 w 4012966"/>
                <a:gd name="connsiteY916" fmla="*/ 279533 h 541195"/>
                <a:gd name="connsiteX917" fmla="*/ 3140744 w 4012966"/>
                <a:gd name="connsiteY917" fmla="*/ 278245 h 541195"/>
                <a:gd name="connsiteX918" fmla="*/ 3140744 w 4012966"/>
                <a:gd name="connsiteY918" fmla="*/ 276494 h 541195"/>
                <a:gd name="connsiteX919" fmla="*/ 3139112 w 4012966"/>
                <a:gd name="connsiteY919" fmla="*/ 275670 h 541195"/>
                <a:gd name="connsiteX920" fmla="*/ 3138531 w 4012966"/>
                <a:gd name="connsiteY920" fmla="*/ 263945 h 541195"/>
                <a:gd name="connsiteX921" fmla="*/ 3140881 w 4012966"/>
                <a:gd name="connsiteY921" fmla="*/ 262658 h 541195"/>
                <a:gd name="connsiteX922" fmla="*/ 3140881 w 4012966"/>
                <a:gd name="connsiteY922" fmla="*/ 261009 h 541195"/>
                <a:gd name="connsiteX923" fmla="*/ 3138531 w 4012966"/>
                <a:gd name="connsiteY923" fmla="*/ 260271 h 541195"/>
                <a:gd name="connsiteX924" fmla="*/ 3138531 w 4012966"/>
                <a:gd name="connsiteY924" fmla="*/ 255688 h 541195"/>
                <a:gd name="connsiteX925" fmla="*/ 3139416 w 4012966"/>
                <a:gd name="connsiteY925" fmla="*/ 254864 h 541195"/>
                <a:gd name="connsiteX926" fmla="*/ 3139555 w 4012966"/>
                <a:gd name="connsiteY926" fmla="*/ 253490 h 541195"/>
                <a:gd name="connsiteX927" fmla="*/ 3135434 w 4012966"/>
                <a:gd name="connsiteY927" fmla="*/ 250040 h 541195"/>
                <a:gd name="connsiteX928" fmla="*/ 3135434 w 4012966"/>
                <a:gd name="connsiteY928" fmla="*/ 246813 h 541195"/>
                <a:gd name="connsiteX929" fmla="*/ 3136595 w 4012966"/>
                <a:gd name="connsiteY929" fmla="*/ 245250 h 541195"/>
                <a:gd name="connsiteX930" fmla="*/ 3130401 w 4012966"/>
                <a:gd name="connsiteY930" fmla="*/ 237731 h 541195"/>
                <a:gd name="connsiteX931" fmla="*/ 3130982 w 4012966"/>
                <a:gd name="connsiteY931" fmla="*/ 235808 h 541195"/>
                <a:gd name="connsiteX932" fmla="*/ 3128908 w 4012966"/>
                <a:gd name="connsiteY932" fmla="*/ 233971 h 541195"/>
                <a:gd name="connsiteX933" fmla="*/ 3127442 w 4012966"/>
                <a:gd name="connsiteY933" fmla="*/ 235619 h 541195"/>
                <a:gd name="connsiteX934" fmla="*/ 3128328 w 4012966"/>
                <a:gd name="connsiteY934" fmla="*/ 237628 h 541195"/>
                <a:gd name="connsiteX935" fmla="*/ 3126557 w 4012966"/>
                <a:gd name="connsiteY935" fmla="*/ 239087 h 541195"/>
                <a:gd name="connsiteX936" fmla="*/ 3107587 w 4012966"/>
                <a:gd name="connsiteY936" fmla="*/ 159775 h 541195"/>
                <a:gd name="connsiteX937" fmla="*/ 3109716 w 4012966"/>
                <a:gd name="connsiteY937" fmla="*/ 157697 h 541195"/>
                <a:gd name="connsiteX938" fmla="*/ 3106674 w 4012966"/>
                <a:gd name="connsiteY938" fmla="*/ 155380 h 541195"/>
                <a:gd name="connsiteX939" fmla="*/ 3106674 w 4012966"/>
                <a:gd name="connsiteY939" fmla="*/ 147380 h 541195"/>
                <a:gd name="connsiteX940" fmla="*/ 3112648 w 4012966"/>
                <a:gd name="connsiteY940" fmla="*/ 147380 h 541195"/>
                <a:gd name="connsiteX941" fmla="*/ 3112648 w 4012966"/>
                <a:gd name="connsiteY941" fmla="*/ 147723 h 541195"/>
                <a:gd name="connsiteX942" fmla="*/ 3113754 w 4012966"/>
                <a:gd name="connsiteY942" fmla="*/ 148410 h 541195"/>
                <a:gd name="connsiteX943" fmla="*/ 3114860 w 4012966"/>
                <a:gd name="connsiteY943" fmla="*/ 147723 h 541195"/>
                <a:gd name="connsiteX944" fmla="*/ 3114860 w 4012966"/>
                <a:gd name="connsiteY944" fmla="*/ 147380 h 541195"/>
                <a:gd name="connsiteX945" fmla="*/ 3116354 w 4012966"/>
                <a:gd name="connsiteY945" fmla="*/ 146401 h 541195"/>
                <a:gd name="connsiteX946" fmla="*/ 3114860 w 4012966"/>
                <a:gd name="connsiteY946" fmla="*/ 145440 h 541195"/>
                <a:gd name="connsiteX947" fmla="*/ 3113754 w 4012966"/>
                <a:gd name="connsiteY947" fmla="*/ 144788 h 541195"/>
                <a:gd name="connsiteX948" fmla="*/ 3112648 w 4012966"/>
                <a:gd name="connsiteY948" fmla="*/ 145440 h 541195"/>
                <a:gd name="connsiteX949" fmla="*/ 3106674 w 4012966"/>
                <a:gd name="connsiteY949" fmla="*/ 145440 h 541195"/>
                <a:gd name="connsiteX950" fmla="*/ 3106674 w 4012966"/>
                <a:gd name="connsiteY950" fmla="*/ 141869 h 541195"/>
                <a:gd name="connsiteX951" fmla="*/ 3107809 w 4012966"/>
                <a:gd name="connsiteY951" fmla="*/ 141166 h 541195"/>
                <a:gd name="connsiteX952" fmla="*/ 3106674 w 4012966"/>
                <a:gd name="connsiteY952" fmla="*/ 140462 h 541195"/>
                <a:gd name="connsiteX953" fmla="*/ 3106674 w 4012966"/>
                <a:gd name="connsiteY953" fmla="*/ 140273 h 541195"/>
                <a:gd name="connsiteX954" fmla="*/ 3105043 w 4012966"/>
                <a:gd name="connsiteY954" fmla="*/ 139260 h 541195"/>
                <a:gd name="connsiteX955" fmla="*/ 3103412 w 4012966"/>
                <a:gd name="connsiteY955" fmla="*/ 140273 h 541195"/>
                <a:gd name="connsiteX956" fmla="*/ 3103412 w 4012966"/>
                <a:gd name="connsiteY956" fmla="*/ 140462 h 541195"/>
                <a:gd name="connsiteX957" fmla="*/ 3103274 w 4012966"/>
                <a:gd name="connsiteY957" fmla="*/ 140462 h 541195"/>
                <a:gd name="connsiteX958" fmla="*/ 3102140 w 4012966"/>
                <a:gd name="connsiteY958" fmla="*/ 141166 h 541195"/>
                <a:gd name="connsiteX959" fmla="*/ 3103274 w 4012966"/>
                <a:gd name="connsiteY959" fmla="*/ 141869 h 541195"/>
                <a:gd name="connsiteX960" fmla="*/ 3103412 w 4012966"/>
                <a:gd name="connsiteY960" fmla="*/ 141869 h 541195"/>
                <a:gd name="connsiteX961" fmla="*/ 3103412 w 4012966"/>
                <a:gd name="connsiteY961" fmla="*/ 145440 h 541195"/>
                <a:gd name="connsiteX962" fmla="*/ 3097549 w 4012966"/>
                <a:gd name="connsiteY962" fmla="*/ 145440 h 541195"/>
                <a:gd name="connsiteX963" fmla="*/ 3096277 w 4012966"/>
                <a:gd name="connsiteY963" fmla="*/ 144788 h 541195"/>
                <a:gd name="connsiteX964" fmla="*/ 3095005 w 4012966"/>
                <a:gd name="connsiteY964" fmla="*/ 145457 h 541195"/>
                <a:gd name="connsiteX965" fmla="*/ 3093706 w 4012966"/>
                <a:gd name="connsiteY965" fmla="*/ 146419 h 541195"/>
                <a:gd name="connsiteX966" fmla="*/ 3094977 w 4012966"/>
                <a:gd name="connsiteY966" fmla="*/ 147380 h 541195"/>
                <a:gd name="connsiteX967" fmla="*/ 3094977 w 4012966"/>
                <a:gd name="connsiteY967" fmla="*/ 147414 h 541195"/>
                <a:gd name="connsiteX968" fmla="*/ 3096277 w 4012966"/>
                <a:gd name="connsiteY968" fmla="*/ 148221 h 541195"/>
                <a:gd name="connsiteX969" fmla="*/ 3097577 w 4012966"/>
                <a:gd name="connsiteY969" fmla="*/ 147414 h 541195"/>
                <a:gd name="connsiteX970" fmla="*/ 3103412 w 4012966"/>
                <a:gd name="connsiteY970" fmla="*/ 147397 h 541195"/>
                <a:gd name="connsiteX971" fmla="*/ 3103412 w 4012966"/>
                <a:gd name="connsiteY971" fmla="*/ 155380 h 541195"/>
                <a:gd name="connsiteX972" fmla="*/ 3100259 w 4012966"/>
                <a:gd name="connsiteY972" fmla="*/ 157732 h 541195"/>
                <a:gd name="connsiteX973" fmla="*/ 3102140 w 4012966"/>
                <a:gd name="connsiteY973" fmla="*/ 159723 h 541195"/>
                <a:gd name="connsiteX974" fmla="*/ 3083142 w 4012966"/>
                <a:gd name="connsiteY974" fmla="*/ 239139 h 541195"/>
                <a:gd name="connsiteX975" fmla="*/ 3081372 w 4012966"/>
                <a:gd name="connsiteY975" fmla="*/ 237679 h 541195"/>
                <a:gd name="connsiteX976" fmla="*/ 3082257 w 4012966"/>
                <a:gd name="connsiteY976" fmla="*/ 235671 h 541195"/>
                <a:gd name="connsiteX977" fmla="*/ 3080791 w 4012966"/>
                <a:gd name="connsiteY977" fmla="*/ 234023 h 541195"/>
                <a:gd name="connsiteX978" fmla="*/ 3078717 w 4012966"/>
                <a:gd name="connsiteY978" fmla="*/ 235860 h 541195"/>
                <a:gd name="connsiteX979" fmla="*/ 3079298 w 4012966"/>
                <a:gd name="connsiteY979" fmla="*/ 237783 h 541195"/>
                <a:gd name="connsiteX980" fmla="*/ 3073104 w 4012966"/>
                <a:gd name="connsiteY980" fmla="*/ 245302 h 541195"/>
                <a:gd name="connsiteX981" fmla="*/ 3074293 w 4012966"/>
                <a:gd name="connsiteY981" fmla="*/ 246864 h 541195"/>
                <a:gd name="connsiteX982" fmla="*/ 3074293 w 4012966"/>
                <a:gd name="connsiteY982" fmla="*/ 250091 h 541195"/>
                <a:gd name="connsiteX983" fmla="*/ 3070145 w 4012966"/>
                <a:gd name="connsiteY983" fmla="*/ 253542 h 541195"/>
                <a:gd name="connsiteX984" fmla="*/ 3070310 w 4012966"/>
                <a:gd name="connsiteY984" fmla="*/ 254915 h 541195"/>
                <a:gd name="connsiteX985" fmla="*/ 3071196 w 4012966"/>
                <a:gd name="connsiteY985" fmla="*/ 255739 h 541195"/>
                <a:gd name="connsiteX986" fmla="*/ 3071196 w 4012966"/>
                <a:gd name="connsiteY986" fmla="*/ 260323 h 541195"/>
                <a:gd name="connsiteX987" fmla="*/ 3068845 w 4012966"/>
                <a:gd name="connsiteY987" fmla="*/ 261061 h 541195"/>
                <a:gd name="connsiteX988" fmla="*/ 3068845 w 4012966"/>
                <a:gd name="connsiteY988" fmla="*/ 262709 h 541195"/>
                <a:gd name="connsiteX989" fmla="*/ 3071196 w 4012966"/>
                <a:gd name="connsiteY989" fmla="*/ 263997 h 541195"/>
                <a:gd name="connsiteX990" fmla="*/ 3070615 w 4012966"/>
                <a:gd name="connsiteY990" fmla="*/ 275722 h 541195"/>
                <a:gd name="connsiteX991" fmla="*/ 3068984 w 4012966"/>
                <a:gd name="connsiteY991" fmla="*/ 276546 h 541195"/>
                <a:gd name="connsiteX992" fmla="*/ 3068984 w 4012966"/>
                <a:gd name="connsiteY992" fmla="*/ 278297 h 541195"/>
                <a:gd name="connsiteX993" fmla="*/ 3070615 w 4012966"/>
                <a:gd name="connsiteY993" fmla="*/ 279584 h 541195"/>
                <a:gd name="connsiteX994" fmla="*/ 3069564 w 4012966"/>
                <a:gd name="connsiteY994" fmla="*/ 320185 h 541195"/>
                <a:gd name="connsiteX995" fmla="*/ 3060715 w 4012966"/>
                <a:gd name="connsiteY995" fmla="*/ 323395 h 541195"/>
                <a:gd name="connsiteX996" fmla="*/ 3061876 w 4012966"/>
                <a:gd name="connsiteY996" fmla="*/ 326142 h 541195"/>
                <a:gd name="connsiteX997" fmla="*/ 3063508 w 4012966"/>
                <a:gd name="connsiteY997" fmla="*/ 326142 h 541195"/>
                <a:gd name="connsiteX998" fmla="*/ 3060550 w 4012966"/>
                <a:gd name="connsiteY998" fmla="*/ 331189 h 541195"/>
                <a:gd name="connsiteX999" fmla="*/ 3057895 w 4012966"/>
                <a:gd name="connsiteY999" fmla="*/ 331189 h 541195"/>
                <a:gd name="connsiteX1000" fmla="*/ 3057895 w 4012966"/>
                <a:gd name="connsiteY1000" fmla="*/ 339893 h 541195"/>
                <a:gd name="connsiteX1001" fmla="*/ 3044455 w 4012966"/>
                <a:gd name="connsiteY1001" fmla="*/ 344013 h 541195"/>
                <a:gd name="connsiteX1002" fmla="*/ 3044455 w 4012966"/>
                <a:gd name="connsiteY1002" fmla="*/ 337421 h 541195"/>
                <a:gd name="connsiteX1003" fmla="*/ 3042381 w 4012966"/>
                <a:gd name="connsiteY1003" fmla="*/ 337335 h 541195"/>
                <a:gd name="connsiteX1004" fmla="*/ 3040473 w 4012966"/>
                <a:gd name="connsiteY1004" fmla="*/ 333850 h 541195"/>
                <a:gd name="connsiteX1005" fmla="*/ 3041220 w 4012966"/>
                <a:gd name="connsiteY1005" fmla="*/ 332940 h 541195"/>
                <a:gd name="connsiteX1006" fmla="*/ 3040334 w 4012966"/>
                <a:gd name="connsiteY1006" fmla="*/ 332116 h 541195"/>
                <a:gd name="connsiteX1007" fmla="*/ 3041220 w 4012966"/>
                <a:gd name="connsiteY1007" fmla="*/ 330932 h 541195"/>
                <a:gd name="connsiteX1008" fmla="*/ 3039450 w 4012966"/>
                <a:gd name="connsiteY1008" fmla="*/ 329558 h 541195"/>
                <a:gd name="connsiteX1009" fmla="*/ 3037542 w 4012966"/>
                <a:gd name="connsiteY1009" fmla="*/ 331017 h 541195"/>
                <a:gd name="connsiteX1010" fmla="*/ 3038288 w 4012966"/>
                <a:gd name="connsiteY1010" fmla="*/ 332202 h 541195"/>
                <a:gd name="connsiteX1011" fmla="*/ 3037404 w 4012966"/>
                <a:gd name="connsiteY1011" fmla="*/ 333112 h 541195"/>
                <a:gd name="connsiteX1012" fmla="*/ 3037984 w 4012966"/>
                <a:gd name="connsiteY1012" fmla="*/ 333472 h 541195"/>
                <a:gd name="connsiteX1013" fmla="*/ 3036518 w 4012966"/>
                <a:gd name="connsiteY1013" fmla="*/ 336957 h 541195"/>
                <a:gd name="connsiteX1014" fmla="*/ 3034444 w 4012966"/>
                <a:gd name="connsiteY1014" fmla="*/ 336957 h 541195"/>
                <a:gd name="connsiteX1015" fmla="*/ 3034444 w 4012966"/>
                <a:gd name="connsiteY1015" fmla="*/ 347103 h 541195"/>
                <a:gd name="connsiteX1016" fmla="*/ 2991140 w 4012966"/>
                <a:gd name="connsiteY1016" fmla="*/ 360407 h 541195"/>
                <a:gd name="connsiteX1017" fmla="*/ 2990890 w 4012966"/>
                <a:gd name="connsiteY1017" fmla="*/ 357215 h 541195"/>
                <a:gd name="connsiteX1018" fmla="*/ 2992661 w 4012966"/>
                <a:gd name="connsiteY1018" fmla="*/ 355841 h 541195"/>
                <a:gd name="connsiteX1019" fmla="*/ 2986300 w 4012966"/>
                <a:gd name="connsiteY1019" fmla="*/ 347034 h 541195"/>
                <a:gd name="connsiteX1020" fmla="*/ 2987628 w 4012966"/>
                <a:gd name="connsiteY1020" fmla="*/ 346022 h 541195"/>
                <a:gd name="connsiteX1021" fmla="*/ 2985277 w 4012966"/>
                <a:gd name="connsiteY1021" fmla="*/ 345472 h 541195"/>
                <a:gd name="connsiteX1022" fmla="*/ 2986466 w 4012966"/>
                <a:gd name="connsiteY1022" fmla="*/ 344373 h 541195"/>
                <a:gd name="connsiteX1023" fmla="*/ 2984558 w 4012966"/>
                <a:gd name="connsiteY1023" fmla="*/ 341987 h 541195"/>
                <a:gd name="connsiteX1024" fmla="*/ 2982346 w 4012966"/>
                <a:gd name="connsiteY1024" fmla="*/ 344373 h 541195"/>
                <a:gd name="connsiteX1025" fmla="*/ 2983534 w 4012966"/>
                <a:gd name="connsiteY1025" fmla="*/ 345661 h 541195"/>
                <a:gd name="connsiteX1026" fmla="*/ 2981765 w 4012966"/>
                <a:gd name="connsiteY1026" fmla="*/ 346125 h 541195"/>
                <a:gd name="connsiteX1027" fmla="*/ 2982484 w 4012966"/>
                <a:gd name="connsiteY1027" fmla="*/ 346863 h 541195"/>
                <a:gd name="connsiteX1028" fmla="*/ 2980410 w 4012966"/>
                <a:gd name="connsiteY1028" fmla="*/ 349712 h 541195"/>
                <a:gd name="connsiteX1029" fmla="*/ 2979083 w 4012966"/>
                <a:gd name="connsiteY1029" fmla="*/ 349712 h 541195"/>
                <a:gd name="connsiteX1030" fmla="*/ 2975239 w 4012966"/>
                <a:gd name="connsiteY1030" fmla="*/ 355858 h 541195"/>
                <a:gd name="connsiteX1031" fmla="*/ 2976732 w 4012966"/>
                <a:gd name="connsiteY1031" fmla="*/ 356854 h 541195"/>
                <a:gd name="connsiteX1032" fmla="*/ 2976732 w 4012966"/>
                <a:gd name="connsiteY1032" fmla="*/ 361523 h 541195"/>
                <a:gd name="connsiteX1033" fmla="*/ 2972308 w 4012966"/>
                <a:gd name="connsiteY1033" fmla="*/ 362433 h 541195"/>
                <a:gd name="connsiteX1034" fmla="*/ 2972308 w 4012966"/>
                <a:gd name="connsiteY1034" fmla="*/ 364631 h 541195"/>
                <a:gd name="connsiteX1035" fmla="*/ 2973746 w 4012966"/>
                <a:gd name="connsiteY1035" fmla="*/ 365764 h 541195"/>
                <a:gd name="connsiteX1036" fmla="*/ 2970538 w 4012966"/>
                <a:gd name="connsiteY1036" fmla="*/ 366742 h 541195"/>
                <a:gd name="connsiteX1037" fmla="*/ 2970538 w 4012966"/>
                <a:gd name="connsiteY1037" fmla="*/ 409901 h 541195"/>
                <a:gd name="connsiteX1038" fmla="*/ 2966113 w 4012966"/>
                <a:gd name="connsiteY1038" fmla="*/ 413471 h 541195"/>
                <a:gd name="connsiteX1039" fmla="*/ 2957375 w 4012966"/>
                <a:gd name="connsiteY1039" fmla="*/ 521642 h 541195"/>
                <a:gd name="connsiteX1040" fmla="*/ 2952176 w 4012966"/>
                <a:gd name="connsiteY1040" fmla="*/ 171019 h 541195"/>
                <a:gd name="connsiteX1041" fmla="*/ 2946645 w 4012966"/>
                <a:gd name="connsiteY1041" fmla="*/ 171019 h 541195"/>
                <a:gd name="connsiteX1042" fmla="*/ 2946645 w 4012966"/>
                <a:gd name="connsiteY1042" fmla="*/ 160135 h 541195"/>
                <a:gd name="connsiteX1043" fmla="*/ 2952176 w 4012966"/>
                <a:gd name="connsiteY1043" fmla="*/ 160135 h 541195"/>
                <a:gd name="connsiteX1044" fmla="*/ 2952176 w 4012966"/>
                <a:gd name="connsiteY1044" fmla="*/ 149818 h 541195"/>
                <a:gd name="connsiteX1045" fmla="*/ 2868138 w 4012966"/>
                <a:gd name="connsiteY1045" fmla="*/ 149818 h 541195"/>
                <a:gd name="connsiteX1046" fmla="*/ 2868138 w 4012966"/>
                <a:gd name="connsiteY1046" fmla="*/ 132633 h 541195"/>
                <a:gd name="connsiteX1047" fmla="*/ 2767508 w 4012966"/>
                <a:gd name="connsiteY1047" fmla="*/ 132633 h 541195"/>
                <a:gd name="connsiteX1048" fmla="*/ 2767508 w 4012966"/>
                <a:gd name="connsiteY1048" fmla="*/ 149818 h 541195"/>
                <a:gd name="connsiteX1049" fmla="*/ 2683469 w 4012966"/>
                <a:gd name="connsiteY1049" fmla="*/ 149818 h 541195"/>
                <a:gd name="connsiteX1050" fmla="*/ 2683469 w 4012966"/>
                <a:gd name="connsiteY1050" fmla="*/ 160135 h 541195"/>
                <a:gd name="connsiteX1051" fmla="*/ 2689940 w 4012966"/>
                <a:gd name="connsiteY1051" fmla="*/ 160135 h 541195"/>
                <a:gd name="connsiteX1052" fmla="*/ 2689940 w 4012966"/>
                <a:gd name="connsiteY1052" fmla="*/ 171019 h 541195"/>
                <a:gd name="connsiteX1053" fmla="*/ 2683469 w 4012966"/>
                <a:gd name="connsiteY1053" fmla="*/ 171019 h 541195"/>
                <a:gd name="connsiteX1054" fmla="*/ 2678851 w 4012966"/>
                <a:gd name="connsiteY1054" fmla="*/ 354399 h 541195"/>
                <a:gd name="connsiteX1055" fmla="*/ 2582728 w 4012966"/>
                <a:gd name="connsiteY1055" fmla="*/ 354399 h 541195"/>
                <a:gd name="connsiteX1056" fmla="*/ 2579133 w 4012966"/>
                <a:gd name="connsiteY1056" fmla="*/ 99398 h 541195"/>
                <a:gd name="connsiteX1057" fmla="*/ 2536658 w 4012966"/>
                <a:gd name="connsiteY1057" fmla="*/ 99398 h 541195"/>
                <a:gd name="connsiteX1058" fmla="*/ 2536658 w 4012966"/>
                <a:gd name="connsiteY1058" fmla="*/ 86213 h 541195"/>
                <a:gd name="connsiteX1059" fmla="*/ 2529275 w 4012966"/>
                <a:gd name="connsiteY1059" fmla="*/ 86213 h 541195"/>
                <a:gd name="connsiteX1060" fmla="*/ 2529275 w 4012966"/>
                <a:gd name="connsiteY1060" fmla="*/ 99398 h 541195"/>
                <a:gd name="connsiteX1061" fmla="*/ 2491390 w 4012966"/>
                <a:gd name="connsiteY1061" fmla="*/ 99398 h 541195"/>
                <a:gd name="connsiteX1062" fmla="*/ 2491390 w 4012966"/>
                <a:gd name="connsiteY1062" fmla="*/ 90797 h 541195"/>
                <a:gd name="connsiteX1063" fmla="*/ 2411057 w 4012966"/>
                <a:gd name="connsiteY1063" fmla="*/ 90797 h 541195"/>
                <a:gd name="connsiteX1064" fmla="*/ 2411057 w 4012966"/>
                <a:gd name="connsiteY1064" fmla="*/ 99398 h 541195"/>
                <a:gd name="connsiteX1065" fmla="*/ 2324254 w 4012966"/>
                <a:gd name="connsiteY1065" fmla="*/ 99398 h 541195"/>
                <a:gd name="connsiteX1066" fmla="*/ 2320603 w 4012966"/>
                <a:gd name="connsiteY1066" fmla="*/ 335258 h 541195"/>
                <a:gd name="connsiteX1067" fmla="*/ 2379588 w 4012966"/>
                <a:gd name="connsiteY1067" fmla="*/ 327017 h 541195"/>
                <a:gd name="connsiteX1068" fmla="*/ 2460307 w 4012966"/>
                <a:gd name="connsiteY1068" fmla="*/ 342880 h 541195"/>
                <a:gd name="connsiteX1069" fmla="*/ 2508369 w 4012966"/>
                <a:gd name="connsiteY1069" fmla="*/ 378124 h 541195"/>
                <a:gd name="connsiteX1070" fmla="*/ 2534723 w 4012966"/>
                <a:gd name="connsiteY1070" fmla="*/ 378124 h 541195"/>
                <a:gd name="connsiteX1071" fmla="*/ 2534723 w 4012966"/>
                <a:gd name="connsiteY1071" fmla="*/ 395669 h 541195"/>
                <a:gd name="connsiteX1072" fmla="*/ 2583171 w 4012966"/>
                <a:gd name="connsiteY1072" fmla="*/ 395669 h 541195"/>
                <a:gd name="connsiteX1073" fmla="*/ 2583171 w 4012966"/>
                <a:gd name="connsiteY1073" fmla="*/ 395154 h 541195"/>
                <a:gd name="connsiteX1074" fmla="*/ 2583254 w 4012966"/>
                <a:gd name="connsiteY1074" fmla="*/ 395154 h 541195"/>
                <a:gd name="connsiteX1075" fmla="*/ 2583171 w 4012966"/>
                <a:gd name="connsiteY1075" fmla="*/ 389351 h 541195"/>
                <a:gd name="connsiteX1076" fmla="*/ 2677938 w 4012966"/>
                <a:gd name="connsiteY1076" fmla="*/ 389351 h 541195"/>
                <a:gd name="connsiteX1077" fmla="*/ 2677773 w 4012966"/>
                <a:gd name="connsiteY1077" fmla="*/ 395686 h 541195"/>
                <a:gd name="connsiteX1078" fmla="*/ 2871566 w 4012966"/>
                <a:gd name="connsiteY1078" fmla="*/ 395686 h 541195"/>
                <a:gd name="connsiteX1079" fmla="*/ 2865981 w 4012966"/>
                <a:gd name="connsiteY1079" fmla="*/ 520852 h 541195"/>
                <a:gd name="connsiteX1080" fmla="*/ 2857657 w 4012966"/>
                <a:gd name="connsiteY1080" fmla="*/ 404321 h 541195"/>
                <a:gd name="connsiteX1081" fmla="*/ 2416615 w 4012966"/>
                <a:gd name="connsiteY1081" fmla="*/ 404321 h 541195"/>
                <a:gd name="connsiteX1082" fmla="*/ 2409509 w 4012966"/>
                <a:gd name="connsiteY1082" fmla="*/ 522037 h 541195"/>
                <a:gd name="connsiteX1083" fmla="*/ 2403342 w 4012966"/>
                <a:gd name="connsiteY1083" fmla="*/ 396613 h 541195"/>
                <a:gd name="connsiteX1084" fmla="*/ 2520813 w 4012966"/>
                <a:gd name="connsiteY1084" fmla="*/ 396613 h 541195"/>
                <a:gd name="connsiteX1085" fmla="*/ 2520813 w 4012966"/>
                <a:gd name="connsiteY1085" fmla="*/ 386776 h 541195"/>
                <a:gd name="connsiteX1086" fmla="*/ 2499299 w 4012966"/>
                <a:gd name="connsiteY1086" fmla="*/ 386776 h 541195"/>
                <a:gd name="connsiteX1087" fmla="*/ 2379560 w 4012966"/>
                <a:gd name="connsiteY1087" fmla="*/ 335670 h 541195"/>
                <a:gd name="connsiteX1088" fmla="*/ 2259821 w 4012966"/>
                <a:gd name="connsiteY1088" fmla="*/ 386776 h 541195"/>
                <a:gd name="connsiteX1089" fmla="*/ 2240520 w 4012966"/>
                <a:gd name="connsiteY1089" fmla="*/ 386776 h 541195"/>
                <a:gd name="connsiteX1090" fmla="*/ 2231338 w 4012966"/>
                <a:gd name="connsiteY1090" fmla="*/ 523479 h 541195"/>
                <a:gd name="connsiteX1091" fmla="*/ 2223734 w 4012966"/>
                <a:gd name="connsiteY1091" fmla="*/ 415068 h 541195"/>
                <a:gd name="connsiteX1092" fmla="*/ 2215189 w 4012966"/>
                <a:gd name="connsiteY1092" fmla="*/ 415480 h 541195"/>
                <a:gd name="connsiteX1093" fmla="*/ 2215189 w 4012966"/>
                <a:gd name="connsiteY1093" fmla="*/ 411737 h 541195"/>
                <a:gd name="connsiteX1094" fmla="*/ 2090002 w 4012966"/>
                <a:gd name="connsiteY1094" fmla="*/ 411737 h 541195"/>
                <a:gd name="connsiteX1095" fmla="*/ 2090002 w 4012966"/>
                <a:gd name="connsiteY1095" fmla="*/ 393609 h 541195"/>
                <a:gd name="connsiteX1096" fmla="*/ 2025903 w 4012966"/>
                <a:gd name="connsiteY1096" fmla="*/ 393609 h 541195"/>
                <a:gd name="connsiteX1097" fmla="*/ 2025903 w 4012966"/>
                <a:gd name="connsiteY1097" fmla="*/ 230727 h 541195"/>
                <a:gd name="connsiteX1098" fmla="*/ 2023884 w 4012966"/>
                <a:gd name="connsiteY1098" fmla="*/ 230727 h 541195"/>
                <a:gd name="connsiteX1099" fmla="*/ 2023884 w 4012966"/>
                <a:gd name="connsiteY1099" fmla="*/ 225731 h 541195"/>
                <a:gd name="connsiteX1100" fmla="*/ 2024299 w 4012966"/>
                <a:gd name="connsiteY1100" fmla="*/ 225010 h 541195"/>
                <a:gd name="connsiteX1101" fmla="*/ 2024299 w 4012966"/>
                <a:gd name="connsiteY1101" fmla="*/ 223911 h 541195"/>
                <a:gd name="connsiteX1102" fmla="*/ 2023469 w 4012966"/>
                <a:gd name="connsiteY1102" fmla="*/ 223499 h 541195"/>
                <a:gd name="connsiteX1103" fmla="*/ 2023469 w 4012966"/>
                <a:gd name="connsiteY1103" fmla="*/ 221456 h 541195"/>
                <a:gd name="connsiteX1104" fmla="*/ 2022611 w 4012966"/>
                <a:gd name="connsiteY1104" fmla="*/ 221199 h 541195"/>
                <a:gd name="connsiteX1105" fmla="*/ 2022611 w 4012966"/>
                <a:gd name="connsiteY1105" fmla="*/ 209800 h 541195"/>
                <a:gd name="connsiteX1106" fmla="*/ 2024299 w 4012966"/>
                <a:gd name="connsiteY1106" fmla="*/ 208289 h 541195"/>
                <a:gd name="connsiteX1107" fmla="*/ 2024299 w 4012966"/>
                <a:gd name="connsiteY1107" fmla="*/ 204495 h 541195"/>
                <a:gd name="connsiteX1108" fmla="*/ 2022611 w 4012966"/>
                <a:gd name="connsiteY1108" fmla="*/ 201525 h 541195"/>
                <a:gd name="connsiteX1109" fmla="*/ 2021616 w 4012966"/>
                <a:gd name="connsiteY1109" fmla="*/ 201525 h 541195"/>
                <a:gd name="connsiteX1110" fmla="*/ 2021616 w 4012966"/>
                <a:gd name="connsiteY1110" fmla="*/ 196942 h 541195"/>
                <a:gd name="connsiteX1111" fmla="*/ 2015062 w 4012966"/>
                <a:gd name="connsiteY1111" fmla="*/ 194178 h 541195"/>
                <a:gd name="connsiteX1112" fmla="*/ 2012131 w 4012966"/>
                <a:gd name="connsiteY1112" fmla="*/ 194178 h 541195"/>
                <a:gd name="connsiteX1113" fmla="*/ 2012131 w 4012966"/>
                <a:gd name="connsiteY1113" fmla="*/ 193388 h 541195"/>
                <a:gd name="connsiteX1114" fmla="*/ 2010444 w 4012966"/>
                <a:gd name="connsiteY1114" fmla="*/ 193028 h 541195"/>
                <a:gd name="connsiteX1115" fmla="*/ 2010444 w 4012966"/>
                <a:gd name="connsiteY1115" fmla="*/ 190058 h 541195"/>
                <a:gd name="connsiteX1116" fmla="*/ 2008758 w 4012966"/>
                <a:gd name="connsiteY1116" fmla="*/ 189131 h 541195"/>
                <a:gd name="connsiteX1117" fmla="*/ 2008758 w 4012966"/>
                <a:gd name="connsiteY1117" fmla="*/ 186882 h 541195"/>
                <a:gd name="connsiteX1118" fmla="*/ 2007486 w 4012966"/>
                <a:gd name="connsiteY1118" fmla="*/ 186882 h 541195"/>
                <a:gd name="connsiteX1119" fmla="*/ 2007486 w 4012966"/>
                <a:gd name="connsiteY1119" fmla="*/ 188444 h 541195"/>
                <a:gd name="connsiteX1120" fmla="*/ 2003614 w 4012966"/>
                <a:gd name="connsiteY1120" fmla="*/ 186315 h 541195"/>
                <a:gd name="connsiteX1121" fmla="*/ 2003614 w 4012966"/>
                <a:gd name="connsiteY1121" fmla="*/ 159757 h 541195"/>
                <a:gd name="connsiteX1122" fmla="*/ 2000102 w 4012966"/>
                <a:gd name="connsiteY1122" fmla="*/ 156736 h 541195"/>
                <a:gd name="connsiteX1123" fmla="*/ 2000102 w 4012966"/>
                <a:gd name="connsiteY1123" fmla="*/ 153200 h 541195"/>
                <a:gd name="connsiteX1124" fmla="*/ 1998747 w 4012966"/>
                <a:gd name="connsiteY1124" fmla="*/ 151792 h 541195"/>
                <a:gd name="connsiteX1125" fmla="*/ 1999660 w 4012966"/>
                <a:gd name="connsiteY1125" fmla="*/ 151002 h 541195"/>
                <a:gd name="connsiteX1126" fmla="*/ 1998249 w 4012966"/>
                <a:gd name="connsiteY1126" fmla="*/ 149131 h 541195"/>
                <a:gd name="connsiteX1127" fmla="*/ 1996811 w 4012966"/>
                <a:gd name="connsiteY1127" fmla="*/ 150436 h 541195"/>
                <a:gd name="connsiteX1128" fmla="*/ 1994709 w 4012966"/>
                <a:gd name="connsiteY1128" fmla="*/ 149131 h 541195"/>
                <a:gd name="connsiteX1129" fmla="*/ 1994709 w 4012966"/>
                <a:gd name="connsiteY1129" fmla="*/ 146573 h 541195"/>
                <a:gd name="connsiteX1130" fmla="*/ 1992857 w 4012966"/>
                <a:gd name="connsiteY1130" fmla="*/ 145423 h 541195"/>
                <a:gd name="connsiteX1131" fmla="*/ 1992857 w 4012966"/>
                <a:gd name="connsiteY1131" fmla="*/ 142607 h 541195"/>
                <a:gd name="connsiteX1132" fmla="*/ 1989152 w 4012966"/>
                <a:gd name="connsiteY1132" fmla="*/ 140462 h 541195"/>
                <a:gd name="connsiteX1133" fmla="*/ 1984118 w 4012966"/>
                <a:gd name="connsiteY1133" fmla="*/ 140462 h 541195"/>
                <a:gd name="connsiteX1134" fmla="*/ 1983455 w 4012966"/>
                <a:gd name="connsiteY1134" fmla="*/ 140050 h 541195"/>
                <a:gd name="connsiteX1135" fmla="*/ 1983455 w 4012966"/>
                <a:gd name="connsiteY1135" fmla="*/ 126247 h 541195"/>
                <a:gd name="connsiteX1136" fmla="*/ 1978339 w 4012966"/>
                <a:gd name="connsiteY1136" fmla="*/ 123792 h 541195"/>
                <a:gd name="connsiteX1137" fmla="*/ 1978339 w 4012966"/>
                <a:gd name="connsiteY1137" fmla="*/ 122917 h 541195"/>
                <a:gd name="connsiteX1138" fmla="*/ 1975380 w 4012966"/>
                <a:gd name="connsiteY1138" fmla="*/ 121938 h 541195"/>
                <a:gd name="connsiteX1139" fmla="*/ 1975380 w 4012966"/>
                <a:gd name="connsiteY1139" fmla="*/ 106419 h 541195"/>
                <a:gd name="connsiteX1140" fmla="*/ 1974550 w 4012966"/>
                <a:gd name="connsiteY1140" fmla="*/ 106419 h 541195"/>
                <a:gd name="connsiteX1141" fmla="*/ 1974550 w 4012966"/>
                <a:gd name="connsiteY1141" fmla="*/ 108428 h 541195"/>
                <a:gd name="connsiteX1142" fmla="*/ 1969711 w 4012966"/>
                <a:gd name="connsiteY1142" fmla="*/ 108204 h 541195"/>
                <a:gd name="connsiteX1143" fmla="*/ 1965895 w 4012966"/>
                <a:gd name="connsiteY1143" fmla="*/ 107982 h 541195"/>
                <a:gd name="connsiteX1144" fmla="*/ 1964208 w 4012966"/>
                <a:gd name="connsiteY1144" fmla="*/ 108582 h 541195"/>
                <a:gd name="connsiteX1145" fmla="*/ 1965314 w 4012966"/>
                <a:gd name="connsiteY1145" fmla="*/ 110728 h 541195"/>
                <a:gd name="connsiteX1146" fmla="*/ 1968163 w 4012966"/>
                <a:gd name="connsiteY1146" fmla="*/ 110882 h 541195"/>
                <a:gd name="connsiteX1147" fmla="*/ 1971426 w 4012966"/>
                <a:gd name="connsiteY1147" fmla="*/ 111535 h 541195"/>
                <a:gd name="connsiteX1148" fmla="*/ 1973527 w 4012966"/>
                <a:gd name="connsiteY1148" fmla="*/ 111827 h 541195"/>
                <a:gd name="connsiteX1149" fmla="*/ 1974523 w 4012966"/>
                <a:gd name="connsiteY1149" fmla="*/ 112290 h 541195"/>
                <a:gd name="connsiteX1150" fmla="*/ 1974523 w 4012966"/>
                <a:gd name="connsiteY1150" fmla="*/ 113080 h 541195"/>
                <a:gd name="connsiteX1151" fmla="*/ 1971370 w 4012966"/>
                <a:gd name="connsiteY1151" fmla="*/ 112599 h 541195"/>
                <a:gd name="connsiteX1152" fmla="*/ 1969296 w 4012966"/>
                <a:gd name="connsiteY1152" fmla="*/ 113475 h 541195"/>
                <a:gd name="connsiteX1153" fmla="*/ 1967250 w 4012966"/>
                <a:gd name="connsiteY1153" fmla="*/ 113887 h 541195"/>
                <a:gd name="connsiteX1154" fmla="*/ 1967637 w 4012966"/>
                <a:gd name="connsiteY1154" fmla="*/ 114677 h 541195"/>
                <a:gd name="connsiteX1155" fmla="*/ 1971619 w 4012966"/>
                <a:gd name="connsiteY1155" fmla="*/ 115054 h 541195"/>
                <a:gd name="connsiteX1156" fmla="*/ 1973748 w 4012966"/>
                <a:gd name="connsiteY1156" fmla="*/ 115295 h 541195"/>
                <a:gd name="connsiteX1157" fmla="*/ 1974523 w 4012966"/>
                <a:gd name="connsiteY1157" fmla="*/ 115157 h 541195"/>
                <a:gd name="connsiteX1158" fmla="*/ 1974523 w 4012966"/>
                <a:gd name="connsiteY1158" fmla="*/ 116513 h 541195"/>
                <a:gd name="connsiteX1159" fmla="*/ 1973195 w 4012966"/>
                <a:gd name="connsiteY1159" fmla="*/ 116136 h 541195"/>
                <a:gd name="connsiteX1160" fmla="*/ 1970928 w 4012966"/>
                <a:gd name="connsiteY1160" fmla="*/ 115724 h 541195"/>
                <a:gd name="connsiteX1161" fmla="*/ 1968245 w 4012966"/>
                <a:gd name="connsiteY1161" fmla="*/ 115466 h 541195"/>
                <a:gd name="connsiteX1162" fmla="*/ 1967858 w 4012966"/>
                <a:gd name="connsiteY1162" fmla="*/ 116393 h 541195"/>
                <a:gd name="connsiteX1163" fmla="*/ 1971121 w 4012966"/>
                <a:gd name="connsiteY1163" fmla="*/ 118471 h 541195"/>
                <a:gd name="connsiteX1164" fmla="*/ 1973720 w 4012966"/>
                <a:gd name="connsiteY1164" fmla="*/ 118882 h 541195"/>
                <a:gd name="connsiteX1165" fmla="*/ 1974495 w 4012966"/>
                <a:gd name="connsiteY1165" fmla="*/ 119329 h 541195"/>
                <a:gd name="connsiteX1166" fmla="*/ 1974495 w 4012966"/>
                <a:gd name="connsiteY1166" fmla="*/ 121956 h 541195"/>
                <a:gd name="connsiteX1167" fmla="*/ 1971702 w 4012966"/>
                <a:gd name="connsiteY1167" fmla="*/ 122882 h 541195"/>
                <a:gd name="connsiteX1168" fmla="*/ 1971702 w 4012966"/>
                <a:gd name="connsiteY1168" fmla="*/ 123775 h 541195"/>
                <a:gd name="connsiteX1169" fmla="*/ 1966586 w 4012966"/>
                <a:gd name="connsiteY1169" fmla="*/ 126213 h 541195"/>
                <a:gd name="connsiteX1170" fmla="*/ 1966586 w 4012966"/>
                <a:gd name="connsiteY1170" fmla="*/ 140016 h 541195"/>
                <a:gd name="connsiteX1171" fmla="*/ 1965923 w 4012966"/>
                <a:gd name="connsiteY1171" fmla="*/ 140427 h 541195"/>
                <a:gd name="connsiteX1172" fmla="*/ 1960890 w 4012966"/>
                <a:gd name="connsiteY1172" fmla="*/ 140427 h 541195"/>
                <a:gd name="connsiteX1173" fmla="*/ 1957212 w 4012966"/>
                <a:gd name="connsiteY1173" fmla="*/ 142556 h 541195"/>
                <a:gd name="connsiteX1174" fmla="*/ 1957212 w 4012966"/>
                <a:gd name="connsiteY1174" fmla="*/ 145371 h 541195"/>
                <a:gd name="connsiteX1175" fmla="*/ 1955359 w 4012966"/>
                <a:gd name="connsiteY1175" fmla="*/ 146522 h 541195"/>
                <a:gd name="connsiteX1176" fmla="*/ 1955359 w 4012966"/>
                <a:gd name="connsiteY1176" fmla="*/ 149062 h 541195"/>
                <a:gd name="connsiteX1177" fmla="*/ 1953257 w 4012966"/>
                <a:gd name="connsiteY1177" fmla="*/ 150367 h 541195"/>
                <a:gd name="connsiteX1178" fmla="*/ 1951820 w 4012966"/>
                <a:gd name="connsiteY1178" fmla="*/ 149062 h 541195"/>
                <a:gd name="connsiteX1179" fmla="*/ 1950409 w 4012966"/>
                <a:gd name="connsiteY1179" fmla="*/ 150934 h 541195"/>
                <a:gd name="connsiteX1180" fmla="*/ 1951322 w 4012966"/>
                <a:gd name="connsiteY1180" fmla="*/ 151706 h 541195"/>
                <a:gd name="connsiteX1181" fmla="*/ 1949966 w 4012966"/>
                <a:gd name="connsiteY1181" fmla="*/ 153114 h 541195"/>
                <a:gd name="connsiteX1182" fmla="*/ 1949966 w 4012966"/>
                <a:gd name="connsiteY1182" fmla="*/ 156651 h 541195"/>
                <a:gd name="connsiteX1183" fmla="*/ 1946455 w 4012966"/>
                <a:gd name="connsiteY1183" fmla="*/ 159672 h 541195"/>
                <a:gd name="connsiteX1184" fmla="*/ 1946455 w 4012966"/>
                <a:gd name="connsiteY1184" fmla="*/ 186230 h 541195"/>
                <a:gd name="connsiteX1185" fmla="*/ 1942583 w 4012966"/>
                <a:gd name="connsiteY1185" fmla="*/ 188358 h 541195"/>
                <a:gd name="connsiteX1186" fmla="*/ 1942583 w 4012966"/>
                <a:gd name="connsiteY1186" fmla="*/ 186813 h 541195"/>
                <a:gd name="connsiteX1187" fmla="*/ 1941339 w 4012966"/>
                <a:gd name="connsiteY1187" fmla="*/ 186813 h 541195"/>
                <a:gd name="connsiteX1188" fmla="*/ 1941339 w 4012966"/>
                <a:gd name="connsiteY1188" fmla="*/ 189062 h 541195"/>
                <a:gd name="connsiteX1189" fmla="*/ 1939652 w 4012966"/>
                <a:gd name="connsiteY1189" fmla="*/ 189989 h 541195"/>
                <a:gd name="connsiteX1190" fmla="*/ 1939652 w 4012966"/>
                <a:gd name="connsiteY1190" fmla="*/ 192959 h 541195"/>
                <a:gd name="connsiteX1191" fmla="*/ 1937965 w 4012966"/>
                <a:gd name="connsiteY1191" fmla="*/ 193336 h 541195"/>
                <a:gd name="connsiteX1192" fmla="*/ 1937965 w 4012966"/>
                <a:gd name="connsiteY1192" fmla="*/ 194109 h 541195"/>
                <a:gd name="connsiteX1193" fmla="*/ 1935034 w 4012966"/>
                <a:gd name="connsiteY1193" fmla="*/ 194109 h 541195"/>
                <a:gd name="connsiteX1194" fmla="*/ 1928480 w 4012966"/>
                <a:gd name="connsiteY1194" fmla="*/ 196873 h 541195"/>
                <a:gd name="connsiteX1195" fmla="*/ 1928480 w 4012966"/>
                <a:gd name="connsiteY1195" fmla="*/ 201456 h 541195"/>
                <a:gd name="connsiteX1196" fmla="*/ 1927484 w 4012966"/>
                <a:gd name="connsiteY1196" fmla="*/ 201456 h 541195"/>
                <a:gd name="connsiteX1197" fmla="*/ 1925797 w 4012966"/>
                <a:gd name="connsiteY1197" fmla="*/ 204426 h 541195"/>
                <a:gd name="connsiteX1198" fmla="*/ 1925797 w 4012966"/>
                <a:gd name="connsiteY1198" fmla="*/ 208238 h 541195"/>
                <a:gd name="connsiteX1199" fmla="*/ 1927484 w 4012966"/>
                <a:gd name="connsiteY1199" fmla="*/ 209749 h 541195"/>
                <a:gd name="connsiteX1200" fmla="*/ 1927484 w 4012966"/>
                <a:gd name="connsiteY1200" fmla="*/ 221148 h 541195"/>
                <a:gd name="connsiteX1201" fmla="*/ 1926655 w 4012966"/>
                <a:gd name="connsiteY1201" fmla="*/ 221405 h 541195"/>
                <a:gd name="connsiteX1202" fmla="*/ 1926655 w 4012966"/>
                <a:gd name="connsiteY1202" fmla="*/ 223430 h 541195"/>
                <a:gd name="connsiteX1203" fmla="*/ 1925825 w 4012966"/>
                <a:gd name="connsiteY1203" fmla="*/ 223843 h 541195"/>
                <a:gd name="connsiteX1204" fmla="*/ 1925825 w 4012966"/>
                <a:gd name="connsiteY1204" fmla="*/ 224941 h 541195"/>
                <a:gd name="connsiteX1205" fmla="*/ 1926240 w 4012966"/>
                <a:gd name="connsiteY1205" fmla="*/ 225662 h 541195"/>
                <a:gd name="connsiteX1206" fmla="*/ 1926240 w 4012966"/>
                <a:gd name="connsiteY1206" fmla="*/ 230658 h 541195"/>
                <a:gd name="connsiteX1207" fmla="*/ 1924221 w 4012966"/>
                <a:gd name="connsiteY1207" fmla="*/ 230658 h 541195"/>
                <a:gd name="connsiteX1208" fmla="*/ 1924221 w 4012966"/>
                <a:gd name="connsiteY1208" fmla="*/ 393541 h 541195"/>
                <a:gd name="connsiteX1209" fmla="*/ 1860121 w 4012966"/>
                <a:gd name="connsiteY1209" fmla="*/ 393541 h 541195"/>
                <a:gd name="connsiteX1210" fmla="*/ 1860121 w 4012966"/>
                <a:gd name="connsiteY1210" fmla="*/ 411669 h 541195"/>
                <a:gd name="connsiteX1211" fmla="*/ 1734934 w 4012966"/>
                <a:gd name="connsiteY1211" fmla="*/ 411669 h 541195"/>
                <a:gd name="connsiteX1212" fmla="*/ 1734934 w 4012966"/>
                <a:gd name="connsiteY1212" fmla="*/ 415411 h 541195"/>
                <a:gd name="connsiteX1213" fmla="*/ 1726141 w 4012966"/>
                <a:gd name="connsiteY1213" fmla="*/ 415531 h 541195"/>
                <a:gd name="connsiteX1214" fmla="*/ 1721966 w 4012966"/>
                <a:gd name="connsiteY1214" fmla="*/ 520011 h 541195"/>
                <a:gd name="connsiteX1215" fmla="*/ 1711347 w 4012966"/>
                <a:gd name="connsiteY1215" fmla="*/ 279859 h 541195"/>
                <a:gd name="connsiteX1216" fmla="*/ 1716241 w 4012966"/>
                <a:gd name="connsiteY1216" fmla="*/ 276357 h 541195"/>
                <a:gd name="connsiteX1217" fmla="*/ 1713780 w 4012966"/>
                <a:gd name="connsiteY1217" fmla="*/ 275550 h 541195"/>
                <a:gd name="connsiteX1218" fmla="*/ 1713449 w 4012966"/>
                <a:gd name="connsiteY1218" fmla="*/ 268872 h 541195"/>
                <a:gd name="connsiteX1219" fmla="*/ 1715246 w 4012966"/>
                <a:gd name="connsiteY1219" fmla="*/ 267550 h 541195"/>
                <a:gd name="connsiteX1220" fmla="*/ 1711319 w 4012966"/>
                <a:gd name="connsiteY1220" fmla="*/ 264718 h 541195"/>
                <a:gd name="connsiteX1221" fmla="*/ 1706424 w 4012966"/>
                <a:gd name="connsiteY1221" fmla="*/ 264718 h 541195"/>
                <a:gd name="connsiteX1222" fmla="*/ 1706424 w 4012966"/>
                <a:gd name="connsiteY1222" fmla="*/ 269576 h 541195"/>
                <a:gd name="connsiteX1223" fmla="*/ 1699263 w 4012966"/>
                <a:gd name="connsiteY1223" fmla="*/ 269576 h 541195"/>
                <a:gd name="connsiteX1224" fmla="*/ 1699263 w 4012966"/>
                <a:gd name="connsiteY1224" fmla="*/ 264718 h 541195"/>
                <a:gd name="connsiteX1225" fmla="*/ 1691104 w 4012966"/>
                <a:gd name="connsiteY1225" fmla="*/ 264718 h 541195"/>
                <a:gd name="connsiteX1226" fmla="*/ 1691104 w 4012966"/>
                <a:gd name="connsiteY1226" fmla="*/ 269576 h 541195"/>
                <a:gd name="connsiteX1227" fmla="*/ 1683445 w 4012966"/>
                <a:gd name="connsiteY1227" fmla="*/ 269576 h 541195"/>
                <a:gd name="connsiteX1228" fmla="*/ 1683445 w 4012966"/>
                <a:gd name="connsiteY1228" fmla="*/ 264718 h 541195"/>
                <a:gd name="connsiteX1229" fmla="*/ 1675287 w 4012966"/>
                <a:gd name="connsiteY1229" fmla="*/ 264718 h 541195"/>
                <a:gd name="connsiteX1230" fmla="*/ 1675287 w 4012966"/>
                <a:gd name="connsiteY1230" fmla="*/ 269576 h 541195"/>
                <a:gd name="connsiteX1231" fmla="*/ 1668594 w 4012966"/>
                <a:gd name="connsiteY1231" fmla="*/ 269576 h 541195"/>
                <a:gd name="connsiteX1232" fmla="*/ 1668594 w 4012966"/>
                <a:gd name="connsiteY1232" fmla="*/ 264718 h 541195"/>
                <a:gd name="connsiteX1233" fmla="*/ 1659774 w 4012966"/>
                <a:gd name="connsiteY1233" fmla="*/ 264718 h 541195"/>
                <a:gd name="connsiteX1234" fmla="*/ 1659774 w 4012966"/>
                <a:gd name="connsiteY1234" fmla="*/ 269576 h 541195"/>
                <a:gd name="connsiteX1235" fmla="*/ 1653413 w 4012966"/>
                <a:gd name="connsiteY1235" fmla="*/ 269576 h 541195"/>
                <a:gd name="connsiteX1236" fmla="*/ 1653413 w 4012966"/>
                <a:gd name="connsiteY1236" fmla="*/ 264718 h 541195"/>
                <a:gd name="connsiteX1237" fmla="*/ 1645090 w 4012966"/>
                <a:gd name="connsiteY1237" fmla="*/ 264718 h 541195"/>
                <a:gd name="connsiteX1238" fmla="*/ 1645090 w 4012966"/>
                <a:gd name="connsiteY1238" fmla="*/ 269576 h 541195"/>
                <a:gd name="connsiteX1239" fmla="*/ 1639393 w 4012966"/>
                <a:gd name="connsiteY1239" fmla="*/ 269576 h 541195"/>
                <a:gd name="connsiteX1240" fmla="*/ 1639393 w 4012966"/>
                <a:gd name="connsiteY1240" fmla="*/ 264718 h 541195"/>
                <a:gd name="connsiteX1241" fmla="*/ 1630904 w 4012966"/>
                <a:gd name="connsiteY1241" fmla="*/ 264718 h 541195"/>
                <a:gd name="connsiteX1242" fmla="*/ 1630904 w 4012966"/>
                <a:gd name="connsiteY1242" fmla="*/ 269576 h 541195"/>
                <a:gd name="connsiteX1243" fmla="*/ 1624544 w 4012966"/>
                <a:gd name="connsiteY1243" fmla="*/ 269576 h 541195"/>
                <a:gd name="connsiteX1244" fmla="*/ 1624544 w 4012966"/>
                <a:gd name="connsiteY1244" fmla="*/ 269473 h 541195"/>
                <a:gd name="connsiteX1245" fmla="*/ 1623714 w 4012966"/>
                <a:gd name="connsiteY1245" fmla="*/ 269473 h 541195"/>
                <a:gd name="connsiteX1246" fmla="*/ 1623714 w 4012966"/>
                <a:gd name="connsiteY1246" fmla="*/ 279189 h 541195"/>
                <a:gd name="connsiteX1247" fmla="*/ 1618515 w 4012966"/>
                <a:gd name="connsiteY1247" fmla="*/ 413609 h 541195"/>
                <a:gd name="connsiteX1248" fmla="*/ 1616385 w 4012966"/>
                <a:gd name="connsiteY1248" fmla="*/ 266160 h 541195"/>
                <a:gd name="connsiteX1249" fmla="*/ 1620782 w 4012966"/>
                <a:gd name="connsiteY1249" fmla="*/ 261508 h 541195"/>
                <a:gd name="connsiteX1250" fmla="*/ 1617602 w 4012966"/>
                <a:gd name="connsiteY1250" fmla="*/ 259310 h 541195"/>
                <a:gd name="connsiteX1251" fmla="*/ 1617602 w 4012966"/>
                <a:gd name="connsiteY1251" fmla="*/ 249748 h 541195"/>
                <a:gd name="connsiteX1252" fmla="*/ 1619317 w 4012966"/>
                <a:gd name="connsiteY1252" fmla="*/ 248374 h 541195"/>
                <a:gd name="connsiteX1253" fmla="*/ 1616026 w 4012966"/>
                <a:gd name="connsiteY1253" fmla="*/ 245645 h 541195"/>
                <a:gd name="connsiteX1254" fmla="*/ 1612237 w 4012966"/>
                <a:gd name="connsiteY1254" fmla="*/ 244666 h 541195"/>
                <a:gd name="connsiteX1255" fmla="*/ 1609195 w 4012966"/>
                <a:gd name="connsiteY1255" fmla="*/ 246109 h 541195"/>
                <a:gd name="connsiteX1256" fmla="*/ 1606735 w 4012966"/>
                <a:gd name="connsiteY1256" fmla="*/ 243757 h 541195"/>
                <a:gd name="connsiteX1257" fmla="*/ 1600983 w 4012966"/>
                <a:gd name="connsiteY1257" fmla="*/ 242847 h 541195"/>
                <a:gd name="connsiteX1258" fmla="*/ 1597941 w 4012966"/>
                <a:gd name="connsiteY1258" fmla="*/ 244598 h 541195"/>
                <a:gd name="connsiteX1259" fmla="*/ 1595369 w 4012966"/>
                <a:gd name="connsiteY1259" fmla="*/ 242177 h 541195"/>
                <a:gd name="connsiteX1260" fmla="*/ 1592438 w 4012966"/>
                <a:gd name="connsiteY1260" fmla="*/ 241576 h 541195"/>
                <a:gd name="connsiteX1261" fmla="*/ 1586686 w 4012966"/>
                <a:gd name="connsiteY1261" fmla="*/ 241576 h 541195"/>
                <a:gd name="connsiteX1262" fmla="*/ 1586686 w 4012966"/>
                <a:gd name="connsiteY1262" fmla="*/ 248169 h 541195"/>
                <a:gd name="connsiteX1263" fmla="*/ 1578500 w 4012966"/>
                <a:gd name="connsiteY1263" fmla="*/ 248014 h 541195"/>
                <a:gd name="connsiteX1264" fmla="*/ 1578500 w 4012966"/>
                <a:gd name="connsiteY1264" fmla="*/ 241559 h 541195"/>
                <a:gd name="connsiteX1265" fmla="*/ 1568352 w 4012966"/>
                <a:gd name="connsiteY1265" fmla="*/ 241559 h 541195"/>
                <a:gd name="connsiteX1266" fmla="*/ 1568213 w 4012966"/>
                <a:gd name="connsiteY1266" fmla="*/ 247619 h 541195"/>
                <a:gd name="connsiteX1267" fmla="*/ 1560388 w 4012966"/>
                <a:gd name="connsiteY1267" fmla="*/ 247465 h 541195"/>
                <a:gd name="connsiteX1268" fmla="*/ 1560388 w 4012966"/>
                <a:gd name="connsiteY1268" fmla="*/ 241542 h 541195"/>
                <a:gd name="connsiteX1269" fmla="*/ 1551815 w 4012966"/>
                <a:gd name="connsiteY1269" fmla="*/ 242074 h 541195"/>
                <a:gd name="connsiteX1270" fmla="*/ 1548773 w 4012966"/>
                <a:gd name="connsiteY1270" fmla="*/ 245182 h 541195"/>
                <a:gd name="connsiteX1271" fmla="*/ 1545593 w 4012966"/>
                <a:gd name="connsiteY1271" fmla="*/ 243207 h 541195"/>
                <a:gd name="connsiteX1272" fmla="*/ 1538486 w 4012966"/>
                <a:gd name="connsiteY1272" fmla="*/ 243963 h 541195"/>
                <a:gd name="connsiteX1273" fmla="*/ 1535804 w 4012966"/>
                <a:gd name="connsiteY1273" fmla="*/ 246915 h 541195"/>
                <a:gd name="connsiteX1274" fmla="*/ 1532513 w 4012966"/>
                <a:gd name="connsiteY1274" fmla="*/ 244941 h 541195"/>
                <a:gd name="connsiteX1275" fmla="*/ 1528338 w 4012966"/>
                <a:gd name="connsiteY1275" fmla="*/ 245405 h 541195"/>
                <a:gd name="connsiteX1276" fmla="*/ 1524908 w 4012966"/>
                <a:gd name="connsiteY1276" fmla="*/ 248443 h 541195"/>
                <a:gd name="connsiteX1277" fmla="*/ 1526125 w 4012966"/>
                <a:gd name="connsiteY1277" fmla="*/ 249439 h 541195"/>
                <a:gd name="connsiteX1278" fmla="*/ 1526319 w 4012966"/>
                <a:gd name="connsiteY1278" fmla="*/ 251859 h 541195"/>
                <a:gd name="connsiteX1279" fmla="*/ 1526319 w 4012966"/>
                <a:gd name="connsiteY1279" fmla="*/ 259448 h 541195"/>
                <a:gd name="connsiteX1280" fmla="*/ 1524908 w 4012966"/>
                <a:gd name="connsiteY1280" fmla="*/ 260374 h 541195"/>
                <a:gd name="connsiteX1281" fmla="*/ 1523084 w 4012966"/>
                <a:gd name="connsiteY1281" fmla="*/ 265834 h 541195"/>
                <a:gd name="connsiteX1282" fmla="*/ 1528338 w 4012966"/>
                <a:gd name="connsiteY1282" fmla="*/ 268340 h 541195"/>
                <a:gd name="connsiteX1283" fmla="*/ 1523637 w 4012966"/>
                <a:gd name="connsiteY1283" fmla="*/ 448080 h 541195"/>
                <a:gd name="connsiteX1284" fmla="*/ 1523084 w 4012966"/>
                <a:gd name="connsiteY1284" fmla="*/ 271602 h 541195"/>
                <a:gd name="connsiteX1285" fmla="*/ 1515893 w 4012966"/>
                <a:gd name="connsiteY1285" fmla="*/ 266949 h 541195"/>
                <a:gd name="connsiteX1286" fmla="*/ 1519046 w 4012966"/>
                <a:gd name="connsiteY1286" fmla="*/ 259464 h 541195"/>
                <a:gd name="connsiteX1287" fmla="*/ 1521728 w 4012966"/>
                <a:gd name="connsiteY1287" fmla="*/ 256958 h 541195"/>
                <a:gd name="connsiteX1288" fmla="*/ 1521645 w 4012966"/>
                <a:gd name="connsiteY1288" fmla="*/ 256684 h 541195"/>
                <a:gd name="connsiteX1289" fmla="*/ 1521645 w 4012966"/>
                <a:gd name="connsiteY1289" fmla="*/ 250349 h 541195"/>
                <a:gd name="connsiteX1290" fmla="*/ 1519571 w 4012966"/>
                <a:gd name="connsiteY1290" fmla="*/ 249061 h 541195"/>
                <a:gd name="connsiteX1291" fmla="*/ 1524548 w 4012966"/>
                <a:gd name="connsiteY1291" fmla="*/ 242915 h 541195"/>
                <a:gd name="connsiteX1292" fmla="*/ 1531766 w 4012966"/>
                <a:gd name="connsiteY1292" fmla="*/ 241748 h 541195"/>
                <a:gd name="connsiteX1293" fmla="*/ 1534448 w 4012966"/>
                <a:gd name="connsiteY1293" fmla="*/ 242864 h 541195"/>
                <a:gd name="connsiteX1294" fmla="*/ 1536661 w 4012966"/>
                <a:gd name="connsiteY1294" fmla="*/ 240890 h 541195"/>
                <a:gd name="connsiteX1295" fmla="*/ 1544487 w 4012966"/>
                <a:gd name="connsiteY1295" fmla="*/ 240031 h 541195"/>
                <a:gd name="connsiteX1296" fmla="*/ 1548164 w 4012966"/>
                <a:gd name="connsiteY1296" fmla="*/ 241044 h 541195"/>
                <a:gd name="connsiteX1297" fmla="*/ 1549630 w 4012966"/>
                <a:gd name="connsiteY1297" fmla="*/ 238744 h 541195"/>
                <a:gd name="connsiteX1298" fmla="*/ 1560498 w 4012966"/>
                <a:gd name="connsiteY1298" fmla="*/ 237903 h 541195"/>
                <a:gd name="connsiteX1299" fmla="*/ 1564425 w 4012966"/>
                <a:gd name="connsiteY1299" fmla="*/ 239808 h 541195"/>
                <a:gd name="connsiteX1300" fmla="*/ 1570039 w 4012966"/>
                <a:gd name="connsiteY1300" fmla="*/ 239722 h 541195"/>
                <a:gd name="connsiteX1301" fmla="*/ 1567356 w 4012966"/>
                <a:gd name="connsiteY1301" fmla="*/ 238366 h 541195"/>
                <a:gd name="connsiteX1302" fmla="*/ 1567356 w 4012966"/>
                <a:gd name="connsiteY1302" fmla="*/ 236770 h 541195"/>
                <a:gd name="connsiteX1303" fmla="*/ 1568573 w 4012966"/>
                <a:gd name="connsiteY1303" fmla="*/ 235482 h 541195"/>
                <a:gd name="connsiteX1304" fmla="*/ 1567964 w 4012966"/>
                <a:gd name="connsiteY1304" fmla="*/ 234504 h 541195"/>
                <a:gd name="connsiteX1305" fmla="*/ 1567854 w 4012966"/>
                <a:gd name="connsiteY1305" fmla="*/ 230023 h 541195"/>
                <a:gd name="connsiteX1306" fmla="*/ 1569320 w 4012966"/>
                <a:gd name="connsiteY1306" fmla="*/ 229559 h 541195"/>
                <a:gd name="connsiteX1307" fmla="*/ 1566388 w 4012966"/>
                <a:gd name="connsiteY1307" fmla="*/ 227362 h 541195"/>
                <a:gd name="connsiteX1308" fmla="*/ 1561134 w 4012966"/>
                <a:gd name="connsiteY1308" fmla="*/ 227362 h 541195"/>
                <a:gd name="connsiteX1309" fmla="*/ 1561134 w 4012966"/>
                <a:gd name="connsiteY1309" fmla="*/ 232238 h 541195"/>
                <a:gd name="connsiteX1310" fmla="*/ 1554276 w 4012966"/>
                <a:gd name="connsiteY1310" fmla="*/ 232238 h 541195"/>
                <a:gd name="connsiteX1311" fmla="*/ 1554276 w 4012966"/>
                <a:gd name="connsiteY1311" fmla="*/ 227585 h 541195"/>
                <a:gd name="connsiteX1312" fmla="*/ 1545234 w 4012966"/>
                <a:gd name="connsiteY1312" fmla="*/ 227585 h 541195"/>
                <a:gd name="connsiteX1313" fmla="*/ 1545234 w 4012966"/>
                <a:gd name="connsiteY1313" fmla="*/ 232238 h 541195"/>
                <a:gd name="connsiteX1314" fmla="*/ 1537740 w 4012966"/>
                <a:gd name="connsiteY1314" fmla="*/ 232238 h 541195"/>
                <a:gd name="connsiteX1315" fmla="*/ 1537740 w 4012966"/>
                <a:gd name="connsiteY1315" fmla="*/ 227585 h 541195"/>
                <a:gd name="connsiteX1316" fmla="*/ 1528836 w 4012966"/>
                <a:gd name="connsiteY1316" fmla="*/ 227585 h 541195"/>
                <a:gd name="connsiteX1317" fmla="*/ 1528836 w 4012966"/>
                <a:gd name="connsiteY1317" fmla="*/ 232238 h 541195"/>
                <a:gd name="connsiteX1318" fmla="*/ 1522171 w 4012966"/>
                <a:gd name="connsiteY1318" fmla="*/ 232238 h 541195"/>
                <a:gd name="connsiteX1319" fmla="*/ 1522171 w 4012966"/>
                <a:gd name="connsiteY1319" fmla="*/ 227585 h 541195"/>
                <a:gd name="connsiteX1320" fmla="*/ 1513599 w 4012966"/>
                <a:gd name="connsiteY1320" fmla="*/ 227585 h 541195"/>
                <a:gd name="connsiteX1321" fmla="*/ 1513599 w 4012966"/>
                <a:gd name="connsiteY1321" fmla="*/ 232238 h 541195"/>
                <a:gd name="connsiteX1322" fmla="*/ 1506602 w 4012966"/>
                <a:gd name="connsiteY1322" fmla="*/ 232238 h 541195"/>
                <a:gd name="connsiteX1323" fmla="*/ 1506602 w 4012966"/>
                <a:gd name="connsiteY1323" fmla="*/ 227362 h 541195"/>
                <a:gd name="connsiteX1324" fmla="*/ 1497394 w 4012966"/>
                <a:gd name="connsiteY1324" fmla="*/ 227362 h 541195"/>
                <a:gd name="connsiteX1325" fmla="*/ 1497394 w 4012966"/>
                <a:gd name="connsiteY1325" fmla="*/ 232238 h 541195"/>
                <a:gd name="connsiteX1326" fmla="*/ 1490314 w 4012966"/>
                <a:gd name="connsiteY1326" fmla="*/ 232238 h 541195"/>
                <a:gd name="connsiteX1327" fmla="*/ 1490314 w 4012966"/>
                <a:gd name="connsiteY1327" fmla="*/ 227362 h 541195"/>
                <a:gd name="connsiteX1328" fmla="*/ 1481686 w 4012966"/>
                <a:gd name="connsiteY1328" fmla="*/ 227362 h 541195"/>
                <a:gd name="connsiteX1329" fmla="*/ 1481686 w 4012966"/>
                <a:gd name="connsiteY1329" fmla="*/ 232238 h 541195"/>
                <a:gd name="connsiteX1330" fmla="*/ 1474358 w 4012966"/>
                <a:gd name="connsiteY1330" fmla="*/ 232238 h 541195"/>
                <a:gd name="connsiteX1331" fmla="*/ 1474358 w 4012966"/>
                <a:gd name="connsiteY1331" fmla="*/ 227362 h 541195"/>
                <a:gd name="connsiteX1332" fmla="*/ 1465703 w 4012966"/>
                <a:gd name="connsiteY1332" fmla="*/ 227362 h 541195"/>
                <a:gd name="connsiteX1333" fmla="*/ 1465703 w 4012966"/>
                <a:gd name="connsiteY1333" fmla="*/ 232238 h 541195"/>
                <a:gd name="connsiteX1334" fmla="*/ 1458596 w 4012966"/>
                <a:gd name="connsiteY1334" fmla="*/ 232238 h 541195"/>
                <a:gd name="connsiteX1335" fmla="*/ 1458596 w 4012966"/>
                <a:gd name="connsiteY1335" fmla="*/ 227362 h 541195"/>
                <a:gd name="connsiteX1336" fmla="*/ 1449388 w 4012966"/>
                <a:gd name="connsiteY1336" fmla="*/ 227362 h 541195"/>
                <a:gd name="connsiteX1337" fmla="*/ 1449388 w 4012966"/>
                <a:gd name="connsiteY1337" fmla="*/ 232238 h 541195"/>
                <a:gd name="connsiteX1338" fmla="*/ 1442363 w 4012966"/>
                <a:gd name="connsiteY1338" fmla="*/ 232238 h 541195"/>
                <a:gd name="connsiteX1339" fmla="*/ 1442363 w 4012966"/>
                <a:gd name="connsiteY1339" fmla="*/ 227585 h 541195"/>
                <a:gd name="connsiteX1340" fmla="*/ 1433819 w 4012966"/>
                <a:gd name="connsiteY1340" fmla="*/ 227585 h 541195"/>
                <a:gd name="connsiteX1341" fmla="*/ 1433819 w 4012966"/>
                <a:gd name="connsiteY1341" fmla="*/ 232238 h 541195"/>
                <a:gd name="connsiteX1342" fmla="*/ 1427126 w 4012966"/>
                <a:gd name="connsiteY1342" fmla="*/ 232238 h 541195"/>
                <a:gd name="connsiteX1343" fmla="*/ 1427126 w 4012966"/>
                <a:gd name="connsiteY1343" fmla="*/ 227585 h 541195"/>
                <a:gd name="connsiteX1344" fmla="*/ 1418249 w 4012966"/>
                <a:gd name="connsiteY1344" fmla="*/ 227585 h 541195"/>
                <a:gd name="connsiteX1345" fmla="*/ 1418249 w 4012966"/>
                <a:gd name="connsiteY1345" fmla="*/ 232238 h 541195"/>
                <a:gd name="connsiteX1346" fmla="*/ 1410756 w 4012966"/>
                <a:gd name="connsiteY1346" fmla="*/ 232238 h 541195"/>
                <a:gd name="connsiteX1347" fmla="*/ 1410756 w 4012966"/>
                <a:gd name="connsiteY1347" fmla="*/ 227585 h 541195"/>
                <a:gd name="connsiteX1348" fmla="*/ 1401686 w 4012966"/>
                <a:gd name="connsiteY1348" fmla="*/ 227585 h 541195"/>
                <a:gd name="connsiteX1349" fmla="*/ 1401686 w 4012966"/>
                <a:gd name="connsiteY1349" fmla="*/ 232238 h 541195"/>
                <a:gd name="connsiteX1350" fmla="*/ 1394828 w 4012966"/>
                <a:gd name="connsiteY1350" fmla="*/ 232238 h 541195"/>
                <a:gd name="connsiteX1351" fmla="*/ 1394828 w 4012966"/>
                <a:gd name="connsiteY1351" fmla="*/ 227362 h 541195"/>
                <a:gd name="connsiteX1352" fmla="*/ 1389573 w 4012966"/>
                <a:gd name="connsiteY1352" fmla="*/ 227362 h 541195"/>
                <a:gd name="connsiteX1353" fmla="*/ 1386642 w 4012966"/>
                <a:gd name="connsiteY1353" fmla="*/ 229559 h 541195"/>
                <a:gd name="connsiteX1354" fmla="*/ 1388108 w 4012966"/>
                <a:gd name="connsiteY1354" fmla="*/ 230023 h 541195"/>
                <a:gd name="connsiteX1355" fmla="*/ 1387997 w 4012966"/>
                <a:gd name="connsiteY1355" fmla="*/ 234504 h 541195"/>
                <a:gd name="connsiteX1356" fmla="*/ 1387389 w 4012966"/>
                <a:gd name="connsiteY1356" fmla="*/ 235482 h 541195"/>
                <a:gd name="connsiteX1357" fmla="*/ 1388605 w 4012966"/>
                <a:gd name="connsiteY1357" fmla="*/ 236770 h 541195"/>
                <a:gd name="connsiteX1358" fmla="*/ 1388605 w 4012966"/>
                <a:gd name="connsiteY1358" fmla="*/ 238366 h 541195"/>
                <a:gd name="connsiteX1359" fmla="*/ 1385923 w 4012966"/>
                <a:gd name="connsiteY1359" fmla="*/ 239722 h 541195"/>
                <a:gd name="connsiteX1360" fmla="*/ 1391537 w 4012966"/>
                <a:gd name="connsiteY1360" fmla="*/ 239808 h 541195"/>
                <a:gd name="connsiteX1361" fmla="*/ 1395436 w 4012966"/>
                <a:gd name="connsiteY1361" fmla="*/ 237903 h 541195"/>
                <a:gd name="connsiteX1362" fmla="*/ 1406331 w 4012966"/>
                <a:gd name="connsiteY1362" fmla="*/ 238744 h 541195"/>
                <a:gd name="connsiteX1363" fmla="*/ 1407796 w 4012966"/>
                <a:gd name="connsiteY1363" fmla="*/ 241044 h 541195"/>
                <a:gd name="connsiteX1364" fmla="*/ 1411474 w 4012966"/>
                <a:gd name="connsiteY1364" fmla="*/ 240031 h 541195"/>
                <a:gd name="connsiteX1365" fmla="*/ 1419300 w 4012966"/>
                <a:gd name="connsiteY1365" fmla="*/ 240890 h 541195"/>
                <a:gd name="connsiteX1366" fmla="*/ 1421513 w 4012966"/>
                <a:gd name="connsiteY1366" fmla="*/ 242864 h 541195"/>
                <a:gd name="connsiteX1367" fmla="*/ 1424196 w 4012966"/>
                <a:gd name="connsiteY1367" fmla="*/ 241748 h 541195"/>
                <a:gd name="connsiteX1368" fmla="*/ 1431412 w 4012966"/>
                <a:gd name="connsiteY1368" fmla="*/ 242915 h 541195"/>
                <a:gd name="connsiteX1369" fmla="*/ 1436390 w 4012966"/>
                <a:gd name="connsiteY1369" fmla="*/ 249061 h 541195"/>
                <a:gd name="connsiteX1370" fmla="*/ 1434316 w 4012966"/>
                <a:gd name="connsiteY1370" fmla="*/ 250349 h 541195"/>
                <a:gd name="connsiteX1371" fmla="*/ 1434316 w 4012966"/>
                <a:gd name="connsiteY1371" fmla="*/ 256684 h 541195"/>
                <a:gd name="connsiteX1372" fmla="*/ 1434234 w 4012966"/>
                <a:gd name="connsiteY1372" fmla="*/ 256958 h 541195"/>
                <a:gd name="connsiteX1373" fmla="*/ 1436916 w 4012966"/>
                <a:gd name="connsiteY1373" fmla="*/ 259464 h 541195"/>
                <a:gd name="connsiteX1374" fmla="*/ 1440068 w 4012966"/>
                <a:gd name="connsiteY1374" fmla="*/ 266949 h 541195"/>
                <a:gd name="connsiteX1375" fmla="*/ 1432878 w 4012966"/>
                <a:gd name="connsiteY1375" fmla="*/ 271602 h 541195"/>
                <a:gd name="connsiteX1376" fmla="*/ 1432325 w 4012966"/>
                <a:gd name="connsiteY1376" fmla="*/ 448080 h 541195"/>
                <a:gd name="connsiteX1377" fmla="*/ 1427624 w 4012966"/>
                <a:gd name="connsiteY1377" fmla="*/ 268340 h 541195"/>
                <a:gd name="connsiteX1378" fmla="*/ 1432878 w 4012966"/>
                <a:gd name="connsiteY1378" fmla="*/ 265834 h 541195"/>
                <a:gd name="connsiteX1379" fmla="*/ 1431053 w 4012966"/>
                <a:gd name="connsiteY1379" fmla="*/ 260374 h 541195"/>
                <a:gd name="connsiteX1380" fmla="*/ 1429643 w 4012966"/>
                <a:gd name="connsiteY1380" fmla="*/ 259448 h 541195"/>
                <a:gd name="connsiteX1381" fmla="*/ 1429643 w 4012966"/>
                <a:gd name="connsiteY1381" fmla="*/ 251859 h 541195"/>
                <a:gd name="connsiteX1382" fmla="*/ 1429809 w 4012966"/>
                <a:gd name="connsiteY1382" fmla="*/ 249439 h 541195"/>
                <a:gd name="connsiteX1383" fmla="*/ 1431026 w 4012966"/>
                <a:gd name="connsiteY1383" fmla="*/ 248443 h 541195"/>
                <a:gd name="connsiteX1384" fmla="*/ 1427596 w 4012966"/>
                <a:gd name="connsiteY1384" fmla="*/ 245405 h 541195"/>
                <a:gd name="connsiteX1385" fmla="*/ 1423448 w 4012966"/>
                <a:gd name="connsiteY1385" fmla="*/ 244941 h 541195"/>
                <a:gd name="connsiteX1386" fmla="*/ 1420158 w 4012966"/>
                <a:gd name="connsiteY1386" fmla="*/ 246915 h 541195"/>
                <a:gd name="connsiteX1387" fmla="*/ 1417476 w 4012966"/>
                <a:gd name="connsiteY1387" fmla="*/ 243963 h 541195"/>
                <a:gd name="connsiteX1388" fmla="*/ 1410368 w 4012966"/>
                <a:gd name="connsiteY1388" fmla="*/ 243207 h 541195"/>
                <a:gd name="connsiteX1389" fmla="*/ 1407188 w 4012966"/>
                <a:gd name="connsiteY1389" fmla="*/ 245182 h 541195"/>
                <a:gd name="connsiteX1390" fmla="*/ 1404147 w 4012966"/>
                <a:gd name="connsiteY1390" fmla="*/ 242074 h 541195"/>
                <a:gd name="connsiteX1391" fmla="*/ 1395574 w 4012966"/>
                <a:gd name="connsiteY1391" fmla="*/ 241542 h 541195"/>
                <a:gd name="connsiteX1392" fmla="*/ 1395574 w 4012966"/>
                <a:gd name="connsiteY1392" fmla="*/ 247465 h 541195"/>
                <a:gd name="connsiteX1393" fmla="*/ 1387748 w 4012966"/>
                <a:gd name="connsiteY1393" fmla="*/ 247619 h 541195"/>
                <a:gd name="connsiteX1394" fmla="*/ 1387610 w 4012966"/>
                <a:gd name="connsiteY1394" fmla="*/ 241559 h 541195"/>
                <a:gd name="connsiteX1395" fmla="*/ 1377461 w 4012966"/>
                <a:gd name="connsiteY1395" fmla="*/ 241559 h 541195"/>
                <a:gd name="connsiteX1396" fmla="*/ 1377461 w 4012966"/>
                <a:gd name="connsiteY1396" fmla="*/ 248014 h 541195"/>
                <a:gd name="connsiteX1397" fmla="*/ 1369276 w 4012966"/>
                <a:gd name="connsiteY1397" fmla="*/ 248169 h 541195"/>
                <a:gd name="connsiteX1398" fmla="*/ 1369276 w 4012966"/>
                <a:gd name="connsiteY1398" fmla="*/ 241576 h 541195"/>
                <a:gd name="connsiteX1399" fmla="*/ 1363524 w 4012966"/>
                <a:gd name="connsiteY1399" fmla="*/ 241576 h 541195"/>
                <a:gd name="connsiteX1400" fmla="*/ 1360593 w 4012966"/>
                <a:gd name="connsiteY1400" fmla="*/ 242177 h 541195"/>
                <a:gd name="connsiteX1401" fmla="*/ 1358021 w 4012966"/>
                <a:gd name="connsiteY1401" fmla="*/ 244598 h 541195"/>
                <a:gd name="connsiteX1402" fmla="*/ 1354979 w 4012966"/>
                <a:gd name="connsiteY1402" fmla="*/ 242847 h 541195"/>
                <a:gd name="connsiteX1403" fmla="*/ 1349227 w 4012966"/>
                <a:gd name="connsiteY1403" fmla="*/ 243757 h 541195"/>
                <a:gd name="connsiteX1404" fmla="*/ 1346794 w 4012966"/>
                <a:gd name="connsiteY1404" fmla="*/ 246109 h 541195"/>
                <a:gd name="connsiteX1405" fmla="*/ 1343725 w 4012966"/>
                <a:gd name="connsiteY1405" fmla="*/ 244666 h 541195"/>
                <a:gd name="connsiteX1406" fmla="*/ 1339935 w 4012966"/>
                <a:gd name="connsiteY1406" fmla="*/ 245645 h 541195"/>
                <a:gd name="connsiteX1407" fmla="*/ 1336645 w 4012966"/>
                <a:gd name="connsiteY1407" fmla="*/ 248374 h 541195"/>
                <a:gd name="connsiteX1408" fmla="*/ 1338359 w 4012966"/>
                <a:gd name="connsiteY1408" fmla="*/ 249748 h 541195"/>
                <a:gd name="connsiteX1409" fmla="*/ 1338359 w 4012966"/>
                <a:gd name="connsiteY1409" fmla="*/ 259310 h 541195"/>
                <a:gd name="connsiteX1410" fmla="*/ 1335179 w 4012966"/>
                <a:gd name="connsiteY1410" fmla="*/ 261508 h 541195"/>
                <a:gd name="connsiteX1411" fmla="*/ 1339549 w 4012966"/>
                <a:gd name="connsiteY1411" fmla="*/ 266160 h 541195"/>
                <a:gd name="connsiteX1412" fmla="*/ 1337447 w 4012966"/>
                <a:gd name="connsiteY1412" fmla="*/ 413609 h 541195"/>
                <a:gd name="connsiteX1413" fmla="*/ 1331446 w 4012966"/>
                <a:gd name="connsiteY1413" fmla="*/ 269576 h 541195"/>
                <a:gd name="connsiteX1414" fmla="*/ 1325086 w 4012966"/>
                <a:gd name="connsiteY1414" fmla="*/ 269576 h 541195"/>
                <a:gd name="connsiteX1415" fmla="*/ 1325086 w 4012966"/>
                <a:gd name="connsiteY1415" fmla="*/ 264718 h 541195"/>
                <a:gd name="connsiteX1416" fmla="*/ 1316596 w 4012966"/>
                <a:gd name="connsiteY1416" fmla="*/ 264718 h 541195"/>
                <a:gd name="connsiteX1417" fmla="*/ 1316596 w 4012966"/>
                <a:gd name="connsiteY1417" fmla="*/ 269576 h 541195"/>
                <a:gd name="connsiteX1418" fmla="*/ 1310900 w 4012966"/>
                <a:gd name="connsiteY1418" fmla="*/ 269576 h 541195"/>
                <a:gd name="connsiteX1419" fmla="*/ 1310900 w 4012966"/>
                <a:gd name="connsiteY1419" fmla="*/ 264718 h 541195"/>
                <a:gd name="connsiteX1420" fmla="*/ 1302576 w 4012966"/>
                <a:gd name="connsiteY1420" fmla="*/ 264718 h 541195"/>
                <a:gd name="connsiteX1421" fmla="*/ 1302576 w 4012966"/>
                <a:gd name="connsiteY1421" fmla="*/ 269576 h 541195"/>
                <a:gd name="connsiteX1422" fmla="*/ 1296216 w 4012966"/>
                <a:gd name="connsiteY1422" fmla="*/ 269576 h 541195"/>
                <a:gd name="connsiteX1423" fmla="*/ 1296216 w 4012966"/>
                <a:gd name="connsiteY1423" fmla="*/ 264718 h 541195"/>
                <a:gd name="connsiteX1424" fmla="*/ 1287395 w 4012966"/>
                <a:gd name="connsiteY1424" fmla="*/ 264718 h 541195"/>
                <a:gd name="connsiteX1425" fmla="*/ 1287395 w 4012966"/>
                <a:gd name="connsiteY1425" fmla="*/ 269576 h 541195"/>
                <a:gd name="connsiteX1426" fmla="*/ 1280703 w 4012966"/>
                <a:gd name="connsiteY1426" fmla="*/ 269576 h 541195"/>
                <a:gd name="connsiteX1427" fmla="*/ 1280703 w 4012966"/>
                <a:gd name="connsiteY1427" fmla="*/ 264718 h 541195"/>
                <a:gd name="connsiteX1428" fmla="*/ 1272544 w 4012966"/>
                <a:gd name="connsiteY1428" fmla="*/ 264718 h 541195"/>
                <a:gd name="connsiteX1429" fmla="*/ 1272544 w 4012966"/>
                <a:gd name="connsiteY1429" fmla="*/ 269576 h 541195"/>
                <a:gd name="connsiteX1430" fmla="*/ 1264885 w 4012966"/>
                <a:gd name="connsiteY1430" fmla="*/ 269576 h 541195"/>
                <a:gd name="connsiteX1431" fmla="*/ 1264885 w 4012966"/>
                <a:gd name="connsiteY1431" fmla="*/ 264718 h 541195"/>
                <a:gd name="connsiteX1432" fmla="*/ 1256727 w 4012966"/>
                <a:gd name="connsiteY1432" fmla="*/ 264718 h 541195"/>
                <a:gd name="connsiteX1433" fmla="*/ 1256727 w 4012966"/>
                <a:gd name="connsiteY1433" fmla="*/ 269576 h 541195"/>
                <a:gd name="connsiteX1434" fmla="*/ 1249538 w 4012966"/>
                <a:gd name="connsiteY1434" fmla="*/ 269576 h 541195"/>
                <a:gd name="connsiteX1435" fmla="*/ 1249538 w 4012966"/>
                <a:gd name="connsiteY1435" fmla="*/ 264718 h 541195"/>
                <a:gd name="connsiteX1436" fmla="*/ 1244642 w 4012966"/>
                <a:gd name="connsiteY1436" fmla="*/ 264718 h 541195"/>
                <a:gd name="connsiteX1437" fmla="*/ 1240744 w 4012966"/>
                <a:gd name="connsiteY1437" fmla="*/ 267550 h 541195"/>
                <a:gd name="connsiteX1438" fmla="*/ 1242541 w 4012966"/>
                <a:gd name="connsiteY1438" fmla="*/ 268872 h 541195"/>
                <a:gd name="connsiteX1439" fmla="*/ 1242209 w 4012966"/>
                <a:gd name="connsiteY1439" fmla="*/ 275550 h 541195"/>
                <a:gd name="connsiteX1440" fmla="*/ 1239776 w 4012966"/>
                <a:gd name="connsiteY1440" fmla="*/ 276357 h 541195"/>
                <a:gd name="connsiteX1441" fmla="*/ 1244670 w 4012966"/>
                <a:gd name="connsiteY1441" fmla="*/ 279859 h 541195"/>
                <a:gd name="connsiteX1442" fmla="*/ 1244477 w 4012966"/>
                <a:gd name="connsiteY1442" fmla="*/ 489763 h 541195"/>
                <a:gd name="connsiteX1443" fmla="*/ 1224871 w 4012966"/>
                <a:gd name="connsiteY1443" fmla="*/ 465797 h 541195"/>
                <a:gd name="connsiteX1444" fmla="*/ 1197715 w 4012966"/>
                <a:gd name="connsiteY1444" fmla="*/ 432012 h 541195"/>
                <a:gd name="connsiteX1445" fmla="*/ 842564 w 4012966"/>
                <a:gd name="connsiteY1445" fmla="*/ 398227 h 541195"/>
                <a:gd name="connsiteX1446" fmla="*/ 489957 w 4012966"/>
                <a:gd name="connsiteY1446" fmla="*/ 431771 h 541195"/>
                <a:gd name="connsiteX1447" fmla="*/ 460783 w 4012966"/>
                <a:gd name="connsiteY1447" fmla="*/ 431669 h 541195"/>
                <a:gd name="connsiteX1448" fmla="*/ 460783 w 4012966"/>
                <a:gd name="connsiteY1448" fmla="*/ 431635 h 541195"/>
                <a:gd name="connsiteX1449" fmla="*/ 458544 w 4012966"/>
                <a:gd name="connsiteY1449" fmla="*/ 431635 h 541195"/>
                <a:gd name="connsiteX1450" fmla="*/ 456303 w 4012966"/>
                <a:gd name="connsiteY1450" fmla="*/ 431635 h 541195"/>
                <a:gd name="connsiteX1451" fmla="*/ 456303 w 4012966"/>
                <a:gd name="connsiteY1451" fmla="*/ 431669 h 541195"/>
                <a:gd name="connsiteX1452" fmla="*/ 427129 w 4012966"/>
                <a:gd name="connsiteY1452" fmla="*/ 431771 h 541195"/>
                <a:gd name="connsiteX1453" fmla="*/ 74523 w 4012966"/>
                <a:gd name="connsiteY1453" fmla="*/ 398227 h 541195"/>
                <a:gd name="connsiteX1454" fmla="*/ 11234 w 4012966"/>
                <a:gd name="connsiteY1454" fmla="*/ 415120 h 541195"/>
                <a:gd name="connsiteX1455" fmla="*/ 2720 w 4012966"/>
                <a:gd name="connsiteY1455" fmla="*/ 416279 h 541195"/>
                <a:gd name="connsiteX1456" fmla="*/ 2543 w 4012966"/>
                <a:gd name="connsiteY1456" fmla="*/ 419776 h 541195"/>
                <a:gd name="connsiteX1457" fmla="*/ 9288 w 4012966"/>
                <a:gd name="connsiteY1457" fmla="*/ 418793 h 541195"/>
                <a:gd name="connsiteX1458" fmla="*/ 2298 w 4012966"/>
                <a:gd name="connsiteY1458" fmla="*/ 424635 h 541195"/>
                <a:gd name="connsiteX1459" fmla="*/ 2039 w 4012966"/>
                <a:gd name="connsiteY1459" fmla="*/ 429753 h 541195"/>
                <a:gd name="connsiteX1460" fmla="*/ 11777 w 4012966"/>
                <a:gd name="connsiteY1460" fmla="*/ 421609 h 541195"/>
                <a:gd name="connsiteX1461" fmla="*/ 12828 w 4012966"/>
                <a:gd name="connsiteY1461" fmla="*/ 464406 h 541195"/>
                <a:gd name="connsiteX1462" fmla="*/ 290 w 4012966"/>
                <a:gd name="connsiteY1462" fmla="*/ 464406 h 541195"/>
                <a:gd name="connsiteX1463" fmla="*/ 0 w 4012966"/>
                <a:gd name="connsiteY1463" fmla="*/ 470140 h 541195"/>
                <a:gd name="connsiteX1464" fmla="*/ 45653 w 4012966"/>
                <a:gd name="connsiteY1464" fmla="*/ 470140 h 541195"/>
                <a:gd name="connsiteX1465" fmla="*/ 46786 w 4012966"/>
                <a:gd name="connsiteY1465" fmla="*/ 470140 h 541195"/>
                <a:gd name="connsiteX1466" fmla="*/ 68992 w 4012966"/>
                <a:gd name="connsiteY1466" fmla="*/ 470140 h 541195"/>
                <a:gd name="connsiteX1467" fmla="*/ 68992 w 4012966"/>
                <a:gd name="connsiteY1467" fmla="*/ 474501 h 541195"/>
                <a:gd name="connsiteX1468" fmla="*/ 66558 w 4012966"/>
                <a:gd name="connsiteY1468" fmla="*/ 474501 h 541195"/>
                <a:gd name="connsiteX1469" fmla="*/ 66558 w 4012966"/>
                <a:gd name="connsiteY1469" fmla="*/ 477076 h 541195"/>
                <a:gd name="connsiteX1470" fmla="*/ 67195 w 4012966"/>
                <a:gd name="connsiteY1470" fmla="*/ 477076 h 541195"/>
                <a:gd name="connsiteX1471" fmla="*/ 62714 w 4012966"/>
                <a:gd name="connsiteY1471" fmla="*/ 529624 h 541195"/>
                <a:gd name="connsiteX1472" fmla="*/ 50520 w 4012966"/>
                <a:gd name="connsiteY1472" fmla="*/ 529624 h 54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Lst>
              <a:rect l="l" t="t" r="r" b="b"/>
              <a:pathLst>
                <a:path w="4012966" h="541195">
                  <a:moveTo>
                    <a:pt x="1968135" y="139020"/>
                  </a:moveTo>
                  <a:lnTo>
                    <a:pt x="1968135" y="133183"/>
                  </a:lnTo>
                  <a:lnTo>
                    <a:pt x="1970402" y="133183"/>
                  </a:lnTo>
                  <a:lnTo>
                    <a:pt x="1970402" y="137097"/>
                  </a:lnTo>
                  <a:lnTo>
                    <a:pt x="1969131" y="137097"/>
                  </a:lnTo>
                  <a:lnTo>
                    <a:pt x="1969131" y="138402"/>
                  </a:lnTo>
                  <a:close/>
                  <a:moveTo>
                    <a:pt x="1981961" y="139037"/>
                  </a:moveTo>
                  <a:lnTo>
                    <a:pt x="1980966" y="138419"/>
                  </a:lnTo>
                  <a:lnTo>
                    <a:pt x="1980966" y="137114"/>
                  </a:lnTo>
                  <a:lnTo>
                    <a:pt x="1979694" y="137114"/>
                  </a:lnTo>
                  <a:lnTo>
                    <a:pt x="1979694" y="133217"/>
                  </a:lnTo>
                  <a:lnTo>
                    <a:pt x="1981961" y="133217"/>
                  </a:lnTo>
                  <a:close/>
                  <a:moveTo>
                    <a:pt x="2633305" y="174092"/>
                  </a:moveTo>
                  <a:lnTo>
                    <a:pt x="2633305" y="168084"/>
                  </a:lnTo>
                  <a:lnTo>
                    <a:pt x="2637315" y="168084"/>
                  </a:lnTo>
                  <a:lnTo>
                    <a:pt x="2637315" y="174092"/>
                  </a:lnTo>
                  <a:close/>
                  <a:moveTo>
                    <a:pt x="2626309" y="174092"/>
                  </a:moveTo>
                  <a:lnTo>
                    <a:pt x="2626309" y="168084"/>
                  </a:lnTo>
                  <a:lnTo>
                    <a:pt x="2631673" y="168084"/>
                  </a:lnTo>
                  <a:lnTo>
                    <a:pt x="2631673" y="174092"/>
                  </a:lnTo>
                  <a:close/>
                  <a:moveTo>
                    <a:pt x="2619728" y="174092"/>
                  </a:moveTo>
                  <a:lnTo>
                    <a:pt x="2619728" y="168084"/>
                  </a:lnTo>
                  <a:lnTo>
                    <a:pt x="2624125" y="168084"/>
                  </a:lnTo>
                  <a:lnTo>
                    <a:pt x="2624125" y="174092"/>
                  </a:lnTo>
                  <a:close/>
                  <a:moveTo>
                    <a:pt x="2639472" y="174110"/>
                  </a:moveTo>
                  <a:lnTo>
                    <a:pt x="2639472" y="168101"/>
                  </a:lnTo>
                  <a:lnTo>
                    <a:pt x="2643869" y="168101"/>
                  </a:lnTo>
                  <a:lnTo>
                    <a:pt x="2643869" y="174110"/>
                  </a:lnTo>
                  <a:close/>
                  <a:moveTo>
                    <a:pt x="2626724" y="185818"/>
                  </a:moveTo>
                  <a:lnTo>
                    <a:pt x="2626724" y="184770"/>
                  </a:lnTo>
                  <a:cubicBezTo>
                    <a:pt x="2626724" y="183036"/>
                    <a:pt x="2628991" y="181629"/>
                    <a:pt x="2631785" y="181629"/>
                  </a:cubicBezTo>
                  <a:cubicBezTo>
                    <a:pt x="2634578" y="181629"/>
                    <a:pt x="2636845" y="183036"/>
                    <a:pt x="2636845" y="184770"/>
                  </a:cubicBezTo>
                  <a:lnTo>
                    <a:pt x="2636872" y="184770"/>
                  </a:lnTo>
                  <a:lnTo>
                    <a:pt x="2636872" y="185818"/>
                  </a:lnTo>
                  <a:close/>
                  <a:moveTo>
                    <a:pt x="2626724" y="192118"/>
                  </a:moveTo>
                  <a:lnTo>
                    <a:pt x="2626724" y="188667"/>
                  </a:lnTo>
                  <a:lnTo>
                    <a:pt x="2636872" y="188667"/>
                  </a:lnTo>
                  <a:lnTo>
                    <a:pt x="2636872" y="192118"/>
                  </a:lnTo>
                  <a:close/>
                  <a:moveTo>
                    <a:pt x="2621165" y="235414"/>
                  </a:moveTo>
                  <a:lnTo>
                    <a:pt x="2621165" y="218882"/>
                  </a:lnTo>
                  <a:cubicBezTo>
                    <a:pt x="2621165" y="217319"/>
                    <a:pt x="2623212" y="216049"/>
                    <a:pt x="2625729" y="216049"/>
                  </a:cubicBezTo>
                  <a:cubicBezTo>
                    <a:pt x="2628245" y="216049"/>
                    <a:pt x="2630291" y="217319"/>
                    <a:pt x="2630291" y="218882"/>
                  </a:cubicBezTo>
                  <a:lnTo>
                    <a:pt x="2630319" y="218882"/>
                  </a:lnTo>
                  <a:lnTo>
                    <a:pt x="2630319" y="235414"/>
                  </a:lnTo>
                  <a:close/>
                  <a:moveTo>
                    <a:pt x="2633084" y="235431"/>
                  </a:moveTo>
                  <a:lnTo>
                    <a:pt x="2633084" y="218899"/>
                  </a:lnTo>
                  <a:cubicBezTo>
                    <a:pt x="2633084" y="217337"/>
                    <a:pt x="2635131" y="216066"/>
                    <a:pt x="2637675" y="216066"/>
                  </a:cubicBezTo>
                  <a:cubicBezTo>
                    <a:pt x="2640219" y="216066"/>
                    <a:pt x="2642237" y="217337"/>
                    <a:pt x="2642237" y="218899"/>
                  </a:cubicBezTo>
                  <a:lnTo>
                    <a:pt x="2642237" y="235431"/>
                  </a:lnTo>
                  <a:close/>
                  <a:moveTo>
                    <a:pt x="2600343" y="343396"/>
                  </a:moveTo>
                  <a:lnTo>
                    <a:pt x="2663253" y="343396"/>
                  </a:lnTo>
                  <a:lnTo>
                    <a:pt x="2660433" y="246641"/>
                  </a:lnTo>
                  <a:lnTo>
                    <a:pt x="2663254" y="245353"/>
                  </a:lnTo>
                  <a:lnTo>
                    <a:pt x="2663254" y="241559"/>
                  </a:lnTo>
                  <a:lnTo>
                    <a:pt x="2658332" y="240272"/>
                  </a:lnTo>
                  <a:lnTo>
                    <a:pt x="2658332" y="209543"/>
                  </a:lnTo>
                  <a:lnTo>
                    <a:pt x="2660433" y="208890"/>
                  </a:lnTo>
                  <a:lnTo>
                    <a:pt x="2660793" y="205096"/>
                  </a:lnTo>
                  <a:lnTo>
                    <a:pt x="2657281" y="205096"/>
                  </a:lnTo>
                  <a:lnTo>
                    <a:pt x="2657281" y="198710"/>
                  </a:lnTo>
                  <a:lnTo>
                    <a:pt x="2653852" y="196307"/>
                  </a:lnTo>
                  <a:lnTo>
                    <a:pt x="2655566" y="194264"/>
                  </a:lnTo>
                  <a:lnTo>
                    <a:pt x="2655566" y="191122"/>
                  </a:lnTo>
                  <a:lnTo>
                    <a:pt x="2652192" y="187980"/>
                  </a:lnTo>
                  <a:lnTo>
                    <a:pt x="2652192" y="181680"/>
                  </a:lnTo>
                  <a:lnTo>
                    <a:pt x="2654737" y="180479"/>
                  </a:lnTo>
                  <a:lnTo>
                    <a:pt x="2654737" y="178161"/>
                  </a:lnTo>
                  <a:lnTo>
                    <a:pt x="2652192" y="176221"/>
                  </a:lnTo>
                  <a:lnTo>
                    <a:pt x="2646690" y="176221"/>
                  </a:lnTo>
                  <a:lnTo>
                    <a:pt x="2646690" y="174092"/>
                  </a:lnTo>
                  <a:lnTo>
                    <a:pt x="2645362" y="174092"/>
                  </a:lnTo>
                  <a:lnTo>
                    <a:pt x="2645362" y="168084"/>
                  </a:lnTo>
                  <a:lnTo>
                    <a:pt x="2647906" y="168084"/>
                  </a:lnTo>
                  <a:lnTo>
                    <a:pt x="2647906" y="166333"/>
                  </a:lnTo>
                  <a:lnTo>
                    <a:pt x="2646552" y="166333"/>
                  </a:lnTo>
                  <a:cubicBezTo>
                    <a:pt x="2646552" y="166333"/>
                    <a:pt x="2645501" y="160032"/>
                    <a:pt x="2634025" y="157904"/>
                  </a:cubicBezTo>
                  <a:lnTo>
                    <a:pt x="2634025" y="151895"/>
                  </a:lnTo>
                  <a:lnTo>
                    <a:pt x="2632531" y="151895"/>
                  </a:lnTo>
                  <a:lnTo>
                    <a:pt x="2632531" y="150470"/>
                  </a:lnTo>
                  <a:cubicBezTo>
                    <a:pt x="2633305" y="150281"/>
                    <a:pt x="2633887" y="149784"/>
                    <a:pt x="2633887" y="149200"/>
                  </a:cubicBezTo>
                  <a:cubicBezTo>
                    <a:pt x="2633887" y="148445"/>
                    <a:pt x="2632946" y="147844"/>
                    <a:pt x="2631785" y="147844"/>
                  </a:cubicBezTo>
                  <a:cubicBezTo>
                    <a:pt x="2630623" y="147844"/>
                    <a:pt x="2629711" y="148462"/>
                    <a:pt x="2629711" y="149200"/>
                  </a:cubicBezTo>
                  <a:cubicBezTo>
                    <a:pt x="2629711" y="149732"/>
                    <a:pt x="2630181" y="150196"/>
                    <a:pt x="2630900" y="150419"/>
                  </a:cubicBezTo>
                  <a:lnTo>
                    <a:pt x="2630900" y="151878"/>
                  </a:lnTo>
                  <a:lnTo>
                    <a:pt x="2629572" y="151878"/>
                  </a:lnTo>
                  <a:lnTo>
                    <a:pt x="2629572" y="157886"/>
                  </a:lnTo>
                  <a:cubicBezTo>
                    <a:pt x="2618097" y="160015"/>
                    <a:pt x="2617046" y="166316"/>
                    <a:pt x="2617046" y="166316"/>
                  </a:cubicBezTo>
                  <a:lnTo>
                    <a:pt x="2615718" y="166316"/>
                  </a:lnTo>
                  <a:lnTo>
                    <a:pt x="2615718" y="168067"/>
                  </a:lnTo>
                  <a:lnTo>
                    <a:pt x="2618262" y="168067"/>
                  </a:lnTo>
                  <a:lnTo>
                    <a:pt x="2618262" y="174075"/>
                  </a:lnTo>
                  <a:lnTo>
                    <a:pt x="2616907" y="174075"/>
                  </a:lnTo>
                  <a:lnTo>
                    <a:pt x="2616907" y="176204"/>
                  </a:lnTo>
                  <a:lnTo>
                    <a:pt x="2611404" y="176204"/>
                  </a:lnTo>
                  <a:lnTo>
                    <a:pt x="2608860" y="178144"/>
                  </a:lnTo>
                  <a:lnTo>
                    <a:pt x="2608860" y="180461"/>
                  </a:lnTo>
                  <a:lnTo>
                    <a:pt x="2611404" y="181663"/>
                  </a:lnTo>
                  <a:lnTo>
                    <a:pt x="2611404" y="187964"/>
                  </a:lnTo>
                  <a:lnTo>
                    <a:pt x="2608058" y="191105"/>
                  </a:lnTo>
                  <a:lnTo>
                    <a:pt x="2608058" y="194247"/>
                  </a:lnTo>
                  <a:lnTo>
                    <a:pt x="2609773" y="196290"/>
                  </a:lnTo>
                  <a:lnTo>
                    <a:pt x="2606343" y="198693"/>
                  </a:lnTo>
                  <a:lnTo>
                    <a:pt x="2606343" y="205079"/>
                  </a:lnTo>
                  <a:lnTo>
                    <a:pt x="2602832" y="205079"/>
                  </a:lnTo>
                  <a:lnTo>
                    <a:pt x="2603191" y="208873"/>
                  </a:lnTo>
                  <a:lnTo>
                    <a:pt x="2605265" y="209525"/>
                  </a:lnTo>
                  <a:lnTo>
                    <a:pt x="2605265" y="240255"/>
                  </a:lnTo>
                  <a:lnTo>
                    <a:pt x="2600343" y="241543"/>
                  </a:lnTo>
                  <a:lnTo>
                    <a:pt x="2600343" y="245336"/>
                  </a:lnTo>
                  <a:lnTo>
                    <a:pt x="2603191" y="246624"/>
                  </a:lnTo>
                  <a:close/>
                  <a:moveTo>
                    <a:pt x="2663254" y="343412"/>
                  </a:moveTo>
                  <a:lnTo>
                    <a:pt x="2663281" y="343396"/>
                  </a:lnTo>
                  <a:lnTo>
                    <a:pt x="2663253" y="343396"/>
                  </a:lnTo>
                  <a:close/>
                  <a:moveTo>
                    <a:pt x="3500595" y="354125"/>
                  </a:moveTo>
                  <a:lnTo>
                    <a:pt x="3500595" y="319979"/>
                  </a:lnTo>
                  <a:cubicBezTo>
                    <a:pt x="3500595" y="315035"/>
                    <a:pt x="3506818" y="312099"/>
                    <a:pt x="3506818" y="312099"/>
                  </a:cubicBezTo>
                  <a:cubicBezTo>
                    <a:pt x="3506818" y="312099"/>
                    <a:pt x="3512791" y="315430"/>
                    <a:pt x="3513040" y="319979"/>
                  </a:cubicBezTo>
                  <a:lnTo>
                    <a:pt x="3513040" y="354125"/>
                  </a:lnTo>
                  <a:close/>
                  <a:moveTo>
                    <a:pt x="3478445" y="354125"/>
                  </a:moveTo>
                  <a:lnTo>
                    <a:pt x="3478445" y="319979"/>
                  </a:lnTo>
                  <a:cubicBezTo>
                    <a:pt x="3479330" y="314262"/>
                    <a:pt x="3484308" y="312099"/>
                    <a:pt x="3484308" y="312099"/>
                  </a:cubicBezTo>
                  <a:cubicBezTo>
                    <a:pt x="3484308" y="312099"/>
                    <a:pt x="3489645" y="314880"/>
                    <a:pt x="3490170" y="319979"/>
                  </a:cubicBezTo>
                  <a:lnTo>
                    <a:pt x="3490170" y="354125"/>
                  </a:lnTo>
                  <a:lnTo>
                    <a:pt x="3490142" y="354125"/>
                  </a:lnTo>
                  <a:close/>
                  <a:moveTo>
                    <a:pt x="3444598" y="355361"/>
                  </a:moveTo>
                  <a:lnTo>
                    <a:pt x="3444598" y="349661"/>
                  </a:lnTo>
                  <a:lnTo>
                    <a:pt x="3448082" y="349661"/>
                  </a:lnTo>
                  <a:lnTo>
                    <a:pt x="3448082" y="314983"/>
                  </a:lnTo>
                  <a:cubicBezTo>
                    <a:pt x="3427038" y="315928"/>
                    <a:pt x="3406435" y="317387"/>
                    <a:pt x="3386387" y="319241"/>
                  </a:cubicBezTo>
                  <a:close/>
                  <a:moveTo>
                    <a:pt x="3253126" y="363876"/>
                  </a:moveTo>
                  <a:lnTo>
                    <a:pt x="3288771" y="339893"/>
                  </a:lnTo>
                  <a:lnTo>
                    <a:pt x="3288771" y="331687"/>
                  </a:lnTo>
                  <a:cubicBezTo>
                    <a:pt x="3272151" y="334366"/>
                    <a:pt x="3256278" y="337215"/>
                    <a:pt x="3241290" y="340116"/>
                  </a:cubicBezTo>
                  <a:lnTo>
                    <a:pt x="3248508" y="341971"/>
                  </a:lnTo>
                  <a:lnTo>
                    <a:pt x="3243779" y="346674"/>
                  </a:lnTo>
                  <a:lnTo>
                    <a:pt x="3243752" y="346674"/>
                  </a:lnTo>
                  <a:lnTo>
                    <a:pt x="3247457" y="352614"/>
                  </a:lnTo>
                  <a:lnTo>
                    <a:pt x="3249393" y="355704"/>
                  </a:lnTo>
                  <a:lnTo>
                    <a:pt x="3251356" y="356116"/>
                  </a:lnTo>
                  <a:lnTo>
                    <a:pt x="3251356" y="360734"/>
                  </a:lnTo>
                  <a:lnTo>
                    <a:pt x="3253126" y="361284"/>
                  </a:lnTo>
                  <a:close/>
                  <a:moveTo>
                    <a:pt x="2638616" y="367154"/>
                  </a:moveTo>
                  <a:lnTo>
                    <a:pt x="2636320" y="362073"/>
                  </a:lnTo>
                  <a:lnTo>
                    <a:pt x="2640911" y="362073"/>
                  </a:lnTo>
                  <a:close/>
                  <a:moveTo>
                    <a:pt x="2671219" y="367738"/>
                  </a:moveTo>
                  <a:lnTo>
                    <a:pt x="2668205" y="362073"/>
                  </a:lnTo>
                  <a:lnTo>
                    <a:pt x="2674233" y="362073"/>
                  </a:lnTo>
                  <a:close/>
                  <a:moveTo>
                    <a:pt x="2606704" y="368081"/>
                  </a:moveTo>
                  <a:lnTo>
                    <a:pt x="2603137" y="362073"/>
                  </a:lnTo>
                  <a:lnTo>
                    <a:pt x="2610244" y="362073"/>
                  </a:lnTo>
                  <a:close/>
                  <a:moveTo>
                    <a:pt x="2590582" y="368820"/>
                  </a:moveTo>
                  <a:lnTo>
                    <a:pt x="2585273" y="362073"/>
                  </a:lnTo>
                  <a:lnTo>
                    <a:pt x="2595891" y="362073"/>
                  </a:lnTo>
                  <a:close/>
                  <a:moveTo>
                    <a:pt x="2623545" y="368940"/>
                  </a:moveTo>
                  <a:lnTo>
                    <a:pt x="2617793" y="362073"/>
                  </a:lnTo>
                  <a:lnTo>
                    <a:pt x="2629297" y="362073"/>
                  </a:lnTo>
                  <a:close/>
                  <a:moveTo>
                    <a:pt x="2654544" y="369077"/>
                  </a:moveTo>
                  <a:lnTo>
                    <a:pt x="2648267" y="362073"/>
                  </a:lnTo>
                  <a:lnTo>
                    <a:pt x="2660822" y="362073"/>
                  </a:lnTo>
                  <a:close/>
                  <a:moveTo>
                    <a:pt x="2583171" y="378193"/>
                  </a:moveTo>
                  <a:lnTo>
                    <a:pt x="2583171" y="364802"/>
                  </a:lnTo>
                  <a:lnTo>
                    <a:pt x="2588452" y="371497"/>
                  </a:lnTo>
                  <a:close/>
                  <a:moveTo>
                    <a:pt x="2676888" y="378331"/>
                  </a:moveTo>
                  <a:lnTo>
                    <a:pt x="2673237" y="371497"/>
                  </a:lnTo>
                  <a:lnTo>
                    <a:pt x="2676888" y="364665"/>
                  </a:lnTo>
                  <a:close/>
                  <a:moveTo>
                    <a:pt x="2632780" y="379978"/>
                  </a:moveTo>
                  <a:lnTo>
                    <a:pt x="2625674" y="371497"/>
                  </a:lnTo>
                  <a:lnTo>
                    <a:pt x="2632780" y="363017"/>
                  </a:lnTo>
                  <a:lnTo>
                    <a:pt x="2636625" y="371497"/>
                  </a:lnTo>
                  <a:close/>
                  <a:moveTo>
                    <a:pt x="2599541" y="380167"/>
                  </a:moveTo>
                  <a:lnTo>
                    <a:pt x="2592683" y="371497"/>
                  </a:lnTo>
                  <a:lnTo>
                    <a:pt x="2599541" y="362828"/>
                  </a:lnTo>
                  <a:lnTo>
                    <a:pt x="2604685" y="371497"/>
                  </a:lnTo>
                  <a:close/>
                  <a:moveTo>
                    <a:pt x="2644534" y="380201"/>
                  </a:moveTo>
                  <a:lnTo>
                    <a:pt x="2640579" y="371497"/>
                  </a:lnTo>
                  <a:lnTo>
                    <a:pt x="2644534" y="362794"/>
                  </a:lnTo>
                  <a:lnTo>
                    <a:pt x="2652360" y="371497"/>
                  </a:lnTo>
                  <a:close/>
                  <a:moveTo>
                    <a:pt x="2664555" y="380236"/>
                  </a:moveTo>
                  <a:lnTo>
                    <a:pt x="2656701" y="371497"/>
                  </a:lnTo>
                  <a:lnTo>
                    <a:pt x="2664555" y="362742"/>
                  </a:lnTo>
                  <a:lnTo>
                    <a:pt x="2669228" y="371497"/>
                  </a:lnTo>
                  <a:close/>
                  <a:moveTo>
                    <a:pt x="2613950" y="380356"/>
                  </a:moveTo>
                  <a:lnTo>
                    <a:pt x="2608695" y="371497"/>
                  </a:lnTo>
                  <a:lnTo>
                    <a:pt x="2613950" y="362622"/>
                  </a:lnTo>
                  <a:lnTo>
                    <a:pt x="2621388" y="371497"/>
                  </a:lnTo>
                  <a:close/>
                  <a:moveTo>
                    <a:pt x="2668205" y="380940"/>
                  </a:moveTo>
                  <a:lnTo>
                    <a:pt x="2671219" y="375257"/>
                  </a:lnTo>
                  <a:lnTo>
                    <a:pt x="2674260" y="380940"/>
                  </a:lnTo>
                  <a:close/>
                  <a:moveTo>
                    <a:pt x="2648239" y="380940"/>
                  </a:moveTo>
                  <a:lnTo>
                    <a:pt x="2654544" y="373918"/>
                  </a:lnTo>
                  <a:lnTo>
                    <a:pt x="2660849" y="380940"/>
                  </a:lnTo>
                  <a:lnTo>
                    <a:pt x="2648267" y="380940"/>
                  </a:lnTo>
                  <a:close/>
                  <a:moveTo>
                    <a:pt x="2636293" y="380940"/>
                  </a:moveTo>
                  <a:lnTo>
                    <a:pt x="2638616" y="375841"/>
                  </a:lnTo>
                  <a:lnTo>
                    <a:pt x="2640911" y="380940"/>
                  </a:lnTo>
                  <a:close/>
                  <a:moveTo>
                    <a:pt x="2617765" y="380940"/>
                  </a:moveTo>
                  <a:lnTo>
                    <a:pt x="2623545" y="374056"/>
                  </a:lnTo>
                  <a:lnTo>
                    <a:pt x="2629324" y="380940"/>
                  </a:lnTo>
                  <a:lnTo>
                    <a:pt x="2617793" y="380940"/>
                  </a:lnTo>
                  <a:close/>
                  <a:moveTo>
                    <a:pt x="2603109" y="380940"/>
                  </a:moveTo>
                  <a:lnTo>
                    <a:pt x="2606677" y="374914"/>
                  </a:lnTo>
                  <a:lnTo>
                    <a:pt x="2610244" y="380940"/>
                  </a:lnTo>
                  <a:close/>
                  <a:moveTo>
                    <a:pt x="2585245" y="380940"/>
                  </a:moveTo>
                  <a:lnTo>
                    <a:pt x="2590582" y="374176"/>
                  </a:lnTo>
                  <a:lnTo>
                    <a:pt x="2595919" y="380940"/>
                  </a:lnTo>
                  <a:close/>
                  <a:moveTo>
                    <a:pt x="1726583" y="402983"/>
                  </a:moveTo>
                  <a:lnTo>
                    <a:pt x="1734962" y="402983"/>
                  </a:lnTo>
                  <a:lnTo>
                    <a:pt x="1846238" y="402983"/>
                  </a:lnTo>
                  <a:lnTo>
                    <a:pt x="1846238" y="393489"/>
                  </a:lnTo>
                  <a:lnTo>
                    <a:pt x="1846238" y="384854"/>
                  </a:lnTo>
                  <a:lnTo>
                    <a:pt x="1860176" y="384854"/>
                  </a:lnTo>
                  <a:lnTo>
                    <a:pt x="1905305" y="384854"/>
                  </a:lnTo>
                  <a:lnTo>
                    <a:pt x="1902900" y="185045"/>
                  </a:lnTo>
                  <a:lnTo>
                    <a:pt x="1869827" y="185045"/>
                  </a:lnTo>
                  <a:lnTo>
                    <a:pt x="1869827" y="190590"/>
                  </a:lnTo>
                  <a:lnTo>
                    <a:pt x="1798371" y="190590"/>
                  </a:lnTo>
                  <a:lnTo>
                    <a:pt x="1798371" y="185045"/>
                  </a:lnTo>
                  <a:lnTo>
                    <a:pt x="1789439" y="185045"/>
                  </a:lnTo>
                  <a:lnTo>
                    <a:pt x="1789439" y="170075"/>
                  </a:lnTo>
                  <a:lnTo>
                    <a:pt x="1779622" y="170075"/>
                  </a:lnTo>
                  <a:lnTo>
                    <a:pt x="1779622" y="164530"/>
                  </a:lnTo>
                  <a:lnTo>
                    <a:pt x="1749231" y="164530"/>
                  </a:lnTo>
                  <a:lnTo>
                    <a:pt x="1694754" y="164530"/>
                  </a:lnTo>
                  <a:lnTo>
                    <a:pt x="1664363" y="164530"/>
                  </a:lnTo>
                  <a:lnTo>
                    <a:pt x="1664363" y="170075"/>
                  </a:lnTo>
                  <a:lnTo>
                    <a:pt x="1654547" y="170075"/>
                  </a:lnTo>
                  <a:lnTo>
                    <a:pt x="1654547" y="185045"/>
                  </a:lnTo>
                  <a:lnTo>
                    <a:pt x="1645615" y="185045"/>
                  </a:lnTo>
                  <a:lnTo>
                    <a:pt x="1645615" y="190590"/>
                  </a:lnTo>
                  <a:lnTo>
                    <a:pt x="1574131" y="190590"/>
                  </a:lnTo>
                  <a:lnTo>
                    <a:pt x="1574131" y="185045"/>
                  </a:lnTo>
                  <a:lnTo>
                    <a:pt x="1541085" y="185045"/>
                  </a:lnTo>
                  <a:lnTo>
                    <a:pt x="1541085" y="218126"/>
                  </a:lnTo>
                  <a:lnTo>
                    <a:pt x="1546007" y="218126"/>
                  </a:lnTo>
                  <a:lnTo>
                    <a:pt x="1546007" y="217903"/>
                  </a:lnTo>
                  <a:lnTo>
                    <a:pt x="1561216" y="217903"/>
                  </a:lnTo>
                  <a:lnTo>
                    <a:pt x="1566470" y="217903"/>
                  </a:lnTo>
                  <a:lnTo>
                    <a:pt x="1573605" y="217903"/>
                  </a:lnTo>
                  <a:lnTo>
                    <a:pt x="1578167" y="221303"/>
                  </a:lnTo>
                  <a:lnTo>
                    <a:pt x="1581099" y="223517"/>
                  </a:lnTo>
                  <a:lnTo>
                    <a:pt x="1592548" y="232083"/>
                  </a:lnTo>
                  <a:lnTo>
                    <a:pt x="1593764" y="232083"/>
                  </a:lnTo>
                  <a:lnTo>
                    <a:pt x="1594981" y="232083"/>
                  </a:lnTo>
                  <a:lnTo>
                    <a:pt x="1596751" y="232461"/>
                  </a:lnTo>
                  <a:lnTo>
                    <a:pt x="1596862" y="232409"/>
                  </a:lnTo>
                  <a:lnTo>
                    <a:pt x="1604826" y="233680"/>
                  </a:lnTo>
                  <a:lnTo>
                    <a:pt x="1609029" y="234332"/>
                  </a:lnTo>
                  <a:lnTo>
                    <a:pt x="1610107" y="233834"/>
                  </a:lnTo>
                  <a:lnTo>
                    <a:pt x="1618210" y="235929"/>
                  </a:lnTo>
                  <a:lnTo>
                    <a:pt x="1621999" y="236924"/>
                  </a:lnTo>
                  <a:lnTo>
                    <a:pt x="1625787" y="237903"/>
                  </a:lnTo>
                  <a:lnTo>
                    <a:pt x="1628276" y="239963"/>
                  </a:lnTo>
                  <a:lnTo>
                    <a:pt x="1631566" y="242693"/>
                  </a:lnTo>
                  <a:lnTo>
                    <a:pt x="1638535" y="248461"/>
                  </a:lnTo>
                  <a:lnTo>
                    <a:pt x="1632894" y="252958"/>
                  </a:lnTo>
                  <a:lnTo>
                    <a:pt x="1632894" y="255259"/>
                  </a:lnTo>
                  <a:lnTo>
                    <a:pt x="1639475" y="255259"/>
                  </a:lnTo>
                  <a:lnTo>
                    <a:pt x="1654657" y="255259"/>
                  </a:lnTo>
                  <a:lnTo>
                    <a:pt x="1668705" y="255259"/>
                  </a:lnTo>
                  <a:lnTo>
                    <a:pt x="1683858" y="255259"/>
                  </a:lnTo>
                  <a:lnTo>
                    <a:pt x="1698709" y="255259"/>
                  </a:lnTo>
                  <a:lnTo>
                    <a:pt x="1699317" y="255259"/>
                  </a:lnTo>
                  <a:lnTo>
                    <a:pt x="1714526" y="255259"/>
                  </a:lnTo>
                  <a:lnTo>
                    <a:pt x="1718370" y="255259"/>
                  </a:lnTo>
                  <a:lnTo>
                    <a:pt x="1722933" y="258555"/>
                  </a:lnTo>
                  <a:lnTo>
                    <a:pt x="1726832" y="261388"/>
                  </a:lnTo>
                  <a:lnTo>
                    <a:pt x="1735266" y="267482"/>
                  </a:lnTo>
                  <a:lnTo>
                    <a:pt x="1731090" y="270538"/>
                  </a:lnTo>
                  <a:lnTo>
                    <a:pt x="1740244" y="273577"/>
                  </a:lnTo>
                  <a:lnTo>
                    <a:pt x="1727745" y="282503"/>
                  </a:lnTo>
                  <a:lnTo>
                    <a:pt x="1726583" y="283344"/>
                  </a:lnTo>
                  <a:close/>
                  <a:moveTo>
                    <a:pt x="2103884" y="403000"/>
                  </a:moveTo>
                  <a:lnTo>
                    <a:pt x="2226526" y="403000"/>
                  </a:lnTo>
                  <a:lnTo>
                    <a:pt x="2226526" y="378056"/>
                  </a:lnTo>
                  <a:lnTo>
                    <a:pt x="2250695" y="378056"/>
                  </a:lnTo>
                  <a:cubicBezTo>
                    <a:pt x="2261674" y="363876"/>
                    <a:pt x="2278155" y="351773"/>
                    <a:pt x="2298756" y="342812"/>
                  </a:cubicBezTo>
                  <a:cubicBezTo>
                    <a:pt x="2300942" y="341867"/>
                    <a:pt x="2306555" y="339773"/>
                    <a:pt x="2308795" y="338915"/>
                  </a:cubicBezTo>
                  <a:lnTo>
                    <a:pt x="2305421" y="56875"/>
                  </a:lnTo>
                  <a:lnTo>
                    <a:pt x="2281474" y="56875"/>
                  </a:lnTo>
                  <a:lnTo>
                    <a:pt x="2281474" y="30798"/>
                  </a:lnTo>
                  <a:lnTo>
                    <a:pt x="2228102" y="30798"/>
                  </a:lnTo>
                  <a:lnTo>
                    <a:pt x="2228102" y="22970"/>
                  </a:lnTo>
                  <a:lnTo>
                    <a:pt x="2178105" y="22970"/>
                  </a:lnTo>
                  <a:lnTo>
                    <a:pt x="2178105" y="0"/>
                  </a:lnTo>
                  <a:lnTo>
                    <a:pt x="2173044" y="0"/>
                  </a:lnTo>
                  <a:lnTo>
                    <a:pt x="2173044" y="22953"/>
                  </a:lnTo>
                  <a:lnTo>
                    <a:pt x="2123047" y="22953"/>
                  </a:lnTo>
                  <a:lnTo>
                    <a:pt x="2123047" y="30781"/>
                  </a:lnTo>
                  <a:lnTo>
                    <a:pt x="2069677" y="30781"/>
                  </a:lnTo>
                  <a:lnTo>
                    <a:pt x="2069677" y="56858"/>
                  </a:lnTo>
                  <a:lnTo>
                    <a:pt x="2045729" y="56858"/>
                  </a:lnTo>
                  <a:lnTo>
                    <a:pt x="2043296" y="384648"/>
                  </a:lnTo>
                  <a:lnTo>
                    <a:pt x="2089974" y="384871"/>
                  </a:lnTo>
                  <a:lnTo>
                    <a:pt x="2103884" y="384871"/>
                  </a:lnTo>
                  <a:close/>
                  <a:moveTo>
                    <a:pt x="758305" y="434484"/>
                  </a:moveTo>
                  <a:lnTo>
                    <a:pt x="758111" y="421557"/>
                  </a:lnTo>
                  <a:lnTo>
                    <a:pt x="777081" y="418793"/>
                  </a:lnTo>
                  <a:close/>
                  <a:moveTo>
                    <a:pt x="926768" y="434519"/>
                  </a:moveTo>
                  <a:lnTo>
                    <a:pt x="926768" y="434501"/>
                  </a:lnTo>
                  <a:lnTo>
                    <a:pt x="907992" y="418810"/>
                  </a:lnTo>
                  <a:cubicBezTo>
                    <a:pt x="913826" y="419737"/>
                    <a:pt x="920159" y="420665"/>
                    <a:pt x="926962" y="421575"/>
                  </a:cubicBezTo>
                  <a:close/>
                  <a:moveTo>
                    <a:pt x="158975" y="434519"/>
                  </a:moveTo>
                  <a:lnTo>
                    <a:pt x="158975" y="434501"/>
                  </a:lnTo>
                  <a:lnTo>
                    <a:pt x="140199" y="418810"/>
                  </a:lnTo>
                  <a:cubicBezTo>
                    <a:pt x="146034" y="419737"/>
                    <a:pt x="152367" y="420665"/>
                    <a:pt x="159170" y="421575"/>
                  </a:cubicBezTo>
                  <a:close/>
                  <a:moveTo>
                    <a:pt x="812643" y="442655"/>
                  </a:moveTo>
                  <a:lnTo>
                    <a:pt x="783110" y="417815"/>
                  </a:lnTo>
                  <a:cubicBezTo>
                    <a:pt x="794447" y="415892"/>
                    <a:pt x="803877" y="413986"/>
                    <a:pt x="811675" y="412150"/>
                  </a:cubicBezTo>
                  <a:close/>
                  <a:moveTo>
                    <a:pt x="44823" y="442655"/>
                  </a:moveTo>
                  <a:lnTo>
                    <a:pt x="15289" y="417815"/>
                  </a:lnTo>
                  <a:cubicBezTo>
                    <a:pt x="26627" y="415892"/>
                    <a:pt x="36056" y="413986"/>
                    <a:pt x="43855" y="412150"/>
                  </a:cubicBezTo>
                  <a:close/>
                  <a:moveTo>
                    <a:pt x="872458" y="442673"/>
                  </a:moveTo>
                  <a:lnTo>
                    <a:pt x="873425" y="412166"/>
                  </a:lnTo>
                  <a:cubicBezTo>
                    <a:pt x="881223" y="413986"/>
                    <a:pt x="890653" y="415909"/>
                    <a:pt x="901991" y="417832"/>
                  </a:cubicBezTo>
                  <a:close/>
                  <a:moveTo>
                    <a:pt x="104637" y="442673"/>
                  </a:moveTo>
                  <a:lnTo>
                    <a:pt x="105605" y="412166"/>
                  </a:lnTo>
                  <a:cubicBezTo>
                    <a:pt x="113403" y="413986"/>
                    <a:pt x="122832" y="415909"/>
                    <a:pt x="134171" y="417832"/>
                  </a:cubicBezTo>
                  <a:close/>
                  <a:moveTo>
                    <a:pt x="870134" y="444184"/>
                  </a:moveTo>
                  <a:lnTo>
                    <a:pt x="846325" y="437591"/>
                  </a:lnTo>
                  <a:lnTo>
                    <a:pt x="846325" y="404115"/>
                  </a:lnTo>
                  <a:cubicBezTo>
                    <a:pt x="851358" y="406106"/>
                    <a:pt x="859239" y="408733"/>
                    <a:pt x="871158" y="411617"/>
                  </a:cubicBezTo>
                  <a:close/>
                  <a:moveTo>
                    <a:pt x="814966" y="444184"/>
                  </a:moveTo>
                  <a:lnTo>
                    <a:pt x="813943" y="411617"/>
                  </a:lnTo>
                  <a:cubicBezTo>
                    <a:pt x="825889" y="408733"/>
                    <a:pt x="833770" y="406106"/>
                    <a:pt x="838776" y="404115"/>
                  </a:cubicBezTo>
                  <a:lnTo>
                    <a:pt x="838776" y="437591"/>
                  </a:lnTo>
                  <a:close/>
                  <a:moveTo>
                    <a:pt x="102341" y="444184"/>
                  </a:moveTo>
                  <a:lnTo>
                    <a:pt x="78532" y="437591"/>
                  </a:lnTo>
                  <a:lnTo>
                    <a:pt x="78532" y="404115"/>
                  </a:lnTo>
                  <a:cubicBezTo>
                    <a:pt x="83565" y="406106"/>
                    <a:pt x="91447" y="408733"/>
                    <a:pt x="103364" y="411617"/>
                  </a:cubicBezTo>
                  <a:close/>
                  <a:moveTo>
                    <a:pt x="47174" y="444184"/>
                  </a:moveTo>
                  <a:lnTo>
                    <a:pt x="46151" y="411617"/>
                  </a:lnTo>
                  <a:cubicBezTo>
                    <a:pt x="58096" y="408733"/>
                    <a:pt x="65977" y="406106"/>
                    <a:pt x="71011" y="404115"/>
                  </a:cubicBezTo>
                  <a:lnTo>
                    <a:pt x="71011" y="437591"/>
                  </a:lnTo>
                  <a:lnTo>
                    <a:pt x="70983" y="437591"/>
                  </a:lnTo>
                  <a:close/>
                  <a:moveTo>
                    <a:pt x="1055605" y="461316"/>
                  </a:moveTo>
                  <a:lnTo>
                    <a:pt x="1055605" y="432029"/>
                  </a:lnTo>
                  <a:cubicBezTo>
                    <a:pt x="1063348" y="432373"/>
                    <a:pt x="1071367" y="432681"/>
                    <a:pt x="1079664" y="432974"/>
                  </a:cubicBezTo>
                  <a:close/>
                  <a:moveTo>
                    <a:pt x="287784" y="461316"/>
                  </a:moveTo>
                  <a:lnTo>
                    <a:pt x="287784" y="432029"/>
                  </a:lnTo>
                  <a:cubicBezTo>
                    <a:pt x="295528" y="432373"/>
                    <a:pt x="303547" y="432681"/>
                    <a:pt x="311843" y="432974"/>
                  </a:cubicBezTo>
                  <a:close/>
                  <a:moveTo>
                    <a:pt x="629496" y="461334"/>
                  </a:moveTo>
                  <a:lnTo>
                    <a:pt x="605438" y="432990"/>
                  </a:lnTo>
                  <a:cubicBezTo>
                    <a:pt x="613734" y="432699"/>
                    <a:pt x="621753" y="432390"/>
                    <a:pt x="629496" y="432046"/>
                  </a:cubicBezTo>
                  <a:close/>
                  <a:moveTo>
                    <a:pt x="1021204" y="461488"/>
                  </a:moveTo>
                  <a:lnTo>
                    <a:pt x="1021176" y="461471"/>
                  </a:lnTo>
                  <a:lnTo>
                    <a:pt x="1021176" y="461449"/>
                  </a:lnTo>
                  <a:lnTo>
                    <a:pt x="997119" y="428613"/>
                  </a:lnTo>
                  <a:cubicBezTo>
                    <a:pt x="1005027" y="429196"/>
                    <a:pt x="1013295" y="429763"/>
                    <a:pt x="1021979" y="430278"/>
                  </a:cubicBezTo>
                  <a:lnTo>
                    <a:pt x="1020845" y="430278"/>
                  </a:lnTo>
                  <a:cubicBezTo>
                    <a:pt x="1020845" y="430278"/>
                    <a:pt x="1021031" y="447824"/>
                    <a:pt x="1021125" y="456597"/>
                  </a:cubicBezTo>
                  <a:lnTo>
                    <a:pt x="1021176" y="461449"/>
                  </a:lnTo>
                  <a:close/>
                  <a:moveTo>
                    <a:pt x="253412" y="461488"/>
                  </a:moveTo>
                  <a:lnTo>
                    <a:pt x="229326" y="428613"/>
                  </a:lnTo>
                  <a:cubicBezTo>
                    <a:pt x="237234" y="429196"/>
                    <a:pt x="245531" y="429763"/>
                    <a:pt x="254213" y="430278"/>
                  </a:cubicBezTo>
                  <a:lnTo>
                    <a:pt x="253080" y="430278"/>
                  </a:lnTo>
                  <a:cubicBezTo>
                    <a:pt x="253080" y="430278"/>
                    <a:pt x="253412" y="461471"/>
                    <a:pt x="253412" y="461471"/>
                  </a:cubicBezTo>
                  <a:close/>
                  <a:moveTo>
                    <a:pt x="663841" y="461505"/>
                  </a:moveTo>
                  <a:lnTo>
                    <a:pt x="664173" y="430312"/>
                  </a:lnTo>
                  <a:lnTo>
                    <a:pt x="663039" y="430312"/>
                  </a:lnTo>
                  <a:lnTo>
                    <a:pt x="663067" y="430295"/>
                  </a:lnTo>
                  <a:cubicBezTo>
                    <a:pt x="671750" y="429763"/>
                    <a:pt x="680046" y="429214"/>
                    <a:pt x="687927" y="428630"/>
                  </a:cubicBezTo>
                  <a:close/>
                  <a:moveTo>
                    <a:pt x="1109473" y="462140"/>
                  </a:moveTo>
                  <a:lnTo>
                    <a:pt x="1084890" y="433145"/>
                  </a:lnTo>
                  <a:cubicBezTo>
                    <a:pt x="1092715" y="433403"/>
                    <a:pt x="1100818" y="433626"/>
                    <a:pt x="1109170" y="433832"/>
                  </a:cubicBezTo>
                  <a:close/>
                  <a:moveTo>
                    <a:pt x="341681" y="462140"/>
                  </a:moveTo>
                  <a:lnTo>
                    <a:pt x="317070" y="433145"/>
                  </a:lnTo>
                  <a:cubicBezTo>
                    <a:pt x="324923" y="433403"/>
                    <a:pt x="332998" y="433626"/>
                    <a:pt x="341349" y="433832"/>
                  </a:cubicBezTo>
                  <a:close/>
                  <a:moveTo>
                    <a:pt x="575627" y="462158"/>
                  </a:moveTo>
                  <a:lnTo>
                    <a:pt x="575932" y="433849"/>
                  </a:lnTo>
                  <a:cubicBezTo>
                    <a:pt x="584283" y="433643"/>
                    <a:pt x="592385" y="433420"/>
                    <a:pt x="600211" y="433162"/>
                  </a:cubicBezTo>
                  <a:close/>
                  <a:moveTo>
                    <a:pt x="963962" y="462553"/>
                  </a:moveTo>
                  <a:lnTo>
                    <a:pt x="963879" y="425780"/>
                  </a:lnTo>
                  <a:cubicBezTo>
                    <a:pt x="972673" y="426639"/>
                    <a:pt x="982020" y="427463"/>
                    <a:pt x="992030" y="428235"/>
                  </a:cubicBezTo>
                  <a:close/>
                  <a:moveTo>
                    <a:pt x="721139" y="462553"/>
                  </a:moveTo>
                  <a:lnTo>
                    <a:pt x="693071" y="428235"/>
                  </a:lnTo>
                  <a:cubicBezTo>
                    <a:pt x="703082" y="427463"/>
                    <a:pt x="712455" y="426639"/>
                    <a:pt x="721222" y="425780"/>
                  </a:cubicBezTo>
                  <a:close/>
                  <a:moveTo>
                    <a:pt x="196142" y="462553"/>
                  </a:moveTo>
                  <a:lnTo>
                    <a:pt x="196059" y="425780"/>
                  </a:lnTo>
                  <a:cubicBezTo>
                    <a:pt x="204852" y="426639"/>
                    <a:pt x="214199" y="427463"/>
                    <a:pt x="224209" y="428235"/>
                  </a:cubicBezTo>
                  <a:close/>
                  <a:moveTo>
                    <a:pt x="1171582" y="462604"/>
                  </a:moveTo>
                  <a:lnTo>
                    <a:pt x="1170671" y="434741"/>
                  </a:lnTo>
                  <a:lnTo>
                    <a:pt x="1170643" y="434741"/>
                  </a:lnTo>
                  <a:lnTo>
                    <a:pt x="1170671" y="434725"/>
                  </a:lnTo>
                  <a:lnTo>
                    <a:pt x="1170671" y="434741"/>
                  </a:lnTo>
                  <a:lnTo>
                    <a:pt x="1194977" y="434810"/>
                  </a:lnTo>
                  <a:close/>
                  <a:moveTo>
                    <a:pt x="403763" y="462604"/>
                  </a:moveTo>
                  <a:lnTo>
                    <a:pt x="402822" y="434741"/>
                  </a:lnTo>
                  <a:lnTo>
                    <a:pt x="427157" y="434810"/>
                  </a:lnTo>
                  <a:close/>
                  <a:moveTo>
                    <a:pt x="513518" y="462639"/>
                  </a:moveTo>
                  <a:lnTo>
                    <a:pt x="513518" y="462621"/>
                  </a:lnTo>
                  <a:lnTo>
                    <a:pt x="490096" y="434827"/>
                  </a:lnTo>
                  <a:cubicBezTo>
                    <a:pt x="498392" y="434827"/>
                    <a:pt x="506494" y="434810"/>
                    <a:pt x="514431" y="434759"/>
                  </a:cubicBezTo>
                  <a:close/>
                  <a:moveTo>
                    <a:pt x="1169315" y="462913"/>
                  </a:moveTo>
                  <a:lnTo>
                    <a:pt x="1143404" y="434467"/>
                  </a:lnTo>
                  <a:cubicBezTo>
                    <a:pt x="1151534" y="434587"/>
                    <a:pt x="1159858" y="434656"/>
                    <a:pt x="1168375" y="434725"/>
                  </a:cubicBezTo>
                  <a:close/>
                  <a:moveTo>
                    <a:pt x="515758" y="462913"/>
                  </a:moveTo>
                  <a:lnTo>
                    <a:pt x="516698" y="434725"/>
                  </a:lnTo>
                  <a:cubicBezTo>
                    <a:pt x="525243" y="434673"/>
                    <a:pt x="533566" y="434587"/>
                    <a:pt x="541669" y="434467"/>
                  </a:cubicBezTo>
                  <a:close/>
                  <a:moveTo>
                    <a:pt x="401494" y="462913"/>
                  </a:moveTo>
                  <a:lnTo>
                    <a:pt x="375556" y="434467"/>
                  </a:lnTo>
                  <a:lnTo>
                    <a:pt x="375584" y="434467"/>
                  </a:lnTo>
                  <a:cubicBezTo>
                    <a:pt x="383713" y="434587"/>
                    <a:pt x="392037" y="434656"/>
                    <a:pt x="400554" y="434725"/>
                  </a:cubicBezTo>
                  <a:close/>
                  <a:moveTo>
                    <a:pt x="1023500" y="463222"/>
                  </a:moveTo>
                  <a:lnTo>
                    <a:pt x="1023140" y="430347"/>
                  </a:lnTo>
                  <a:cubicBezTo>
                    <a:pt x="1031961" y="430879"/>
                    <a:pt x="1041169" y="431360"/>
                    <a:pt x="1050821" y="431806"/>
                  </a:cubicBezTo>
                  <a:close/>
                  <a:moveTo>
                    <a:pt x="255707" y="463222"/>
                  </a:moveTo>
                  <a:lnTo>
                    <a:pt x="255347" y="430349"/>
                  </a:lnTo>
                  <a:lnTo>
                    <a:pt x="255319" y="430347"/>
                  </a:lnTo>
                  <a:lnTo>
                    <a:pt x="255347" y="430347"/>
                  </a:lnTo>
                  <a:lnTo>
                    <a:pt x="255347" y="430349"/>
                  </a:lnTo>
                  <a:lnTo>
                    <a:pt x="283001" y="431806"/>
                  </a:lnTo>
                  <a:close/>
                  <a:moveTo>
                    <a:pt x="661574" y="463239"/>
                  </a:moveTo>
                  <a:lnTo>
                    <a:pt x="634252" y="431823"/>
                  </a:lnTo>
                  <a:cubicBezTo>
                    <a:pt x="643903" y="431377"/>
                    <a:pt x="653112" y="430896"/>
                    <a:pt x="661933" y="430364"/>
                  </a:cubicBezTo>
                  <a:close/>
                  <a:moveTo>
                    <a:pt x="1111769" y="463290"/>
                  </a:moveTo>
                  <a:lnTo>
                    <a:pt x="1111437" y="433883"/>
                  </a:lnTo>
                  <a:cubicBezTo>
                    <a:pt x="1119899" y="434072"/>
                    <a:pt x="1128610" y="434244"/>
                    <a:pt x="1137597" y="434381"/>
                  </a:cubicBezTo>
                  <a:close/>
                  <a:moveTo>
                    <a:pt x="343948" y="463290"/>
                  </a:moveTo>
                  <a:lnTo>
                    <a:pt x="343616" y="433883"/>
                  </a:lnTo>
                  <a:cubicBezTo>
                    <a:pt x="352078" y="434072"/>
                    <a:pt x="360817" y="434244"/>
                    <a:pt x="369776" y="434381"/>
                  </a:cubicBezTo>
                  <a:close/>
                  <a:moveTo>
                    <a:pt x="573304" y="463308"/>
                  </a:moveTo>
                  <a:lnTo>
                    <a:pt x="573304" y="463277"/>
                  </a:lnTo>
                  <a:lnTo>
                    <a:pt x="547476" y="434398"/>
                  </a:lnTo>
                  <a:cubicBezTo>
                    <a:pt x="556464" y="434261"/>
                    <a:pt x="565174" y="434089"/>
                    <a:pt x="573637" y="433900"/>
                  </a:cubicBezTo>
                  <a:lnTo>
                    <a:pt x="573304" y="463277"/>
                  </a:lnTo>
                  <a:lnTo>
                    <a:pt x="573332" y="463308"/>
                  </a:lnTo>
                  <a:close/>
                  <a:moveTo>
                    <a:pt x="961666" y="463685"/>
                  </a:moveTo>
                  <a:lnTo>
                    <a:pt x="961666" y="463662"/>
                  </a:lnTo>
                  <a:lnTo>
                    <a:pt x="929008" y="436355"/>
                  </a:lnTo>
                  <a:lnTo>
                    <a:pt x="929230" y="421849"/>
                  </a:lnTo>
                  <a:cubicBezTo>
                    <a:pt x="939296" y="423171"/>
                    <a:pt x="950440" y="424441"/>
                    <a:pt x="962717" y="425660"/>
                  </a:cubicBezTo>
                  <a:lnTo>
                    <a:pt x="961584" y="425660"/>
                  </a:lnTo>
                  <a:lnTo>
                    <a:pt x="961666" y="463662"/>
                  </a:lnTo>
                  <a:lnTo>
                    <a:pt x="961694" y="463685"/>
                  </a:lnTo>
                  <a:close/>
                  <a:moveTo>
                    <a:pt x="193846" y="463685"/>
                  </a:moveTo>
                  <a:lnTo>
                    <a:pt x="193846" y="463663"/>
                  </a:lnTo>
                  <a:lnTo>
                    <a:pt x="161187" y="436355"/>
                  </a:lnTo>
                  <a:lnTo>
                    <a:pt x="161437" y="421849"/>
                  </a:lnTo>
                  <a:cubicBezTo>
                    <a:pt x="171503" y="423171"/>
                    <a:pt x="182619" y="424441"/>
                    <a:pt x="194925" y="425660"/>
                  </a:cubicBezTo>
                  <a:lnTo>
                    <a:pt x="193763" y="425660"/>
                  </a:lnTo>
                  <a:lnTo>
                    <a:pt x="193846" y="463663"/>
                  </a:lnTo>
                  <a:lnTo>
                    <a:pt x="193874" y="463685"/>
                  </a:lnTo>
                  <a:close/>
                  <a:moveTo>
                    <a:pt x="723406" y="463703"/>
                  </a:moveTo>
                  <a:lnTo>
                    <a:pt x="723489" y="425677"/>
                  </a:lnTo>
                  <a:lnTo>
                    <a:pt x="722355" y="425677"/>
                  </a:lnTo>
                  <a:cubicBezTo>
                    <a:pt x="734661" y="424476"/>
                    <a:pt x="745778" y="423188"/>
                    <a:pt x="755844" y="421866"/>
                  </a:cubicBezTo>
                  <a:lnTo>
                    <a:pt x="756092" y="436372"/>
                  </a:lnTo>
                  <a:close/>
                  <a:moveTo>
                    <a:pt x="1141220" y="464355"/>
                  </a:moveTo>
                  <a:lnTo>
                    <a:pt x="1141220" y="437900"/>
                  </a:lnTo>
                  <a:lnTo>
                    <a:pt x="1165333" y="464355"/>
                  </a:lnTo>
                  <a:close/>
                  <a:moveTo>
                    <a:pt x="1116110" y="464355"/>
                  </a:moveTo>
                  <a:lnTo>
                    <a:pt x="1138951" y="438810"/>
                  </a:lnTo>
                  <a:lnTo>
                    <a:pt x="1138951" y="464355"/>
                  </a:lnTo>
                  <a:close/>
                  <a:moveTo>
                    <a:pt x="373399" y="464355"/>
                  </a:moveTo>
                  <a:lnTo>
                    <a:pt x="373399" y="437900"/>
                  </a:lnTo>
                  <a:lnTo>
                    <a:pt x="397485" y="464355"/>
                  </a:lnTo>
                  <a:close/>
                  <a:moveTo>
                    <a:pt x="348290" y="464355"/>
                  </a:moveTo>
                  <a:lnTo>
                    <a:pt x="371132" y="438810"/>
                  </a:lnTo>
                  <a:lnTo>
                    <a:pt x="371132" y="464355"/>
                  </a:lnTo>
                  <a:close/>
                  <a:moveTo>
                    <a:pt x="1198102" y="464372"/>
                  </a:moveTo>
                  <a:lnTo>
                    <a:pt x="1197798" y="438330"/>
                  </a:lnTo>
                  <a:lnTo>
                    <a:pt x="1218649" y="464372"/>
                  </a:lnTo>
                  <a:close/>
                  <a:moveTo>
                    <a:pt x="1175315" y="464372"/>
                  </a:moveTo>
                  <a:lnTo>
                    <a:pt x="1195586" y="440304"/>
                  </a:lnTo>
                  <a:lnTo>
                    <a:pt x="1195862" y="464372"/>
                  </a:lnTo>
                  <a:lnTo>
                    <a:pt x="1175344" y="464372"/>
                  </a:lnTo>
                  <a:close/>
                  <a:moveTo>
                    <a:pt x="1082401" y="464372"/>
                  </a:moveTo>
                  <a:lnTo>
                    <a:pt x="1082705" y="436750"/>
                  </a:lnTo>
                  <a:lnTo>
                    <a:pt x="1106127" y="464372"/>
                  </a:lnTo>
                  <a:close/>
                  <a:moveTo>
                    <a:pt x="1058232" y="464372"/>
                  </a:moveTo>
                  <a:lnTo>
                    <a:pt x="1080410" y="438226"/>
                  </a:lnTo>
                  <a:lnTo>
                    <a:pt x="1080133" y="464372"/>
                  </a:lnTo>
                  <a:close/>
                  <a:moveTo>
                    <a:pt x="1027758" y="464372"/>
                  </a:moveTo>
                  <a:lnTo>
                    <a:pt x="1051070" y="437557"/>
                  </a:lnTo>
                  <a:lnTo>
                    <a:pt x="1051070" y="464372"/>
                  </a:lnTo>
                  <a:close/>
                  <a:moveTo>
                    <a:pt x="546149" y="464372"/>
                  </a:moveTo>
                  <a:lnTo>
                    <a:pt x="546149" y="438827"/>
                  </a:lnTo>
                  <a:lnTo>
                    <a:pt x="568991" y="464372"/>
                  </a:lnTo>
                  <a:close/>
                  <a:moveTo>
                    <a:pt x="519768" y="464372"/>
                  </a:moveTo>
                  <a:lnTo>
                    <a:pt x="543881" y="437918"/>
                  </a:lnTo>
                  <a:lnTo>
                    <a:pt x="543881" y="464372"/>
                  </a:lnTo>
                  <a:close/>
                  <a:moveTo>
                    <a:pt x="489238" y="464372"/>
                  </a:moveTo>
                  <a:lnTo>
                    <a:pt x="489515" y="440304"/>
                  </a:lnTo>
                  <a:lnTo>
                    <a:pt x="509785" y="464372"/>
                  </a:lnTo>
                  <a:lnTo>
                    <a:pt x="489266" y="464372"/>
                  </a:lnTo>
                  <a:close/>
                  <a:moveTo>
                    <a:pt x="466425" y="464372"/>
                  </a:moveTo>
                  <a:lnTo>
                    <a:pt x="487275" y="438330"/>
                  </a:lnTo>
                  <a:lnTo>
                    <a:pt x="486971" y="464372"/>
                  </a:lnTo>
                  <a:close/>
                  <a:moveTo>
                    <a:pt x="460921" y="464372"/>
                  </a:moveTo>
                  <a:lnTo>
                    <a:pt x="460921" y="434725"/>
                  </a:lnTo>
                  <a:cubicBezTo>
                    <a:pt x="468997" y="434776"/>
                    <a:pt x="477043" y="434810"/>
                    <a:pt x="484925" y="434810"/>
                  </a:cubicBezTo>
                  <a:lnTo>
                    <a:pt x="461281" y="464372"/>
                  </a:lnTo>
                  <a:close/>
                  <a:moveTo>
                    <a:pt x="455972" y="464372"/>
                  </a:moveTo>
                  <a:lnTo>
                    <a:pt x="432328" y="434810"/>
                  </a:lnTo>
                  <a:cubicBezTo>
                    <a:pt x="440209" y="434810"/>
                    <a:pt x="448256" y="434776"/>
                    <a:pt x="456331" y="434725"/>
                  </a:cubicBezTo>
                  <a:lnTo>
                    <a:pt x="456331" y="464372"/>
                  </a:lnTo>
                  <a:close/>
                  <a:moveTo>
                    <a:pt x="430282" y="464372"/>
                  </a:moveTo>
                  <a:lnTo>
                    <a:pt x="430005" y="438330"/>
                  </a:lnTo>
                  <a:lnTo>
                    <a:pt x="450856" y="464372"/>
                  </a:lnTo>
                  <a:lnTo>
                    <a:pt x="430309" y="464372"/>
                  </a:lnTo>
                  <a:close/>
                  <a:moveTo>
                    <a:pt x="407496" y="464372"/>
                  </a:moveTo>
                  <a:lnTo>
                    <a:pt x="427765" y="440304"/>
                  </a:lnTo>
                  <a:lnTo>
                    <a:pt x="428042" y="464372"/>
                  </a:lnTo>
                  <a:lnTo>
                    <a:pt x="407523" y="464372"/>
                  </a:lnTo>
                  <a:close/>
                  <a:moveTo>
                    <a:pt x="314608" y="464372"/>
                  </a:moveTo>
                  <a:lnTo>
                    <a:pt x="314913" y="436750"/>
                  </a:lnTo>
                  <a:lnTo>
                    <a:pt x="338334" y="464372"/>
                  </a:lnTo>
                  <a:close/>
                  <a:moveTo>
                    <a:pt x="290439" y="464372"/>
                  </a:moveTo>
                  <a:lnTo>
                    <a:pt x="312617" y="438226"/>
                  </a:lnTo>
                  <a:lnTo>
                    <a:pt x="312341" y="464372"/>
                  </a:lnTo>
                  <a:close/>
                  <a:moveTo>
                    <a:pt x="259938" y="464372"/>
                  </a:moveTo>
                  <a:lnTo>
                    <a:pt x="283249" y="437557"/>
                  </a:lnTo>
                  <a:lnTo>
                    <a:pt x="283249" y="464372"/>
                  </a:lnTo>
                  <a:close/>
                  <a:moveTo>
                    <a:pt x="994574" y="464389"/>
                  </a:moveTo>
                  <a:lnTo>
                    <a:pt x="995183" y="432870"/>
                  </a:lnTo>
                  <a:lnTo>
                    <a:pt x="1018301" y="464389"/>
                  </a:lnTo>
                  <a:close/>
                  <a:moveTo>
                    <a:pt x="967640" y="464389"/>
                  </a:moveTo>
                  <a:lnTo>
                    <a:pt x="992915" y="433489"/>
                  </a:lnTo>
                  <a:lnTo>
                    <a:pt x="992335" y="464389"/>
                  </a:lnTo>
                  <a:close/>
                  <a:moveTo>
                    <a:pt x="928565" y="464389"/>
                  </a:moveTo>
                  <a:lnTo>
                    <a:pt x="928925" y="441179"/>
                  </a:lnTo>
                  <a:lnTo>
                    <a:pt x="956662" y="464389"/>
                  </a:lnTo>
                  <a:close/>
                  <a:moveTo>
                    <a:pt x="904452" y="464389"/>
                  </a:moveTo>
                  <a:lnTo>
                    <a:pt x="905503" y="421591"/>
                  </a:lnTo>
                  <a:lnTo>
                    <a:pt x="926686" y="439308"/>
                  </a:lnTo>
                  <a:lnTo>
                    <a:pt x="926298" y="464372"/>
                  </a:lnTo>
                  <a:lnTo>
                    <a:pt x="926298" y="464389"/>
                  </a:lnTo>
                  <a:close/>
                  <a:moveTo>
                    <a:pt x="894386" y="464389"/>
                  </a:moveTo>
                  <a:lnTo>
                    <a:pt x="875085" y="445677"/>
                  </a:lnTo>
                  <a:lnTo>
                    <a:pt x="874172" y="446124"/>
                  </a:lnTo>
                  <a:lnTo>
                    <a:pt x="903290" y="421643"/>
                  </a:lnTo>
                  <a:lnTo>
                    <a:pt x="902212" y="464389"/>
                  </a:lnTo>
                  <a:lnTo>
                    <a:pt x="902184" y="464389"/>
                  </a:lnTo>
                  <a:close/>
                  <a:moveTo>
                    <a:pt x="852437" y="464389"/>
                  </a:moveTo>
                  <a:lnTo>
                    <a:pt x="869969" y="449643"/>
                  </a:lnTo>
                  <a:lnTo>
                    <a:pt x="869498" y="464389"/>
                  </a:lnTo>
                  <a:close/>
                  <a:moveTo>
                    <a:pt x="846325" y="464389"/>
                  </a:moveTo>
                  <a:lnTo>
                    <a:pt x="846325" y="439256"/>
                  </a:lnTo>
                  <a:lnTo>
                    <a:pt x="869028" y="445540"/>
                  </a:lnTo>
                  <a:lnTo>
                    <a:pt x="846601" y="464389"/>
                  </a:lnTo>
                  <a:close/>
                  <a:moveTo>
                    <a:pt x="838471" y="464389"/>
                  </a:moveTo>
                  <a:lnTo>
                    <a:pt x="816072" y="445540"/>
                  </a:lnTo>
                  <a:lnTo>
                    <a:pt x="838776" y="439256"/>
                  </a:lnTo>
                  <a:lnTo>
                    <a:pt x="838776" y="464389"/>
                  </a:lnTo>
                  <a:close/>
                  <a:moveTo>
                    <a:pt x="815603" y="464389"/>
                  </a:moveTo>
                  <a:lnTo>
                    <a:pt x="815132" y="449643"/>
                  </a:lnTo>
                  <a:lnTo>
                    <a:pt x="832664" y="464389"/>
                  </a:lnTo>
                  <a:close/>
                  <a:moveTo>
                    <a:pt x="793480" y="464389"/>
                  </a:moveTo>
                  <a:lnTo>
                    <a:pt x="811675" y="446759"/>
                  </a:lnTo>
                  <a:cubicBezTo>
                    <a:pt x="811675" y="446759"/>
                    <a:pt x="812781" y="447685"/>
                    <a:pt x="812781" y="447685"/>
                  </a:cubicBezTo>
                  <a:lnTo>
                    <a:pt x="813307" y="464389"/>
                  </a:lnTo>
                  <a:close/>
                  <a:moveTo>
                    <a:pt x="782916" y="464389"/>
                  </a:moveTo>
                  <a:lnTo>
                    <a:pt x="781865" y="421643"/>
                  </a:lnTo>
                  <a:lnTo>
                    <a:pt x="810984" y="446124"/>
                  </a:lnTo>
                  <a:lnTo>
                    <a:pt x="810072" y="445677"/>
                  </a:lnTo>
                  <a:lnTo>
                    <a:pt x="790742" y="464389"/>
                  </a:lnTo>
                  <a:lnTo>
                    <a:pt x="782943" y="464389"/>
                  </a:lnTo>
                  <a:close/>
                  <a:moveTo>
                    <a:pt x="728412" y="464389"/>
                  </a:moveTo>
                  <a:lnTo>
                    <a:pt x="756148" y="441179"/>
                  </a:lnTo>
                  <a:lnTo>
                    <a:pt x="756507" y="464389"/>
                  </a:lnTo>
                  <a:close/>
                  <a:moveTo>
                    <a:pt x="692766" y="464389"/>
                  </a:moveTo>
                  <a:lnTo>
                    <a:pt x="692186" y="433489"/>
                  </a:lnTo>
                  <a:lnTo>
                    <a:pt x="717461" y="464389"/>
                  </a:lnTo>
                  <a:close/>
                  <a:moveTo>
                    <a:pt x="666800" y="464389"/>
                  </a:moveTo>
                  <a:lnTo>
                    <a:pt x="689891" y="432870"/>
                  </a:lnTo>
                  <a:lnTo>
                    <a:pt x="690499" y="464389"/>
                  </a:lnTo>
                  <a:close/>
                  <a:moveTo>
                    <a:pt x="634003" y="464389"/>
                  </a:moveTo>
                  <a:lnTo>
                    <a:pt x="634003" y="437574"/>
                  </a:lnTo>
                  <a:lnTo>
                    <a:pt x="657315" y="464389"/>
                  </a:lnTo>
                  <a:close/>
                  <a:moveTo>
                    <a:pt x="604940" y="464389"/>
                  </a:moveTo>
                  <a:lnTo>
                    <a:pt x="604663" y="438244"/>
                  </a:lnTo>
                  <a:lnTo>
                    <a:pt x="626841" y="464389"/>
                  </a:lnTo>
                  <a:close/>
                  <a:moveTo>
                    <a:pt x="578946" y="464389"/>
                  </a:moveTo>
                  <a:lnTo>
                    <a:pt x="602368" y="436767"/>
                  </a:lnTo>
                  <a:lnTo>
                    <a:pt x="602672" y="464389"/>
                  </a:lnTo>
                  <a:close/>
                  <a:moveTo>
                    <a:pt x="226781" y="464389"/>
                  </a:moveTo>
                  <a:lnTo>
                    <a:pt x="227390" y="432870"/>
                  </a:lnTo>
                  <a:lnTo>
                    <a:pt x="250508" y="464389"/>
                  </a:lnTo>
                  <a:lnTo>
                    <a:pt x="226809" y="464389"/>
                  </a:lnTo>
                  <a:close/>
                  <a:moveTo>
                    <a:pt x="199820" y="464389"/>
                  </a:moveTo>
                  <a:lnTo>
                    <a:pt x="225095" y="433489"/>
                  </a:lnTo>
                  <a:lnTo>
                    <a:pt x="224486" y="464389"/>
                  </a:lnTo>
                  <a:close/>
                  <a:moveTo>
                    <a:pt x="160746" y="464389"/>
                  </a:moveTo>
                  <a:lnTo>
                    <a:pt x="161105" y="441179"/>
                  </a:lnTo>
                  <a:lnTo>
                    <a:pt x="188841" y="464389"/>
                  </a:lnTo>
                  <a:close/>
                  <a:moveTo>
                    <a:pt x="136660" y="464389"/>
                  </a:moveTo>
                  <a:lnTo>
                    <a:pt x="137711" y="421591"/>
                  </a:lnTo>
                  <a:lnTo>
                    <a:pt x="158920" y="439308"/>
                  </a:lnTo>
                  <a:lnTo>
                    <a:pt x="158505" y="464372"/>
                  </a:lnTo>
                  <a:lnTo>
                    <a:pt x="158505" y="464389"/>
                  </a:lnTo>
                  <a:close/>
                  <a:moveTo>
                    <a:pt x="126594" y="464389"/>
                  </a:moveTo>
                  <a:lnTo>
                    <a:pt x="107292" y="445677"/>
                  </a:lnTo>
                  <a:lnTo>
                    <a:pt x="106379" y="446124"/>
                  </a:lnTo>
                  <a:lnTo>
                    <a:pt x="135470" y="421643"/>
                  </a:lnTo>
                  <a:lnTo>
                    <a:pt x="134419" y="464389"/>
                  </a:lnTo>
                  <a:lnTo>
                    <a:pt x="134391" y="464389"/>
                  </a:lnTo>
                  <a:close/>
                  <a:moveTo>
                    <a:pt x="84644" y="464389"/>
                  </a:moveTo>
                  <a:lnTo>
                    <a:pt x="102176" y="449643"/>
                  </a:lnTo>
                  <a:lnTo>
                    <a:pt x="101705" y="464389"/>
                  </a:lnTo>
                  <a:close/>
                  <a:moveTo>
                    <a:pt x="78504" y="464389"/>
                  </a:moveTo>
                  <a:lnTo>
                    <a:pt x="78504" y="439256"/>
                  </a:lnTo>
                  <a:lnTo>
                    <a:pt x="101208" y="445540"/>
                  </a:lnTo>
                  <a:lnTo>
                    <a:pt x="78781" y="464389"/>
                  </a:lnTo>
                  <a:close/>
                  <a:moveTo>
                    <a:pt x="70678" y="464389"/>
                  </a:moveTo>
                  <a:lnTo>
                    <a:pt x="48280" y="445540"/>
                  </a:lnTo>
                  <a:lnTo>
                    <a:pt x="70983" y="439256"/>
                  </a:lnTo>
                  <a:lnTo>
                    <a:pt x="70983" y="464389"/>
                  </a:lnTo>
                  <a:close/>
                  <a:moveTo>
                    <a:pt x="47810" y="464389"/>
                  </a:moveTo>
                  <a:lnTo>
                    <a:pt x="47339" y="449643"/>
                  </a:lnTo>
                  <a:lnTo>
                    <a:pt x="64871" y="464389"/>
                  </a:lnTo>
                  <a:close/>
                  <a:moveTo>
                    <a:pt x="25687" y="464389"/>
                  </a:moveTo>
                  <a:lnTo>
                    <a:pt x="43882" y="446759"/>
                  </a:lnTo>
                  <a:cubicBezTo>
                    <a:pt x="43882" y="446759"/>
                    <a:pt x="44988" y="447685"/>
                    <a:pt x="44988" y="447685"/>
                  </a:cubicBezTo>
                  <a:lnTo>
                    <a:pt x="45514" y="464389"/>
                  </a:lnTo>
                  <a:close/>
                  <a:moveTo>
                    <a:pt x="15124" y="464389"/>
                  </a:moveTo>
                  <a:lnTo>
                    <a:pt x="14045" y="421643"/>
                  </a:lnTo>
                  <a:lnTo>
                    <a:pt x="43164" y="446124"/>
                  </a:lnTo>
                  <a:lnTo>
                    <a:pt x="42251" y="445677"/>
                  </a:lnTo>
                  <a:lnTo>
                    <a:pt x="22949" y="464389"/>
                  </a:lnTo>
                  <a:lnTo>
                    <a:pt x="15151" y="464389"/>
                  </a:lnTo>
                  <a:close/>
                  <a:moveTo>
                    <a:pt x="871738" y="464406"/>
                  </a:moveTo>
                  <a:lnTo>
                    <a:pt x="871766" y="464389"/>
                  </a:lnTo>
                  <a:lnTo>
                    <a:pt x="872291" y="447685"/>
                  </a:lnTo>
                  <a:lnTo>
                    <a:pt x="873397" y="446759"/>
                  </a:lnTo>
                  <a:cubicBezTo>
                    <a:pt x="873397" y="446759"/>
                    <a:pt x="891593" y="464406"/>
                    <a:pt x="891593" y="464406"/>
                  </a:cubicBezTo>
                  <a:close/>
                  <a:moveTo>
                    <a:pt x="758803" y="464406"/>
                  </a:moveTo>
                  <a:lnTo>
                    <a:pt x="758803" y="464389"/>
                  </a:lnTo>
                  <a:lnTo>
                    <a:pt x="758415" y="439325"/>
                  </a:lnTo>
                  <a:lnTo>
                    <a:pt x="779625" y="421609"/>
                  </a:lnTo>
                  <a:lnTo>
                    <a:pt x="780676" y="464406"/>
                  </a:lnTo>
                  <a:close/>
                  <a:moveTo>
                    <a:pt x="103973" y="464406"/>
                  </a:moveTo>
                  <a:lnTo>
                    <a:pt x="103973" y="464389"/>
                  </a:lnTo>
                  <a:lnTo>
                    <a:pt x="104499" y="447685"/>
                  </a:lnTo>
                  <a:lnTo>
                    <a:pt x="105633" y="446759"/>
                  </a:lnTo>
                  <a:cubicBezTo>
                    <a:pt x="105633" y="446759"/>
                    <a:pt x="123828" y="464406"/>
                    <a:pt x="123828" y="464406"/>
                  </a:cubicBezTo>
                  <a:close/>
                  <a:moveTo>
                    <a:pt x="1236291" y="465780"/>
                  </a:moveTo>
                  <a:lnTo>
                    <a:pt x="1227801" y="340580"/>
                  </a:lnTo>
                  <a:lnTo>
                    <a:pt x="1227801" y="339532"/>
                  </a:lnTo>
                  <a:lnTo>
                    <a:pt x="1228714" y="338897"/>
                  </a:lnTo>
                  <a:lnTo>
                    <a:pt x="1227801" y="338005"/>
                  </a:lnTo>
                  <a:lnTo>
                    <a:pt x="1227801" y="335378"/>
                  </a:lnTo>
                  <a:lnTo>
                    <a:pt x="1226585" y="334777"/>
                  </a:lnTo>
                  <a:lnTo>
                    <a:pt x="1226585" y="328580"/>
                  </a:lnTo>
                  <a:lnTo>
                    <a:pt x="1222409" y="328580"/>
                  </a:lnTo>
                  <a:lnTo>
                    <a:pt x="1222409" y="334777"/>
                  </a:lnTo>
                  <a:lnTo>
                    <a:pt x="1221137" y="335378"/>
                  </a:lnTo>
                  <a:lnTo>
                    <a:pt x="1221137" y="338091"/>
                  </a:lnTo>
                  <a:lnTo>
                    <a:pt x="1219920" y="338691"/>
                  </a:lnTo>
                  <a:lnTo>
                    <a:pt x="1220473" y="339361"/>
                  </a:lnTo>
                  <a:lnTo>
                    <a:pt x="1220473" y="340374"/>
                  </a:lnTo>
                  <a:lnTo>
                    <a:pt x="1212178" y="340374"/>
                  </a:lnTo>
                  <a:lnTo>
                    <a:pt x="1212178" y="291396"/>
                  </a:lnTo>
                  <a:lnTo>
                    <a:pt x="1215441" y="288581"/>
                  </a:lnTo>
                  <a:lnTo>
                    <a:pt x="1212178" y="288581"/>
                  </a:lnTo>
                  <a:lnTo>
                    <a:pt x="1212178" y="287001"/>
                  </a:lnTo>
                  <a:lnTo>
                    <a:pt x="1211956" y="287001"/>
                  </a:lnTo>
                  <a:lnTo>
                    <a:pt x="1213284" y="285868"/>
                  </a:lnTo>
                  <a:lnTo>
                    <a:pt x="1213394" y="279705"/>
                  </a:lnTo>
                  <a:lnTo>
                    <a:pt x="1214473" y="278280"/>
                  </a:lnTo>
                  <a:lnTo>
                    <a:pt x="1212066" y="278280"/>
                  </a:lnTo>
                  <a:lnTo>
                    <a:pt x="1189225" y="244203"/>
                  </a:lnTo>
                  <a:lnTo>
                    <a:pt x="1188976" y="244203"/>
                  </a:lnTo>
                  <a:lnTo>
                    <a:pt x="1188976" y="238658"/>
                  </a:lnTo>
                  <a:lnTo>
                    <a:pt x="1191880" y="238658"/>
                  </a:lnTo>
                  <a:lnTo>
                    <a:pt x="1191880" y="237457"/>
                  </a:lnTo>
                  <a:lnTo>
                    <a:pt x="1188976" y="237457"/>
                  </a:lnTo>
                  <a:lnTo>
                    <a:pt x="1188976" y="234607"/>
                  </a:lnTo>
                  <a:lnTo>
                    <a:pt x="1186930" y="234607"/>
                  </a:lnTo>
                  <a:lnTo>
                    <a:pt x="1186930" y="237457"/>
                  </a:lnTo>
                  <a:lnTo>
                    <a:pt x="1183778" y="237457"/>
                  </a:lnTo>
                  <a:lnTo>
                    <a:pt x="1183778" y="238658"/>
                  </a:lnTo>
                  <a:lnTo>
                    <a:pt x="1186930" y="238658"/>
                  </a:lnTo>
                  <a:lnTo>
                    <a:pt x="1186930" y="244203"/>
                  </a:lnTo>
                  <a:lnTo>
                    <a:pt x="1186681" y="244203"/>
                  </a:lnTo>
                  <a:lnTo>
                    <a:pt x="1164199" y="278280"/>
                  </a:lnTo>
                  <a:lnTo>
                    <a:pt x="1160687" y="278280"/>
                  </a:lnTo>
                  <a:lnTo>
                    <a:pt x="1162374" y="279482"/>
                  </a:lnTo>
                  <a:lnTo>
                    <a:pt x="1162374" y="285937"/>
                  </a:lnTo>
                  <a:lnTo>
                    <a:pt x="1163590" y="287001"/>
                  </a:lnTo>
                  <a:lnTo>
                    <a:pt x="1163590" y="288563"/>
                  </a:lnTo>
                  <a:lnTo>
                    <a:pt x="1160687" y="288563"/>
                  </a:lnTo>
                  <a:lnTo>
                    <a:pt x="1163590" y="291344"/>
                  </a:lnTo>
                  <a:lnTo>
                    <a:pt x="1163590" y="340116"/>
                  </a:lnTo>
                  <a:lnTo>
                    <a:pt x="1132038" y="340116"/>
                  </a:lnTo>
                  <a:lnTo>
                    <a:pt x="1161793" y="380871"/>
                  </a:lnTo>
                  <a:lnTo>
                    <a:pt x="1120839" y="338468"/>
                  </a:lnTo>
                  <a:lnTo>
                    <a:pt x="1121696" y="337472"/>
                  </a:lnTo>
                  <a:lnTo>
                    <a:pt x="1120424" y="336460"/>
                  </a:lnTo>
                  <a:lnTo>
                    <a:pt x="1120424" y="334881"/>
                  </a:lnTo>
                  <a:lnTo>
                    <a:pt x="1119511" y="334211"/>
                  </a:lnTo>
                  <a:lnTo>
                    <a:pt x="1119511" y="330486"/>
                  </a:lnTo>
                  <a:lnTo>
                    <a:pt x="1121696" y="330486"/>
                  </a:lnTo>
                  <a:lnTo>
                    <a:pt x="1121696" y="329644"/>
                  </a:lnTo>
                  <a:lnTo>
                    <a:pt x="1119511" y="329644"/>
                  </a:lnTo>
                  <a:lnTo>
                    <a:pt x="1119511" y="328134"/>
                  </a:lnTo>
                  <a:lnTo>
                    <a:pt x="1118157" y="328134"/>
                  </a:lnTo>
                  <a:lnTo>
                    <a:pt x="1118157" y="329644"/>
                  </a:lnTo>
                  <a:lnTo>
                    <a:pt x="1115889" y="329644"/>
                  </a:lnTo>
                  <a:lnTo>
                    <a:pt x="1115889" y="330486"/>
                  </a:lnTo>
                  <a:lnTo>
                    <a:pt x="1118157" y="330486"/>
                  </a:lnTo>
                  <a:lnTo>
                    <a:pt x="1118157" y="334262"/>
                  </a:lnTo>
                  <a:lnTo>
                    <a:pt x="1117437" y="334777"/>
                  </a:lnTo>
                  <a:lnTo>
                    <a:pt x="1117437" y="336185"/>
                  </a:lnTo>
                  <a:lnTo>
                    <a:pt x="1115889" y="337593"/>
                  </a:lnTo>
                  <a:lnTo>
                    <a:pt x="1116691" y="338571"/>
                  </a:lnTo>
                  <a:lnTo>
                    <a:pt x="1044239" y="415326"/>
                  </a:lnTo>
                  <a:lnTo>
                    <a:pt x="1107731" y="339893"/>
                  </a:lnTo>
                  <a:lnTo>
                    <a:pt x="1017029" y="339670"/>
                  </a:lnTo>
                  <a:lnTo>
                    <a:pt x="1017029" y="337644"/>
                  </a:lnTo>
                  <a:lnTo>
                    <a:pt x="1015839" y="336683"/>
                  </a:lnTo>
                  <a:lnTo>
                    <a:pt x="1015839" y="334486"/>
                  </a:lnTo>
                  <a:lnTo>
                    <a:pt x="1014843" y="333696"/>
                  </a:lnTo>
                  <a:lnTo>
                    <a:pt x="1014843" y="327670"/>
                  </a:lnTo>
                  <a:lnTo>
                    <a:pt x="1010668" y="327670"/>
                  </a:lnTo>
                  <a:lnTo>
                    <a:pt x="1010668" y="333919"/>
                  </a:lnTo>
                  <a:lnTo>
                    <a:pt x="1009756" y="334537"/>
                  </a:lnTo>
                  <a:lnTo>
                    <a:pt x="1009756" y="336906"/>
                  </a:lnTo>
                  <a:lnTo>
                    <a:pt x="1008290" y="337644"/>
                  </a:lnTo>
                  <a:lnTo>
                    <a:pt x="1008290" y="417592"/>
                  </a:lnTo>
                  <a:cubicBezTo>
                    <a:pt x="1055439" y="420922"/>
                    <a:pt x="1117354" y="423343"/>
                    <a:pt x="1197742" y="423343"/>
                  </a:cubicBezTo>
                  <a:lnTo>
                    <a:pt x="1206370" y="423343"/>
                  </a:lnTo>
                  <a:lnTo>
                    <a:pt x="1210214" y="428133"/>
                  </a:lnTo>
                  <a:close/>
                  <a:moveTo>
                    <a:pt x="50520" y="541195"/>
                  </a:moveTo>
                  <a:lnTo>
                    <a:pt x="97087" y="541195"/>
                  </a:lnTo>
                  <a:lnTo>
                    <a:pt x="97087" y="529624"/>
                  </a:lnTo>
                  <a:lnTo>
                    <a:pt x="84616" y="529624"/>
                  </a:lnTo>
                  <a:lnTo>
                    <a:pt x="81325" y="477076"/>
                  </a:lnTo>
                  <a:lnTo>
                    <a:pt x="82376" y="477076"/>
                  </a:lnTo>
                  <a:lnTo>
                    <a:pt x="82376" y="474501"/>
                  </a:lnTo>
                  <a:lnTo>
                    <a:pt x="80108" y="474501"/>
                  </a:lnTo>
                  <a:lnTo>
                    <a:pt x="80108" y="470140"/>
                  </a:lnTo>
                  <a:lnTo>
                    <a:pt x="103669" y="470140"/>
                  </a:lnTo>
                  <a:lnTo>
                    <a:pt x="813473" y="470140"/>
                  </a:lnTo>
                  <a:cubicBezTo>
                    <a:pt x="813473" y="470140"/>
                    <a:pt x="814607" y="470140"/>
                    <a:pt x="814607" y="470140"/>
                  </a:cubicBezTo>
                  <a:lnTo>
                    <a:pt x="837033" y="470140"/>
                  </a:lnTo>
                  <a:lnTo>
                    <a:pt x="837033" y="474501"/>
                  </a:lnTo>
                  <a:lnTo>
                    <a:pt x="834766" y="474501"/>
                  </a:lnTo>
                  <a:lnTo>
                    <a:pt x="834766" y="477076"/>
                  </a:lnTo>
                  <a:lnTo>
                    <a:pt x="835817" y="477076"/>
                  </a:lnTo>
                  <a:lnTo>
                    <a:pt x="832554" y="529624"/>
                  </a:lnTo>
                  <a:lnTo>
                    <a:pt x="820082" y="529624"/>
                  </a:lnTo>
                  <a:lnTo>
                    <a:pt x="820082" y="541195"/>
                  </a:lnTo>
                  <a:lnTo>
                    <a:pt x="866651" y="541195"/>
                  </a:lnTo>
                  <a:lnTo>
                    <a:pt x="866651" y="529624"/>
                  </a:lnTo>
                  <a:lnTo>
                    <a:pt x="854455" y="529624"/>
                  </a:lnTo>
                  <a:lnTo>
                    <a:pt x="849975" y="477076"/>
                  </a:lnTo>
                  <a:lnTo>
                    <a:pt x="850611" y="477076"/>
                  </a:lnTo>
                  <a:lnTo>
                    <a:pt x="850611" y="474501"/>
                  </a:lnTo>
                  <a:lnTo>
                    <a:pt x="848150" y="474501"/>
                  </a:lnTo>
                  <a:lnTo>
                    <a:pt x="848150" y="470140"/>
                  </a:lnTo>
                  <a:lnTo>
                    <a:pt x="871517" y="470140"/>
                  </a:lnTo>
                  <a:lnTo>
                    <a:pt x="1008263" y="470140"/>
                  </a:lnTo>
                  <a:lnTo>
                    <a:pt x="905862" y="541195"/>
                  </a:lnTo>
                  <a:lnTo>
                    <a:pt x="4012469" y="540417"/>
                  </a:lnTo>
                  <a:lnTo>
                    <a:pt x="4012966" y="530578"/>
                  </a:lnTo>
                  <a:lnTo>
                    <a:pt x="4009693" y="465763"/>
                  </a:lnTo>
                  <a:lnTo>
                    <a:pt x="3987044" y="465763"/>
                  </a:lnTo>
                  <a:lnTo>
                    <a:pt x="3987044" y="465780"/>
                  </a:lnTo>
                  <a:lnTo>
                    <a:pt x="3968351" y="424939"/>
                  </a:lnTo>
                  <a:cubicBezTo>
                    <a:pt x="3968351" y="424939"/>
                    <a:pt x="3990971" y="420012"/>
                    <a:pt x="3996474" y="416596"/>
                  </a:cubicBezTo>
                  <a:cubicBezTo>
                    <a:pt x="3998050" y="415617"/>
                    <a:pt x="3999267" y="414192"/>
                    <a:pt x="4000374" y="412510"/>
                  </a:cubicBezTo>
                  <a:cubicBezTo>
                    <a:pt x="4002005" y="410004"/>
                    <a:pt x="4003332" y="406914"/>
                    <a:pt x="4004991" y="403755"/>
                  </a:cubicBezTo>
                  <a:lnTo>
                    <a:pt x="4006411" y="400766"/>
                  </a:lnTo>
                  <a:lnTo>
                    <a:pt x="4005634" y="385378"/>
                  </a:lnTo>
                  <a:lnTo>
                    <a:pt x="4002032" y="383601"/>
                  </a:lnTo>
                  <a:cubicBezTo>
                    <a:pt x="4000456" y="383154"/>
                    <a:pt x="3998686" y="382725"/>
                    <a:pt x="3996806" y="382313"/>
                  </a:cubicBezTo>
                  <a:lnTo>
                    <a:pt x="3958396" y="372802"/>
                  </a:lnTo>
                  <a:lnTo>
                    <a:pt x="3956100" y="376064"/>
                  </a:lnTo>
                  <a:cubicBezTo>
                    <a:pt x="3956100" y="376064"/>
                    <a:pt x="3764463" y="312803"/>
                    <a:pt x="3546528" y="313816"/>
                  </a:cubicBezTo>
                  <a:cubicBezTo>
                    <a:pt x="3546528" y="313816"/>
                    <a:pt x="3542628" y="313816"/>
                    <a:pt x="3542628" y="313816"/>
                  </a:cubicBezTo>
                  <a:lnTo>
                    <a:pt x="3542628" y="349678"/>
                  </a:lnTo>
                  <a:lnTo>
                    <a:pt x="3544868" y="349678"/>
                  </a:lnTo>
                  <a:lnTo>
                    <a:pt x="3544868" y="360528"/>
                  </a:lnTo>
                  <a:lnTo>
                    <a:pt x="3580348" y="344803"/>
                  </a:lnTo>
                  <a:lnTo>
                    <a:pt x="3588118" y="341352"/>
                  </a:lnTo>
                  <a:lnTo>
                    <a:pt x="3596082" y="344614"/>
                  </a:lnTo>
                  <a:lnTo>
                    <a:pt x="3603853" y="347807"/>
                  </a:lnTo>
                  <a:lnTo>
                    <a:pt x="3603853" y="345661"/>
                  </a:lnTo>
                  <a:lnTo>
                    <a:pt x="3641655" y="345661"/>
                  </a:lnTo>
                  <a:lnTo>
                    <a:pt x="3641655" y="363275"/>
                  </a:lnTo>
                  <a:lnTo>
                    <a:pt x="3642872" y="363772"/>
                  </a:lnTo>
                  <a:lnTo>
                    <a:pt x="3649122" y="366331"/>
                  </a:lnTo>
                  <a:lnTo>
                    <a:pt x="3649122" y="370982"/>
                  </a:lnTo>
                  <a:lnTo>
                    <a:pt x="3642706" y="521161"/>
                  </a:lnTo>
                  <a:lnTo>
                    <a:pt x="3635184" y="370982"/>
                  </a:lnTo>
                  <a:lnTo>
                    <a:pt x="3627718" y="367927"/>
                  </a:lnTo>
                  <a:lnTo>
                    <a:pt x="3627718" y="354296"/>
                  </a:lnTo>
                  <a:lnTo>
                    <a:pt x="3617763" y="354296"/>
                  </a:lnTo>
                  <a:lnTo>
                    <a:pt x="3617763" y="363858"/>
                  </a:lnTo>
                  <a:lnTo>
                    <a:pt x="3588395" y="351841"/>
                  </a:lnTo>
                  <a:lnTo>
                    <a:pt x="3538204" y="374090"/>
                  </a:lnTo>
                  <a:lnTo>
                    <a:pt x="3528636" y="374090"/>
                  </a:lnTo>
                  <a:lnTo>
                    <a:pt x="3528636" y="360339"/>
                  </a:lnTo>
                  <a:lnTo>
                    <a:pt x="3530876" y="360339"/>
                  </a:lnTo>
                  <a:lnTo>
                    <a:pt x="3530876" y="358331"/>
                  </a:lnTo>
                  <a:lnTo>
                    <a:pt x="3528636" y="358331"/>
                  </a:lnTo>
                  <a:lnTo>
                    <a:pt x="3528636" y="301558"/>
                  </a:lnTo>
                  <a:lnTo>
                    <a:pt x="3532618" y="296237"/>
                  </a:lnTo>
                  <a:lnTo>
                    <a:pt x="3528636" y="296237"/>
                  </a:lnTo>
                  <a:lnTo>
                    <a:pt x="3528636" y="282640"/>
                  </a:lnTo>
                  <a:lnTo>
                    <a:pt x="3526893" y="282640"/>
                  </a:lnTo>
                  <a:lnTo>
                    <a:pt x="3526893" y="279396"/>
                  </a:lnTo>
                  <a:lnTo>
                    <a:pt x="3525760" y="279396"/>
                  </a:lnTo>
                  <a:lnTo>
                    <a:pt x="3525760" y="276374"/>
                  </a:lnTo>
                  <a:lnTo>
                    <a:pt x="3524764" y="276374"/>
                  </a:lnTo>
                  <a:lnTo>
                    <a:pt x="3524764" y="272975"/>
                  </a:lnTo>
                  <a:lnTo>
                    <a:pt x="3523631" y="272975"/>
                  </a:lnTo>
                  <a:lnTo>
                    <a:pt x="3523631" y="269885"/>
                  </a:lnTo>
                  <a:lnTo>
                    <a:pt x="3522525" y="269885"/>
                  </a:lnTo>
                  <a:lnTo>
                    <a:pt x="3520340" y="262554"/>
                  </a:lnTo>
                  <a:lnTo>
                    <a:pt x="3518266" y="269885"/>
                  </a:lnTo>
                  <a:lnTo>
                    <a:pt x="3517050" y="269885"/>
                  </a:lnTo>
                  <a:lnTo>
                    <a:pt x="3517050" y="272975"/>
                  </a:lnTo>
                  <a:lnTo>
                    <a:pt x="3515943" y="272975"/>
                  </a:lnTo>
                  <a:lnTo>
                    <a:pt x="3515943" y="276374"/>
                  </a:lnTo>
                  <a:lnTo>
                    <a:pt x="3515196" y="276374"/>
                  </a:lnTo>
                  <a:lnTo>
                    <a:pt x="3515196" y="279396"/>
                  </a:lnTo>
                  <a:lnTo>
                    <a:pt x="3514091" y="279396"/>
                  </a:lnTo>
                  <a:lnTo>
                    <a:pt x="3514091" y="282640"/>
                  </a:lnTo>
                  <a:lnTo>
                    <a:pt x="3512984" y="282640"/>
                  </a:lnTo>
                  <a:lnTo>
                    <a:pt x="3512984" y="284889"/>
                  </a:lnTo>
                  <a:lnTo>
                    <a:pt x="3510108" y="284889"/>
                  </a:lnTo>
                  <a:lnTo>
                    <a:pt x="3510108" y="288752"/>
                  </a:lnTo>
                  <a:lnTo>
                    <a:pt x="3505269" y="288752"/>
                  </a:lnTo>
                  <a:lnTo>
                    <a:pt x="3505269" y="282658"/>
                  </a:lnTo>
                  <a:lnTo>
                    <a:pt x="3497858" y="282658"/>
                  </a:lnTo>
                  <a:lnTo>
                    <a:pt x="3497858" y="278640"/>
                  </a:lnTo>
                  <a:lnTo>
                    <a:pt x="3493682" y="278640"/>
                  </a:lnTo>
                  <a:lnTo>
                    <a:pt x="3493682" y="282658"/>
                  </a:lnTo>
                  <a:lnTo>
                    <a:pt x="3485967" y="282658"/>
                  </a:lnTo>
                  <a:lnTo>
                    <a:pt x="3485967" y="288752"/>
                  </a:lnTo>
                  <a:lnTo>
                    <a:pt x="3481127" y="288752"/>
                  </a:lnTo>
                  <a:lnTo>
                    <a:pt x="3481127" y="284889"/>
                  </a:lnTo>
                  <a:lnTo>
                    <a:pt x="3478390" y="284889"/>
                  </a:lnTo>
                  <a:lnTo>
                    <a:pt x="3478390" y="282640"/>
                  </a:lnTo>
                  <a:lnTo>
                    <a:pt x="3476150" y="282640"/>
                  </a:lnTo>
                  <a:lnTo>
                    <a:pt x="3476150" y="279396"/>
                  </a:lnTo>
                  <a:lnTo>
                    <a:pt x="3475017" y="279396"/>
                  </a:lnTo>
                  <a:lnTo>
                    <a:pt x="3475017" y="276374"/>
                  </a:lnTo>
                  <a:lnTo>
                    <a:pt x="3474021" y="276374"/>
                  </a:lnTo>
                  <a:lnTo>
                    <a:pt x="3474021" y="272975"/>
                  </a:lnTo>
                  <a:lnTo>
                    <a:pt x="3472915" y="272975"/>
                  </a:lnTo>
                  <a:lnTo>
                    <a:pt x="3472915" y="269885"/>
                  </a:lnTo>
                  <a:lnTo>
                    <a:pt x="3471809" y="269885"/>
                  </a:lnTo>
                  <a:lnTo>
                    <a:pt x="3469623" y="262554"/>
                  </a:lnTo>
                  <a:lnTo>
                    <a:pt x="3467550" y="269885"/>
                  </a:lnTo>
                  <a:lnTo>
                    <a:pt x="3466305" y="269885"/>
                  </a:lnTo>
                  <a:lnTo>
                    <a:pt x="3466305" y="272975"/>
                  </a:lnTo>
                  <a:lnTo>
                    <a:pt x="3465199" y="272975"/>
                  </a:lnTo>
                  <a:lnTo>
                    <a:pt x="3465199" y="276374"/>
                  </a:lnTo>
                  <a:lnTo>
                    <a:pt x="3464453" y="276374"/>
                  </a:lnTo>
                  <a:lnTo>
                    <a:pt x="3464453" y="279396"/>
                  </a:lnTo>
                  <a:lnTo>
                    <a:pt x="3463319" y="279396"/>
                  </a:lnTo>
                  <a:lnTo>
                    <a:pt x="3463319" y="282640"/>
                  </a:lnTo>
                  <a:lnTo>
                    <a:pt x="3461964" y="282640"/>
                  </a:lnTo>
                  <a:lnTo>
                    <a:pt x="3461964" y="296237"/>
                  </a:lnTo>
                  <a:lnTo>
                    <a:pt x="3457235" y="296237"/>
                  </a:lnTo>
                  <a:lnTo>
                    <a:pt x="3461964" y="301593"/>
                  </a:lnTo>
                  <a:lnTo>
                    <a:pt x="3461964" y="358347"/>
                  </a:lnTo>
                  <a:lnTo>
                    <a:pt x="3458479" y="358347"/>
                  </a:lnTo>
                  <a:lnTo>
                    <a:pt x="3458479" y="360356"/>
                  </a:lnTo>
                  <a:lnTo>
                    <a:pt x="3461964" y="360356"/>
                  </a:lnTo>
                  <a:lnTo>
                    <a:pt x="3461964" y="374107"/>
                  </a:lnTo>
                  <a:lnTo>
                    <a:pt x="3454995" y="374107"/>
                  </a:lnTo>
                  <a:lnTo>
                    <a:pt x="3351960" y="310159"/>
                  </a:lnTo>
                  <a:lnTo>
                    <a:pt x="3318111" y="332923"/>
                  </a:lnTo>
                  <a:lnTo>
                    <a:pt x="3318111" y="321593"/>
                  </a:lnTo>
                  <a:lnTo>
                    <a:pt x="3302681" y="321593"/>
                  </a:lnTo>
                  <a:lnTo>
                    <a:pt x="3302681" y="343309"/>
                  </a:lnTo>
                  <a:lnTo>
                    <a:pt x="3256887" y="374107"/>
                  </a:lnTo>
                  <a:lnTo>
                    <a:pt x="3252214" y="521590"/>
                  </a:lnTo>
                  <a:lnTo>
                    <a:pt x="3243614" y="413420"/>
                  </a:lnTo>
                  <a:lnTo>
                    <a:pt x="3239189" y="409849"/>
                  </a:lnTo>
                  <a:lnTo>
                    <a:pt x="3239189" y="366691"/>
                  </a:lnTo>
                  <a:lnTo>
                    <a:pt x="3235981" y="365712"/>
                  </a:lnTo>
                  <a:lnTo>
                    <a:pt x="3237419" y="364579"/>
                  </a:lnTo>
                  <a:lnTo>
                    <a:pt x="3237419" y="362382"/>
                  </a:lnTo>
                  <a:lnTo>
                    <a:pt x="3232995" y="361472"/>
                  </a:lnTo>
                  <a:lnTo>
                    <a:pt x="3232995" y="356802"/>
                  </a:lnTo>
                  <a:lnTo>
                    <a:pt x="3234460" y="355807"/>
                  </a:lnTo>
                  <a:lnTo>
                    <a:pt x="3230617" y="349661"/>
                  </a:lnTo>
                  <a:lnTo>
                    <a:pt x="3229290" y="349661"/>
                  </a:lnTo>
                  <a:lnTo>
                    <a:pt x="3227216" y="346811"/>
                  </a:lnTo>
                  <a:lnTo>
                    <a:pt x="3227962" y="346073"/>
                  </a:lnTo>
                  <a:lnTo>
                    <a:pt x="3226192" y="345610"/>
                  </a:lnTo>
                  <a:lnTo>
                    <a:pt x="3227381" y="344322"/>
                  </a:lnTo>
                  <a:lnTo>
                    <a:pt x="3225169" y="341936"/>
                  </a:lnTo>
                  <a:lnTo>
                    <a:pt x="3223261" y="344322"/>
                  </a:lnTo>
                  <a:lnTo>
                    <a:pt x="3224422" y="345421"/>
                  </a:lnTo>
                  <a:lnTo>
                    <a:pt x="3222072" y="345970"/>
                  </a:lnTo>
                  <a:lnTo>
                    <a:pt x="3223399" y="346983"/>
                  </a:lnTo>
                  <a:lnTo>
                    <a:pt x="3217066" y="355790"/>
                  </a:lnTo>
                  <a:lnTo>
                    <a:pt x="3218837" y="357163"/>
                  </a:lnTo>
                  <a:lnTo>
                    <a:pt x="3218587" y="360356"/>
                  </a:lnTo>
                  <a:lnTo>
                    <a:pt x="3175283" y="347052"/>
                  </a:lnTo>
                  <a:lnTo>
                    <a:pt x="3175283" y="336906"/>
                  </a:lnTo>
                  <a:lnTo>
                    <a:pt x="3173209" y="336906"/>
                  </a:lnTo>
                  <a:lnTo>
                    <a:pt x="3171743" y="333421"/>
                  </a:lnTo>
                  <a:lnTo>
                    <a:pt x="3172323" y="333060"/>
                  </a:lnTo>
                  <a:lnTo>
                    <a:pt x="3171439" y="332151"/>
                  </a:lnTo>
                  <a:lnTo>
                    <a:pt x="3172186" y="330966"/>
                  </a:lnTo>
                  <a:lnTo>
                    <a:pt x="3170277" y="329507"/>
                  </a:lnTo>
                  <a:lnTo>
                    <a:pt x="3168507" y="330880"/>
                  </a:lnTo>
                  <a:lnTo>
                    <a:pt x="3169393" y="332065"/>
                  </a:lnTo>
                  <a:lnTo>
                    <a:pt x="3168507" y="332888"/>
                  </a:lnTo>
                  <a:lnTo>
                    <a:pt x="3169254" y="333798"/>
                  </a:lnTo>
                  <a:lnTo>
                    <a:pt x="3167319" y="337283"/>
                  </a:lnTo>
                  <a:lnTo>
                    <a:pt x="3165245" y="337369"/>
                  </a:lnTo>
                  <a:lnTo>
                    <a:pt x="3165245" y="343962"/>
                  </a:lnTo>
                  <a:lnTo>
                    <a:pt x="3151805" y="339842"/>
                  </a:lnTo>
                  <a:lnTo>
                    <a:pt x="3151805" y="331138"/>
                  </a:lnTo>
                  <a:lnTo>
                    <a:pt x="3149150" y="331138"/>
                  </a:lnTo>
                  <a:lnTo>
                    <a:pt x="3146192" y="326091"/>
                  </a:lnTo>
                  <a:lnTo>
                    <a:pt x="3147823" y="326091"/>
                  </a:lnTo>
                  <a:lnTo>
                    <a:pt x="3148985" y="323343"/>
                  </a:lnTo>
                  <a:lnTo>
                    <a:pt x="3140135" y="320133"/>
                  </a:lnTo>
                  <a:lnTo>
                    <a:pt x="3139112" y="279533"/>
                  </a:lnTo>
                  <a:lnTo>
                    <a:pt x="3140744" y="278245"/>
                  </a:lnTo>
                  <a:lnTo>
                    <a:pt x="3140744" y="276494"/>
                  </a:lnTo>
                  <a:lnTo>
                    <a:pt x="3139112" y="275670"/>
                  </a:lnTo>
                  <a:lnTo>
                    <a:pt x="3138531" y="263945"/>
                  </a:lnTo>
                  <a:lnTo>
                    <a:pt x="3140881" y="262658"/>
                  </a:lnTo>
                  <a:lnTo>
                    <a:pt x="3140881" y="261009"/>
                  </a:lnTo>
                  <a:lnTo>
                    <a:pt x="3138531" y="260271"/>
                  </a:lnTo>
                  <a:lnTo>
                    <a:pt x="3138531" y="255688"/>
                  </a:lnTo>
                  <a:lnTo>
                    <a:pt x="3139416" y="254864"/>
                  </a:lnTo>
                  <a:lnTo>
                    <a:pt x="3139555" y="253490"/>
                  </a:lnTo>
                  <a:lnTo>
                    <a:pt x="3135434" y="250040"/>
                  </a:lnTo>
                  <a:lnTo>
                    <a:pt x="3135434" y="246813"/>
                  </a:lnTo>
                  <a:lnTo>
                    <a:pt x="3136595" y="245250"/>
                  </a:lnTo>
                  <a:lnTo>
                    <a:pt x="3130401" y="237731"/>
                  </a:lnTo>
                  <a:lnTo>
                    <a:pt x="3130982" y="235808"/>
                  </a:lnTo>
                  <a:lnTo>
                    <a:pt x="3128908" y="233971"/>
                  </a:lnTo>
                  <a:lnTo>
                    <a:pt x="3127442" y="235619"/>
                  </a:lnTo>
                  <a:lnTo>
                    <a:pt x="3128328" y="237628"/>
                  </a:lnTo>
                  <a:lnTo>
                    <a:pt x="3126557" y="239087"/>
                  </a:lnTo>
                  <a:lnTo>
                    <a:pt x="3107587" y="159775"/>
                  </a:lnTo>
                  <a:cubicBezTo>
                    <a:pt x="3108860" y="159328"/>
                    <a:pt x="3109716" y="158556"/>
                    <a:pt x="3109716" y="157697"/>
                  </a:cubicBezTo>
                  <a:cubicBezTo>
                    <a:pt x="3109716" y="156633"/>
                    <a:pt x="3108445" y="155723"/>
                    <a:pt x="3106674" y="155380"/>
                  </a:cubicBezTo>
                  <a:lnTo>
                    <a:pt x="3106674" y="147380"/>
                  </a:lnTo>
                  <a:lnTo>
                    <a:pt x="3112648" y="147380"/>
                  </a:lnTo>
                  <a:lnTo>
                    <a:pt x="3112648" y="147723"/>
                  </a:lnTo>
                  <a:cubicBezTo>
                    <a:pt x="3112648" y="148101"/>
                    <a:pt x="3113146" y="148410"/>
                    <a:pt x="3113754" y="148410"/>
                  </a:cubicBezTo>
                  <a:cubicBezTo>
                    <a:pt x="3114362" y="148410"/>
                    <a:pt x="3114860" y="148101"/>
                    <a:pt x="3114860" y="147723"/>
                  </a:cubicBezTo>
                  <a:lnTo>
                    <a:pt x="3114860" y="147380"/>
                  </a:lnTo>
                  <a:cubicBezTo>
                    <a:pt x="3115690" y="147346"/>
                    <a:pt x="3116354" y="146934"/>
                    <a:pt x="3116354" y="146401"/>
                  </a:cubicBezTo>
                  <a:cubicBezTo>
                    <a:pt x="3116354" y="145869"/>
                    <a:pt x="3115690" y="145457"/>
                    <a:pt x="3114860" y="145440"/>
                  </a:cubicBezTo>
                  <a:cubicBezTo>
                    <a:pt x="3114860" y="145080"/>
                    <a:pt x="3114362" y="144788"/>
                    <a:pt x="3113754" y="144788"/>
                  </a:cubicBezTo>
                  <a:cubicBezTo>
                    <a:pt x="3113146" y="144788"/>
                    <a:pt x="3112676" y="145080"/>
                    <a:pt x="3112648" y="145440"/>
                  </a:cubicBezTo>
                  <a:lnTo>
                    <a:pt x="3106674" y="145440"/>
                  </a:lnTo>
                  <a:lnTo>
                    <a:pt x="3106674" y="141869"/>
                  </a:lnTo>
                  <a:cubicBezTo>
                    <a:pt x="3107311" y="141869"/>
                    <a:pt x="3107809" y="141561"/>
                    <a:pt x="3107809" y="141166"/>
                  </a:cubicBezTo>
                  <a:cubicBezTo>
                    <a:pt x="3107809" y="140771"/>
                    <a:pt x="3107311" y="140462"/>
                    <a:pt x="3106674" y="140462"/>
                  </a:cubicBezTo>
                  <a:lnTo>
                    <a:pt x="3106674" y="140273"/>
                  </a:lnTo>
                  <a:cubicBezTo>
                    <a:pt x="3106674" y="139723"/>
                    <a:pt x="3105956" y="139260"/>
                    <a:pt x="3105043" y="139260"/>
                  </a:cubicBezTo>
                  <a:cubicBezTo>
                    <a:pt x="3104131" y="139260"/>
                    <a:pt x="3103412" y="139723"/>
                    <a:pt x="3103412" y="140273"/>
                  </a:cubicBezTo>
                  <a:lnTo>
                    <a:pt x="3103412" y="140462"/>
                  </a:lnTo>
                  <a:lnTo>
                    <a:pt x="3103274" y="140462"/>
                  </a:lnTo>
                  <a:cubicBezTo>
                    <a:pt x="3102638" y="140462"/>
                    <a:pt x="3102140" y="140771"/>
                    <a:pt x="3102140" y="141166"/>
                  </a:cubicBezTo>
                  <a:cubicBezTo>
                    <a:pt x="3102140" y="141561"/>
                    <a:pt x="3102665" y="141869"/>
                    <a:pt x="3103274" y="141869"/>
                  </a:cubicBezTo>
                  <a:lnTo>
                    <a:pt x="3103412" y="141869"/>
                  </a:lnTo>
                  <a:lnTo>
                    <a:pt x="3103412" y="145440"/>
                  </a:lnTo>
                  <a:lnTo>
                    <a:pt x="3097549" y="145440"/>
                  </a:lnTo>
                  <a:cubicBezTo>
                    <a:pt x="3097439" y="145062"/>
                    <a:pt x="3096913" y="144788"/>
                    <a:pt x="3096277" y="144788"/>
                  </a:cubicBezTo>
                  <a:cubicBezTo>
                    <a:pt x="3095641" y="144788"/>
                    <a:pt x="3095115" y="145080"/>
                    <a:pt x="3095005" y="145457"/>
                  </a:cubicBezTo>
                  <a:cubicBezTo>
                    <a:pt x="3094259" y="145543"/>
                    <a:pt x="3093706" y="145938"/>
                    <a:pt x="3093706" y="146419"/>
                  </a:cubicBezTo>
                  <a:cubicBezTo>
                    <a:pt x="3093706" y="146899"/>
                    <a:pt x="3094259" y="147294"/>
                    <a:pt x="3094977" y="147380"/>
                  </a:cubicBezTo>
                  <a:lnTo>
                    <a:pt x="3094977" y="147414"/>
                  </a:lnTo>
                  <a:cubicBezTo>
                    <a:pt x="3094977" y="147861"/>
                    <a:pt x="3095558" y="148221"/>
                    <a:pt x="3096277" y="148221"/>
                  </a:cubicBezTo>
                  <a:cubicBezTo>
                    <a:pt x="3096996" y="148221"/>
                    <a:pt x="3097577" y="147861"/>
                    <a:pt x="3097577" y="147414"/>
                  </a:cubicBezTo>
                  <a:cubicBezTo>
                    <a:pt x="3097577" y="147414"/>
                    <a:pt x="3103412" y="147397"/>
                    <a:pt x="3103412" y="147397"/>
                  </a:cubicBezTo>
                  <a:lnTo>
                    <a:pt x="3103412" y="155380"/>
                  </a:lnTo>
                  <a:cubicBezTo>
                    <a:pt x="3101559" y="155723"/>
                    <a:pt x="3100259" y="156651"/>
                    <a:pt x="3100259" y="157732"/>
                  </a:cubicBezTo>
                  <a:cubicBezTo>
                    <a:pt x="3100259" y="158539"/>
                    <a:pt x="3101006" y="159260"/>
                    <a:pt x="3102140" y="159723"/>
                  </a:cubicBezTo>
                  <a:lnTo>
                    <a:pt x="3083142" y="239139"/>
                  </a:lnTo>
                  <a:lnTo>
                    <a:pt x="3081372" y="237679"/>
                  </a:lnTo>
                  <a:lnTo>
                    <a:pt x="3082257" y="235671"/>
                  </a:lnTo>
                  <a:lnTo>
                    <a:pt x="3080791" y="234023"/>
                  </a:lnTo>
                  <a:lnTo>
                    <a:pt x="3078717" y="235860"/>
                  </a:lnTo>
                  <a:lnTo>
                    <a:pt x="3079298" y="237783"/>
                  </a:lnTo>
                  <a:lnTo>
                    <a:pt x="3073104" y="245302"/>
                  </a:lnTo>
                  <a:lnTo>
                    <a:pt x="3074293" y="246864"/>
                  </a:lnTo>
                  <a:lnTo>
                    <a:pt x="3074293" y="250091"/>
                  </a:lnTo>
                  <a:lnTo>
                    <a:pt x="3070145" y="253542"/>
                  </a:lnTo>
                  <a:lnTo>
                    <a:pt x="3070310" y="254915"/>
                  </a:lnTo>
                  <a:lnTo>
                    <a:pt x="3071196" y="255739"/>
                  </a:lnTo>
                  <a:lnTo>
                    <a:pt x="3071196" y="260323"/>
                  </a:lnTo>
                  <a:lnTo>
                    <a:pt x="3068845" y="261061"/>
                  </a:lnTo>
                  <a:lnTo>
                    <a:pt x="3068845" y="262709"/>
                  </a:lnTo>
                  <a:lnTo>
                    <a:pt x="3071196" y="263997"/>
                  </a:lnTo>
                  <a:lnTo>
                    <a:pt x="3070615" y="275722"/>
                  </a:lnTo>
                  <a:lnTo>
                    <a:pt x="3068984" y="276546"/>
                  </a:lnTo>
                  <a:lnTo>
                    <a:pt x="3068984" y="278297"/>
                  </a:lnTo>
                  <a:lnTo>
                    <a:pt x="3070615" y="279584"/>
                  </a:lnTo>
                  <a:lnTo>
                    <a:pt x="3069564" y="320185"/>
                  </a:lnTo>
                  <a:lnTo>
                    <a:pt x="3060715" y="323395"/>
                  </a:lnTo>
                  <a:lnTo>
                    <a:pt x="3061876" y="326142"/>
                  </a:lnTo>
                  <a:lnTo>
                    <a:pt x="3063508" y="326142"/>
                  </a:lnTo>
                  <a:lnTo>
                    <a:pt x="3060550" y="331189"/>
                  </a:lnTo>
                  <a:lnTo>
                    <a:pt x="3057895" y="331189"/>
                  </a:lnTo>
                  <a:lnTo>
                    <a:pt x="3057895" y="339893"/>
                  </a:lnTo>
                  <a:lnTo>
                    <a:pt x="3044455" y="344013"/>
                  </a:lnTo>
                  <a:lnTo>
                    <a:pt x="3044455" y="337421"/>
                  </a:lnTo>
                  <a:lnTo>
                    <a:pt x="3042381" y="337335"/>
                  </a:lnTo>
                  <a:lnTo>
                    <a:pt x="3040473" y="333850"/>
                  </a:lnTo>
                  <a:lnTo>
                    <a:pt x="3041220" y="332940"/>
                  </a:lnTo>
                  <a:lnTo>
                    <a:pt x="3040334" y="332116"/>
                  </a:lnTo>
                  <a:lnTo>
                    <a:pt x="3041220" y="330932"/>
                  </a:lnTo>
                  <a:lnTo>
                    <a:pt x="3039450" y="329558"/>
                  </a:lnTo>
                  <a:lnTo>
                    <a:pt x="3037542" y="331017"/>
                  </a:lnTo>
                  <a:lnTo>
                    <a:pt x="3038288" y="332202"/>
                  </a:lnTo>
                  <a:lnTo>
                    <a:pt x="3037404" y="333112"/>
                  </a:lnTo>
                  <a:lnTo>
                    <a:pt x="3037984" y="333472"/>
                  </a:lnTo>
                  <a:lnTo>
                    <a:pt x="3036518" y="336957"/>
                  </a:lnTo>
                  <a:lnTo>
                    <a:pt x="3034444" y="336957"/>
                  </a:lnTo>
                  <a:lnTo>
                    <a:pt x="3034444" y="347103"/>
                  </a:lnTo>
                  <a:lnTo>
                    <a:pt x="2991140" y="360407"/>
                  </a:lnTo>
                  <a:lnTo>
                    <a:pt x="2990890" y="357215"/>
                  </a:lnTo>
                  <a:lnTo>
                    <a:pt x="2992661" y="355841"/>
                  </a:lnTo>
                  <a:lnTo>
                    <a:pt x="2986300" y="347034"/>
                  </a:lnTo>
                  <a:lnTo>
                    <a:pt x="2987628" y="346022"/>
                  </a:lnTo>
                  <a:lnTo>
                    <a:pt x="2985277" y="345472"/>
                  </a:lnTo>
                  <a:lnTo>
                    <a:pt x="2986466" y="344373"/>
                  </a:lnTo>
                  <a:lnTo>
                    <a:pt x="2984558" y="341987"/>
                  </a:lnTo>
                  <a:lnTo>
                    <a:pt x="2982346" y="344373"/>
                  </a:lnTo>
                  <a:lnTo>
                    <a:pt x="2983534" y="345661"/>
                  </a:lnTo>
                  <a:lnTo>
                    <a:pt x="2981765" y="346125"/>
                  </a:lnTo>
                  <a:lnTo>
                    <a:pt x="2982484" y="346863"/>
                  </a:lnTo>
                  <a:lnTo>
                    <a:pt x="2980410" y="349712"/>
                  </a:lnTo>
                  <a:lnTo>
                    <a:pt x="2979083" y="349712"/>
                  </a:lnTo>
                  <a:lnTo>
                    <a:pt x="2975239" y="355858"/>
                  </a:lnTo>
                  <a:lnTo>
                    <a:pt x="2976732" y="356854"/>
                  </a:lnTo>
                  <a:lnTo>
                    <a:pt x="2976732" y="361523"/>
                  </a:lnTo>
                  <a:lnTo>
                    <a:pt x="2972308" y="362433"/>
                  </a:lnTo>
                  <a:lnTo>
                    <a:pt x="2972308" y="364631"/>
                  </a:lnTo>
                  <a:lnTo>
                    <a:pt x="2973746" y="365764"/>
                  </a:lnTo>
                  <a:lnTo>
                    <a:pt x="2970538" y="366742"/>
                  </a:lnTo>
                  <a:lnTo>
                    <a:pt x="2970538" y="409901"/>
                  </a:lnTo>
                  <a:lnTo>
                    <a:pt x="2966113" y="413471"/>
                  </a:lnTo>
                  <a:lnTo>
                    <a:pt x="2957375" y="521642"/>
                  </a:lnTo>
                  <a:lnTo>
                    <a:pt x="2952176" y="171019"/>
                  </a:lnTo>
                  <a:lnTo>
                    <a:pt x="2946645" y="171019"/>
                  </a:lnTo>
                  <a:lnTo>
                    <a:pt x="2946645" y="160135"/>
                  </a:lnTo>
                  <a:lnTo>
                    <a:pt x="2952176" y="160135"/>
                  </a:lnTo>
                  <a:lnTo>
                    <a:pt x="2952176" y="149818"/>
                  </a:lnTo>
                  <a:lnTo>
                    <a:pt x="2868138" y="149818"/>
                  </a:lnTo>
                  <a:lnTo>
                    <a:pt x="2868138" y="132633"/>
                  </a:lnTo>
                  <a:lnTo>
                    <a:pt x="2767508" y="132633"/>
                  </a:lnTo>
                  <a:lnTo>
                    <a:pt x="2767508" y="149818"/>
                  </a:lnTo>
                  <a:lnTo>
                    <a:pt x="2683469" y="149818"/>
                  </a:lnTo>
                  <a:lnTo>
                    <a:pt x="2683469" y="160135"/>
                  </a:lnTo>
                  <a:lnTo>
                    <a:pt x="2689940" y="160135"/>
                  </a:lnTo>
                  <a:lnTo>
                    <a:pt x="2689940" y="171019"/>
                  </a:lnTo>
                  <a:lnTo>
                    <a:pt x="2683469" y="171019"/>
                  </a:lnTo>
                  <a:lnTo>
                    <a:pt x="2678851" y="354399"/>
                  </a:lnTo>
                  <a:lnTo>
                    <a:pt x="2582728" y="354399"/>
                  </a:lnTo>
                  <a:lnTo>
                    <a:pt x="2579133" y="99398"/>
                  </a:lnTo>
                  <a:lnTo>
                    <a:pt x="2536658" y="99398"/>
                  </a:lnTo>
                  <a:lnTo>
                    <a:pt x="2536658" y="86213"/>
                  </a:lnTo>
                  <a:lnTo>
                    <a:pt x="2529275" y="86213"/>
                  </a:lnTo>
                  <a:lnTo>
                    <a:pt x="2529275" y="99398"/>
                  </a:lnTo>
                  <a:lnTo>
                    <a:pt x="2491390" y="99398"/>
                  </a:lnTo>
                  <a:lnTo>
                    <a:pt x="2491390" y="90797"/>
                  </a:lnTo>
                  <a:lnTo>
                    <a:pt x="2411057" y="90797"/>
                  </a:lnTo>
                  <a:lnTo>
                    <a:pt x="2411057" y="99398"/>
                  </a:lnTo>
                  <a:lnTo>
                    <a:pt x="2324254" y="99398"/>
                  </a:lnTo>
                  <a:lnTo>
                    <a:pt x="2320603" y="335258"/>
                  </a:lnTo>
                  <a:cubicBezTo>
                    <a:pt x="2337997" y="330606"/>
                    <a:pt x="2360397" y="327017"/>
                    <a:pt x="2379588" y="327017"/>
                  </a:cubicBezTo>
                  <a:cubicBezTo>
                    <a:pt x="2408541" y="327017"/>
                    <a:pt x="2436470" y="332511"/>
                    <a:pt x="2460307" y="342880"/>
                  </a:cubicBezTo>
                  <a:cubicBezTo>
                    <a:pt x="2480937" y="351841"/>
                    <a:pt x="2497418" y="363961"/>
                    <a:pt x="2508369" y="378124"/>
                  </a:cubicBezTo>
                  <a:lnTo>
                    <a:pt x="2534723" y="378124"/>
                  </a:lnTo>
                  <a:lnTo>
                    <a:pt x="2534723" y="395669"/>
                  </a:lnTo>
                  <a:lnTo>
                    <a:pt x="2583171" y="395669"/>
                  </a:lnTo>
                  <a:lnTo>
                    <a:pt x="2583171" y="395154"/>
                  </a:lnTo>
                  <a:lnTo>
                    <a:pt x="2583254" y="395154"/>
                  </a:lnTo>
                  <a:cubicBezTo>
                    <a:pt x="2583254" y="395154"/>
                    <a:pt x="2583171" y="389351"/>
                    <a:pt x="2583171" y="389351"/>
                  </a:cubicBezTo>
                  <a:lnTo>
                    <a:pt x="2677938" y="389351"/>
                  </a:lnTo>
                  <a:lnTo>
                    <a:pt x="2677773" y="395686"/>
                  </a:lnTo>
                  <a:lnTo>
                    <a:pt x="2871566" y="395686"/>
                  </a:lnTo>
                  <a:lnTo>
                    <a:pt x="2865981" y="520852"/>
                  </a:lnTo>
                  <a:lnTo>
                    <a:pt x="2857657" y="404321"/>
                  </a:lnTo>
                  <a:lnTo>
                    <a:pt x="2416615" y="404321"/>
                  </a:lnTo>
                  <a:lnTo>
                    <a:pt x="2409509" y="522037"/>
                  </a:lnTo>
                  <a:lnTo>
                    <a:pt x="2403342" y="396613"/>
                  </a:lnTo>
                  <a:lnTo>
                    <a:pt x="2520813" y="396613"/>
                  </a:lnTo>
                  <a:lnTo>
                    <a:pt x="2520813" y="386776"/>
                  </a:lnTo>
                  <a:lnTo>
                    <a:pt x="2499299" y="386776"/>
                  </a:lnTo>
                  <a:cubicBezTo>
                    <a:pt x="2479692" y="356751"/>
                    <a:pt x="2433484" y="335670"/>
                    <a:pt x="2379560" y="335670"/>
                  </a:cubicBezTo>
                  <a:cubicBezTo>
                    <a:pt x="2325636" y="335670"/>
                    <a:pt x="2279428" y="356768"/>
                    <a:pt x="2259821" y="386776"/>
                  </a:cubicBezTo>
                  <a:lnTo>
                    <a:pt x="2240520" y="386776"/>
                  </a:lnTo>
                  <a:lnTo>
                    <a:pt x="2231338" y="523479"/>
                  </a:lnTo>
                  <a:lnTo>
                    <a:pt x="2223734" y="415068"/>
                  </a:lnTo>
                  <a:lnTo>
                    <a:pt x="2215189" y="415480"/>
                  </a:lnTo>
                  <a:lnTo>
                    <a:pt x="2215189" y="411737"/>
                  </a:lnTo>
                  <a:lnTo>
                    <a:pt x="2090002" y="411737"/>
                  </a:lnTo>
                  <a:lnTo>
                    <a:pt x="2090002" y="393609"/>
                  </a:lnTo>
                  <a:lnTo>
                    <a:pt x="2025903" y="393609"/>
                  </a:lnTo>
                  <a:lnTo>
                    <a:pt x="2025903" y="230727"/>
                  </a:lnTo>
                  <a:lnTo>
                    <a:pt x="2023884" y="230727"/>
                  </a:lnTo>
                  <a:lnTo>
                    <a:pt x="2023884" y="225731"/>
                  </a:lnTo>
                  <a:lnTo>
                    <a:pt x="2024299" y="225010"/>
                  </a:lnTo>
                  <a:lnTo>
                    <a:pt x="2024299" y="223911"/>
                  </a:lnTo>
                  <a:lnTo>
                    <a:pt x="2023469" y="223499"/>
                  </a:lnTo>
                  <a:lnTo>
                    <a:pt x="2023469" y="221456"/>
                  </a:lnTo>
                  <a:lnTo>
                    <a:pt x="2022611" y="221199"/>
                  </a:lnTo>
                  <a:lnTo>
                    <a:pt x="2022611" y="209800"/>
                  </a:lnTo>
                  <a:lnTo>
                    <a:pt x="2024299" y="208289"/>
                  </a:lnTo>
                  <a:lnTo>
                    <a:pt x="2024299" y="204495"/>
                  </a:lnTo>
                  <a:lnTo>
                    <a:pt x="2022611" y="201525"/>
                  </a:lnTo>
                  <a:lnTo>
                    <a:pt x="2021616" y="201525"/>
                  </a:lnTo>
                  <a:lnTo>
                    <a:pt x="2021616" y="196942"/>
                  </a:lnTo>
                  <a:lnTo>
                    <a:pt x="2015062" y="194178"/>
                  </a:lnTo>
                  <a:lnTo>
                    <a:pt x="2012131" y="194178"/>
                  </a:lnTo>
                  <a:lnTo>
                    <a:pt x="2012131" y="193388"/>
                  </a:lnTo>
                  <a:lnTo>
                    <a:pt x="2010444" y="193028"/>
                  </a:lnTo>
                  <a:lnTo>
                    <a:pt x="2010444" y="190058"/>
                  </a:lnTo>
                  <a:lnTo>
                    <a:pt x="2008758" y="189131"/>
                  </a:lnTo>
                  <a:lnTo>
                    <a:pt x="2008758" y="186882"/>
                  </a:lnTo>
                  <a:lnTo>
                    <a:pt x="2007486" y="186882"/>
                  </a:lnTo>
                  <a:lnTo>
                    <a:pt x="2007486" y="188444"/>
                  </a:lnTo>
                  <a:lnTo>
                    <a:pt x="2003614" y="186315"/>
                  </a:lnTo>
                  <a:lnTo>
                    <a:pt x="2003614" y="159757"/>
                  </a:lnTo>
                  <a:lnTo>
                    <a:pt x="2000102" y="156736"/>
                  </a:lnTo>
                  <a:lnTo>
                    <a:pt x="2000102" y="153200"/>
                  </a:lnTo>
                  <a:lnTo>
                    <a:pt x="1998747" y="151792"/>
                  </a:lnTo>
                  <a:lnTo>
                    <a:pt x="1999660" y="151002"/>
                  </a:lnTo>
                  <a:lnTo>
                    <a:pt x="1998249" y="149131"/>
                  </a:lnTo>
                  <a:lnTo>
                    <a:pt x="1996811" y="150436"/>
                  </a:lnTo>
                  <a:lnTo>
                    <a:pt x="1994709" y="149131"/>
                  </a:lnTo>
                  <a:lnTo>
                    <a:pt x="1994709" y="146573"/>
                  </a:lnTo>
                  <a:lnTo>
                    <a:pt x="1992857" y="145423"/>
                  </a:lnTo>
                  <a:lnTo>
                    <a:pt x="1992857" y="142607"/>
                  </a:lnTo>
                  <a:lnTo>
                    <a:pt x="1989152" y="140462"/>
                  </a:lnTo>
                  <a:lnTo>
                    <a:pt x="1984118" y="140462"/>
                  </a:lnTo>
                  <a:lnTo>
                    <a:pt x="1983455" y="140050"/>
                  </a:lnTo>
                  <a:lnTo>
                    <a:pt x="1983455" y="126247"/>
                  </a:lnTo>
                  <a:lnTo>
                    <a:pt x="1978339" y="123792"/>
                  </a:lnTo>
                  <a:lnTo>
                    <a:pt x="1978339" y="122917"/>
                  </a:lnTo>
                  <a:lnTo>
                    <a:pt x="1975380" y="121938"/>
                  </a:lnTo>
                  <a:lnTo>
                    <a:pt x="1975380" y="106419"/>
                  </a:lnTo>
                  <a:lnTo>
                    <a:pt x="1974550" y="106419"/>
                  </a:lnTo>
                  <a:lnTo>
                    <a:pt x="1974550" y="108428"/>
                  </a:lnTo>
                  <a:cubicBezTo>
                    <a:pt x="1973002" y="107896"/>
                    <a:pt x="1971398" y="108102"/>
                    <a:pt x="1969711" y="108204"/>
                  </a:cubicBezTo>
                  <a:cubicBezTo>
                    <a:pt x="1968383" y="108291"/>
                    <a:pt x="1967195" y="107947"/>
                    <a:pt x="1965895" y="107982"/>
                  </a:cubicBezTo>
                  <a:cubicBezTo>
                    <a:pt x="1965065" y="107998"/>
                    <a:pt x="1964816" y="108256"/>
                    <a:pt x="1964208" y="108582"/>
                  </a:cubicBezTo>
                  <a:cubicBezTo>
                    <a:pt x="1965480" y="109046"/>
                    <a:pt x="1965314" y="109938"/>
                    <a:pt x="1965314" y="110728"/>
                  </a:cubicBezTo>
                  <a:cubicBezTo>
                    <a:pt x="1966254" y="110471"/>
                    <a:pt x="1967277" y="110642"/>
                    <a:pt x="1968163" y="110882"/>
                  </a:cubicBezTo>
                  <a:cubicBezTo>
                    <a:pt x="1969296" y="111192"/>
                    <a:pt x="1970182" y="111518"/>
                    <a:pt x="1971426" y="111535"/>
                  </a:cubicBezTo>
                  <a:cubicBezTo>
                    <a:pt x="1972283" y="111535"/>
                    <a:pt x="1972836" y="111483"/>
                    <a:pt x="1973527" y="111827"/>
                  </a:cubicBezTo>
                  <a:cubicBezTo>
                    <a:pt x="1973693" y="111912"/>
                    <a:pt x="1974163" y="112222"/>
                    <a:pt x="1974523" y="112290"/>
                  </a:cubicBezTo>
                  <a:lnTo>
                    <a:pt x="1974523" y="113080"/>
                  </a:lnTo>
                  <a:cubicBezTo>
                    <a:pt x="1973693" y="112719"/>
                    <a:pt x="1972117" y="112548"/>
                    <a:pt x="1971370" y="112599"/>
                  </a:cubicBezTo>
                  <a:cubicBezTo>
                    <a:pt x="1970430" y="112668"/>
                    <a:pt x="1970209" y="113286"/>
                    <a:pt x="1969296" y="113475"/>
                  </a:cubicBezTo>
                  <a:cubicBezTo>
                    <a:pt x="1968466" y="113629"/>
                    <a:pt x="1967720" y="113372"/>
                    <a:pt x="1967250" y="113887"/>
                  </a:cubicBezTo>
                  <a:cubicBezTo>
                    <a:pt x="1967554" y="114076"/>
                    <a:pt x="1967692" y="114385"/>
                    <a:pt x="1967637" y="114677"/>
                  </a:cubicBezTo>
                  <a:cubicBezTo>
                    <a:pt x="1969047" y="114728"/>
                    <a:pt x="1970347" y="114591"/>
                    <a:pt x="1971619" y="115054"/>
                  </a:cubicBezTo>
                  <a:cubicBezTo>
                    <a:pt x="1972338" y="115329"/>
                    <a:pt x="1972891" y="115397"/>
                    <a:pt x="1973748" y="115295"/>
                  </a:cubicBezTo>
                  <a:cubicBezTo>
                    <a:pt x="1973997" y="115260"/>
                    <a:pt x="1974273" y="115192"/>
                    <a:pt x="1974523" y="115157"/>
                  </a:cubicBezTo>
                  <a:lnTo>
                    <a:pt x="1974523" y="116513"/>
                  </a:lnTo>
                  <a:cubicBezTo>
                    <a:pt x="1974163" y="116307"/>
                    <a:pt x="1973748" y="116204"/>
                    <a:pt x="1973195" y="116136"/>
                  </a:cubicBezTo>
                  <a:cubicBezTo>
                    <a:pt x="1972283" y="116033"/>
                    <a:pt x="1971758" y="115981"/>
                    <a:pt x="1970928" y="115724"/>
                  </a:cubicBezTo>
                  <a:cubicBezTo>
                    <a:pt x="1970209" y="115518"/>
                    <a:pt x="1969047" y="115329"/>
                    <a:pt x="1968245" y="115466"/>
                  </a:cubicBezTo>
                  <a:cubicBezTo>
                    <a:pt x="1967637" y="115569"/>
                    <a:pt x="1967831" y="115998"/>
                    <a:pt x="1967858" y="116393"/>
                  </a:cubicBezTo>
                  <a:cubicBezTo>
                    <a:pt x="1969656" y="116617"/>
                    <a:pt x="1969241" y="118385"/>
                    <a:pt x="1971121" y="118471"/>
                  </a:cubicBezTo>
                  <a:cubicBezTo>
                    <a:pt x="1972061" y="118522"/>
                    <a:pt x="1972891" y="118591"/>
                    <a:pt x="1973720" y="118882"/>
                  </a:cubicBezTo>
                  <a:cubicBezTo>
                    <a:pt x="1973997" y="118986"/>
                    <a:pt x="1974246" y="119174"/>
                    <a:pt x="1974495" y="119329"/>
                  </a:cubicBezTo>
                  <a:lnTo>
                    <a:pt x="1974495" y="121956"/>
                  </a:lnTo>
                  <a:lnTo>
                    <a:pt x="1971702" y="122882"/>
                  </a:lnTo>
                  <a:lnTo>
                    <a:pt x="1971702" y="123775"/>
                  </a:lnTo>
                  <a:lnTo>
                    <a:pt x="1966586" y="126213"/>
                  </a:lnTo>
                  <a:lnTo>
                    <a:pt x="1966586" y="140016"/>
                  </a:lnTo>
                  <a:lnTo>
                    <a:pt x="1965923" y="140427"/>
                  </a:lnTo>
                  <a:lnTo>
                    <a:pt x="1960890" y="140427"/>
                  </a:lnTo>
                  <a:lnTo>
                    <a:pt x="1957212" y="142556"/>
                  </a:lnTo>
                  <a:lnTo>
                    <a:pt x="1957212" y="145371"/>
                  </a:lnTo>
                  <a:lnTo>
                    <a:pt x="1955359" y="146522"/>
                  </a:lnTo>
                  <a:lnTo>
                    <a:pt x="1955359" y="149062"/>
                  </a:lnTo>
                  <a:lnTo>
                    <a:pt x="1953257" y="150367"/>
                  </a:lnTo>
                  <a:lnTo>
                    <a:pt x="1951820" y="149062"/>
                  </a:lnTo>
                  <a:lnTo>
                    <a:pt x="1950409" y="150934"/>
                  </a:lnTo>
                  <a:lnTo>
                    <a:pt x="1951322" y="151706"/>
                  </a:lnTo>
                  <a:lnTo>
                    <a:pt x="1949966" y="153114"/>
                  </a:lnTo>
                  <a:lnTo>
                    <a:pt x="1949966" y="156651"/>
                  </a:lnTo>
                  <a:lnTo>
                    <a:pt x="1946455" y="159672"/>
                  </a:lnTo>
                  <a:lnTo>
                    <a:pt x="1946455" y="186230"/>
                  </a:lnTo>
                  <a:lnTo>
                    <a:pt x="1942583" y="188358"/>
                  </a:lnTo>
                  <a:lnTo>
                    <a:pt x="1942583" y="186813"/>
                  </a:lnTo>
                  <a:lnTo>
                    <a:pt x="1941339" y="186813"/>
                  </a:lnTo>
                  <a:lnTo>
                    <a:pt x="1941339" y="189062"/>
                  </a:lnTo>
                  <a:lnTo>
                    <a:pt x="1939652" y="189989"/>
                  </a:lnTo>
                  <a:lnTo>
                    <a:pt x="1939652" y="192959"/>
                  </a:lnTo>
                  <a:lnTo>
                    <a:pt x="1937965" y="193336"/>
                  </a:lnTo>
                  <a:lnTo>
                    <a:pt x="1937965" y="194109"/>
                  </a:lnTo>
                  <a:lnTo>
                    <a:pt x="1935034" y="194109"/>
                  </a:lnTo>
                  <a:lnTo>
                    <a:pt x="1928480" y="196873"/>
                  </a:lnTo>
                  <a:lnTo>
                    <a:pt x="1928480" y="201456"/>
                  </a:lnTo>
                  <a:lnTo>
                    <a:pt x="1927484" y="201456"/>
                  </a:lnTo>
                  <a:lnTo>
                    <a:pt x="1925797" y="204426"/>
                  </a:lnTo>
                  <a:lnTo>
                    <a:pt x="1925797" y="208238"/>
                  </a:lnTo>
                  <a:lnTo>
                    <a:pt x="1927484" y="209749"/>
                  </a:lnTo>
                  <a:lnTo>
                    <a:pt x="1927484" y="221148"/>
                  </a:lnTo>
                  <a:lnTo>
                    <a:pt x="1926655" y="221405"/>
                  </a:lnTo>
                  <a:lnTo>
                    <a:pt x="1926655" y="223430"/>
                  </a:lnTo>
                  <a:lnTo>
                    <a:pt x="1925825" y="223843"/>
                  </a:lnTo>
                  <a:lnTo>
                    <a:pt x="1925825" y="224941"/>
                  </a:lnTo>
                  <a:lnTo>
                    <a:pt x="1926240" y="225662"/>
                  </a:lnTo>
                  <a:lnTo>
                    <a:pt x="1926240" y="230658"/>
                  </a:lnTo>
                  <a:lnTo>
                    <a:pt x="1924221" y="230658"/>
                  </a:lnTo>
                  <a:lnTo>
                    <a:pt x="1924221" y="393541"/>
                  </a:lnTo>
                  <a:lnTo>
                    <a:pt x="1860121" y="393541"/>
                  </a:lnTo>
                  <a:lnTo>
                    <a:pt x="1860121" y="411669"/>
                  </a:lnTo>
                  <a:lnTo>
                    <a:pt x="1734934" y="411669"/>
                  </a:lnTo>
                  <a:lnTo>
                    <a:pt x="1734934" y="415411"/>
                  </a:lnTo>
                  <a:lnTo>
                    <a:pt x="1726141" y="415531"/>
                  </a:lnTo>
                  <a:lnTo>
                    <a:pt x="1721966" y="520011"/>
                  </a:lnTo>
                  <a:lnTo>
                    <a:pt x="1711347" y="279859"/>
                  </a:lnTo>
                  <a:lnTo>
                    <a:pt x="1716241" y="276357"/>
                  </a:lnTo>
                  <a:lnTo>
                    <a:pt x="1713780" y="275550"/>
                  </a:lnTo>
                  <a:lnTo>
                    <a:pt x="1713449" y="268872"/>
                  </a:lnTo>
                  <a:lnTo>
                    <a:pt x="1715246" y="267550"/>
                  </a:lnTo>
                  <a:lnTo>
                    <a:pt x="1711319" y="264718"/>
                  </a:lnTo>
                  <a:lnTo>
                    <a:pt x="1706424" y="264718"/>
                  </a:lnTo>
                  <a:lnTo>
                    <a:pt x="1706424" y="269576"/>
                  </a:lnTo>
                  <a:lnTo>
                    <a:pt x="1699263" y="269576"/>
                  </a:lnTo>
                  <a:lnTo>
                    <a:pt x="1699263" y="264718"/>
                  </a:lnTo>
                  <a:lnTo>
                    <a:pt x="1691104" y="264718"/>
                  </a:lnTo>
                  <a:lnTo>
                    <a:pt x="1691104" y="269576"/>
                  </a:lnTo>
                  <a:lnTo>
                    <a:pt x="1683445" y="269576"/>
                  </a:lnTo>
                  <a:lnTo>
                    <a:pt x="1683445" y="264718"/>
                  </a:lnTo>
                  <a:lnTo>
                    <a:pt x="1675287" y="264718"/>
                  </a:lnTo>
                  <a:lnTo>
                    <a:pt x="1675287" y="269576"/>
                  </a:lnTo>
                  <a:lnTo>
                    <a:pt x="1668594" y="269576"/>
                  </a:lnTo>
                  <a:lnTo>
                    <a:pt x="1668594" y="264718"/>
                  </a:lnTo>
                  <a:lnTo>
                    <a:pt x="1659774" y="264718"/>
                  </a:lnTo>
                  <a:lnTo>
                    <a:pt x="1659774" y="269576"/>
                  </a:lnTo>
                  <a:lnTo>
                    <a:pt x="1653413" y="269576"/>
                  </a:lnTo>
                  <a:lnTo>
                    <a:pt x="1653413" y="264718"/>
                  </a:lnTo>
                  <a:lnTo>
                    <a:pt x="1645090" y="264718"/>
                  </a:lnTo>
                  <a:lnTo>
                    <a:pt x="1645090" y="269576"/>
                  </a:lnTo>
                  <a:lnTo>
                    <a:pt x="1639393" y="269576"/>
                  </a:lnTo>
                  <a:lnTo>
                    <a:pt x="1639393" y="264718"/>
                  </a:lnTo>
                  <a:lnTo>
                    <a:pt x="1630904" y="264718"/>
                  </a:lnTo>
                  <a:lnTo>
                    <a:pt x="1630904" y="269576"/>
                  </a:lnTo>
                  <a:lnTo>
                    <a:pt x="1624544" y="269576"/>
                  </a:lnTo>
                  <a:lnTo>
                    <a:pt x="1624544" y="269473"/>
                  </a:lnTo>
                  <a:lnTo>
                    <a:pt x="1623714" y="269473"/>
                  </a:lnTo>
                  <a:lnTo>
                    <a:pt x="1623714" y="279189"/>
                  </a:lnTo>
                  <a:lnTo>
                    <a:pt x="1618515" y="413609"/>
                  </a:lnTo>
                  <a:lnTo>
                    <a:pt x="1616385" y="266160"/>
                  </a:lnTo>
                  <a:lnTo>
                    <a:pt x="1620782" y="261508"/>
                  </a:lnTo>
                  <a:lnTo>
                    <a:pt x="1617602" y="259310"/>
                  </a:lnTo>
                  <a:lnTo>
                    <a:pt x="1617602" y="249748"/>
                  </a:lnTo>
                  <a:lnTo>
                    <a:pt x="1619317" y="248374"/>
                  </a:lnTo>
                  <a:lnTo>
                    <a:pt x="1616026" y="245645"/>
                  </a:lnTo>
                  <a:lnTo>
                    <a:pt x="1612237" y="244666"/>
                  </a:lnTo>
                  <a:lnTo>
                    <a:pt x="1609195" y="246109"/>
                  </a:lnTo>
                  <a:lnTo>
                    <a:pt x="1606735" y="243757"/>
                  </a:lnTo>
                  <a:lnTo>
                    <a:pt x="1600983" y="242847"/>
                  </a:lnTo>
                  <a:lnTo>
                    <a:pt x="1597941" y="244598"/>
                  </a:lnTo>
                  <a:lnTo>
                    <a:pt x="1595369" y="242177"/>
                  </a:lnTo>
                  <a:lnTo>
                    <a:pt x="1592438" y="241576"/>
                  </a:lnTo>
                  <a:lnTo>
                    <a:pt x="1586686" y="241576"/>
                  </a:lnTo>
                  <a:lnTo>
                    <a:pt x="1586686" y="248169"/>
                  </a:lnTo>
                  <a:lnTo>
                    <a:pt x="1578500" y="248014"/>
                  </a:lnTo>
                  <a:lnTo>
                    <a:pt x="1578500" y="241559"/>
                  </a:lnTo>
                  <a:lnTo>
                    <a:pt x="1568352" y="241559"/>
                  </a:lnTo>
                  <a:lnTo>
                    <a:pt x="1568213" y="247619"/>
                  </a:lnTo>
                  <a:lnTo>
                    <a:pt x="1560388" y="247465"/>
                  </a:lnTo>
                  <a:lnTo>
                    <a:pt x="1560388" y="241542"/>
                  </a:lnTo>
                  <a:lnTo>
                    <a:pt x="1551815" y="242074"/>
                  </a:lnTo>
                  <a:lnTo>
                    <a:pt x="1548773" y="245182"/>
                  </a:lnTo>
                  <a:lnTo>
                    <a:pt x="1545593" y="243207"/>
                  </a:lnTo>
                  <a:lnTo>
                    <a:pt x="1538486" y="243963"/>
                  </a:lnTo>
                  <a:lnTo>
                    <a:pt x="1535804" y="246915"/>
                  </a:lnTo>
                  <a:lnTo>
                    <a:pt x="1532513" y="244941"/>
                  </a:lnTo>
                  <a:lnTo>
                    <a:pt x="1528338" y="245405"/>
                  </a:lnTo>
                  <a:lnTo>
                    <a:pt x="1524908" y="248443"/>
                  </a:lnTo>
                  <a:lnTo>
                    <a:pt x="1526125" y="249439"/>
                  </a:lnTo>
                  <a:lnTo>
                    <a:pt x="1526319" y="251859"/>
                  </a:lnTo>
                  <a:lnTo>
                    <a:pt x="1526319" y="259448"/>
                  </a:lnTo>
                  <a:lnTo>
                    <a:pt x="1524908" y="260374"/>
                  </a:lnTo>
                  <a:lnTo>
                    <a:pt x="1523084" y="265834"/>
                  </a:lnTo>
                  <a:lnTo>
                    <a:pt x="1528338" y="268340"/>
                  </a:lnTo>
                  <a:lnTo>
                    <a:pt x="1523637" y="448080"/>
                  </a:lnTo>
                  <a:lnTo>
                    <a:pt x="1523084" y="271602"/>
                  </a:lnTo>
                  <a:lnTo>
                    <a:pt x="1515893" y="266949"/>
                  </a:lnTo>
                  <a:lnTo>
                    <a:pt x="1519046" y="259464"/>
                  </a:lnTo>
                  <a:lnTo>
                    <a:pt x="1521728" y="256958"/>
                  </a:lnTo>
                  <a:lnTo>
                    <a:pt x="1521645" y="256684"/>
                  </a:lnTo>
                  <a:lnTo>
                    <a:pt x="1521645" y="250349"/>
                  </a:lnTo>
                  <a:lnTo>
                    <a:pt x="1519571" y="249061"/>
                  </a:lnTo>
                  <a:cubicBezTo>
                    <a:pt x="1519571" y="249061"/>
                    <a:pt x="1524548" y="242915"/>
                    <a:pt x="1524548" y="242915"/>
                  </a:cubicBezTo>
                  <a:lnTo>
                    <a:pt x="1531766" y="241748"/>
                  </a:lnTo>
                  <a:lnTo>
                    <a:pt x="1534448" y="242864"/>
                  </a:lnTo>
                  <a:lnTo>
                    <a:pt x="1536661" y="240890"/>
                  </a:lnTo>
                  <a:lnTo>
                    <a:pt x="1544487" y="240031"/>
                  </a:lnTo>
                  <a:lnTo>
                    <a:pt x="1548164" y="241044"/>
                  </a:lnTo>
                  <a:lnTo>
                    <a:pt x="1549630" y="238744"/>
                  </a:lnTo>
                  <a:lnTo>
                    <a:pt x="1560498" y="237903"/>
                  </a:lnTo>
                  <a:lnTo>
                    <a:pt x="1564425" y="239808"/>
                  </a:lnTo>
                  <a:lnTo>
                    <a:pt x="1570039" y="239722"/>
                  </a:lnTo>
                  <a:lnTo>
                    <a:pt x="1567356" y="238366"/>
                  </a:lnTo>
                  <a:lnTo>
                    <a:pt x="1567356" y="236770"/>
                  </a:lnTo>
                  <a:lnTo>
                    <a:pt x="1568573" y="235482"/>
                  </a:lnTo>
                  <a:lnTo>
                    <a:pt x="1567964" y="234504"/>
                  </a:lnTo>
                  <a:lnTo>
                    <a:pt x="1567854" y="230023"/>
                  </a:lnTo>
                  <a:lnTo>
                    <a:pt x="1569320" y="229559"/>
                  </a:lnTo>
                  <a:lnTo>
                    <a:pt x="1566388" y="227362"/>
                  </a:lnTo>
                  <a:lnTo>
                    <a:pt x="1561134" y="227362"/>
                  </a:lnTo>
                  <a:lnTo>
                    <a:pt x="1561134" y="232238"/>
                  </a:lnTo>
                  <a:lnTo>
                    <a:pt x="1554276" y="232238"/>
                  </a:lnTo>
                  <a:lnTo>
                    <a:pt x="1554276" y="227585"/>
                  </a:lnTo>
                  <a:lnTo>
                    <a:pt x="1545234" y="227585"/>
                  </a:lnTo>
                  <a:lnTo>
                    <a:pt x="1545234" y="232238"/>
                  </a:lnTo>
                  <a:lnTo>
                    <a:pt x="1537740" y="232238"/>
                  </a:lnTo>
                  <a:lnTo>
                    <a:pt x="1537740" y="227585"/>
                  </a:lnTo>
                  <a:lnTo>
                    <a:pt x="1528836" y="227585"/>
                  </a:lnTo>
                  <a:lnTo>
                    <a:pt x="1528836" y="232238"/>
                  </a:lnTo>
                  <a:lnTo>
                    <a:pt x="1522171" y="232238"/>
                  </a:lnTo>
                  <a:lnTo>
                    <a:pt x="1522171" y="227585"/>
                  </a:lnTo>
                  <a:lnTo>
                    <a:pt x="1513599" y="227585"/>
                  </a:lnTo>
                  <a:lnTo>
                    <a:pt x="1513599" y="232238"/>
                  </a:lnTo>
                  <a:lnTo>
                    <a:pt x="1506602" y="232238"/>
                  </a:lnTo>
                  <a:lnTo>
                    <a:pt x="1506602" y="227362"/>
                  </a:lnTo>
                  <a:lnTo>
                    <a:pt x="1497394" y="227362"/>
                  </a:lnTo>
                  <a:lnTo>
                    <a:pt x="1497394" y="232238"/>
                  </a:lnTo>
                  <a:lnTo>
                    <a:pt x="1490314" y="232238"/>
                  </a:lnTo>
                  <a:lnTo>
                    <a:pt x="1490314" y="227362"/>
                  </a:lnTo>
                  <a:lnTo>
                    <a:pt x="1481686" y="227362"/>
                  </a:lnTo>
                  <a:lnTo>
                    <a:pt x="1481686" y="232238"/>
                  </a:lnTo>
                  <a:lnTo>
                    <a:pt x="1474358" y="232238"/>
                  </a:lnTo>
                  <a:lnTo>
                    <a:pt x="1474358" y="227362"/>
                  </a:lnTo>
                  <a:lnTo>
                    <a:pt x="1465703" y="227362"/>
                  </a:lnTo>
                  <a:lnTo>
                    <a:pt x="1465703" y="232238"/>
                  </a:lnTo>
                  <a:lnTo>
                    <a:pt x="1458596" y="232238"/>
                  </a:lnTo>
                  <a:lnTo>
                    <a:pt x="1458596" y="227362"/>
                  </a:lnTo>
                  <a:lnTo>
                    <a:pt x="1449388" y="227362"/>
                  </a:lnTo>
                  <a:lnTo>
                    <a:pt x="1449388" y="232238"/>
                  </a:lnTo>
                  <a:lnTo>
                    <a:pt x="1442363" y="232238"/>
                  </a:lnTo>
                  <a:lnTo>
                    <a:pt x="1442363" y="227585"/>
                  </a:lnTo>
                  <a:lnTo>
                    <a:pt x="1433819" y="227585"/>
                  </a:lnTo>
                  <a:lnTo>
                    <a:pt x="1433819" y="232238"/>
                  </a:lnTo>
                  <a:lnTo>
                    <a:pt x="1427126" y="232238"/>
                  </a:lnTo>
                  <a:lnTo>
                    <a:pt x="1427126" y="227585"/>
                  </a:lnTo>
                  <a:lnTo>
                    <a:pt x="1418249" y="227585"/>
                  </a:lnTo>
                  <a:lnTo>
                    <a:pt x="1418249" y="232238"/>
                  </a:lnTo>
                  <a:lnTo>
                    <a:pt x="1410756" y="232238"/>
                  </a:lnTo>
                  <a:lnTo>
                    <a:pt x="1410756" y="227585"/>
                  </a:lnTo>
                  <a:lnTo>
                    <a:pt x="1401686" y="227585"/>
                  </a:lnTo>
                  <a:lnTo>
                    <a:pt x="1401686" y="232238"/>
                  </a:lnTo>
                  <a:lnTo>
                    <a:pt x="1394828" y="232238"/>
                  </a:lnTo>
                  <a:lnTo>
                    <a:pt x="1394828" y="227362"/>
                  </a:lnTo>
                  <a:lnTo>
                    <a:pt x="1389573" y="227362"/>
                  </a:lnTo>
                  <a:lnTo>
                    <a:pt x="1386642" y="229559"/>
                  </a:lnTo>
                  <a:lnTo>
                    <a:pt x="1388108" y="230023"/>
                  </a:lnTo>
                  <a:lnTo>
                    <a:pt x="1387997" y="234504"/>
                  </a:lnTo>
                  <a:lnTo>
                    <a:pt x="1387389" y="235482"/>
                  </a:lnTo>
                  <a:lnTo>
                    <a:pt x="1388605" y="236770"/>
                  </a:lnTo>
                  <a:lnTo>
                    <a:pt x="1388605" y="238366"/>
                  </a:lnTo>
                  <a:lnTo>
                    <a:pt x="1385923" y="239722"/>
                  </a:lnTo>
                  <a:lnTo>
                    <a:pt x="1391537" y="239808"/>
                  </a:lnTo>
                  <a:lnTo>
                    <a:pt x="1395436" y="237903"/>
                  </a:lnTo>
                  <a:lnTo>
                    <a:pt x="1406331" y="238744"/>
                  </a:lnTo>
                  <a:lnTo>
                    <a:pt x="1407796" y="241044"/>
                  </a:lnTo>
                  <a:lnTo>
                    <a:pt x="1411474" y="240031"/>
                  </a:lnTo>
                  <a:lnTo>
                    <a:pt x="1419300" y="240890"/>
                  </a:lnTo>
                  <a:lnTo>
                    <a:pt x="1421513" y="242864"/>
                  </a:lnTo>
                  <a:lnTo>
                    <a:pt x="1424196" y="241748"/>
                  </a:lnTo>
                  <a:lnTo>
                    <a:pt x="1431412" y="242915"/>
                  </a:lnTo>
                  <a:lnTo>
                    <a:pt x="1436390" y="249061"/>
                  </a:lnTo>
                  <a:cubicBezTo>
                    <a:pt x="1436390" y="249061"/>
                    <a:pt x="1434316" y="250349"/>
                    <a:pt x="1434316" y="250349"/>
                  </a:cubicBezTo>
                  <a:lnTo>
                    <a:pt x="1434316" y="256684"/>
                  </a:lnTo>
                  <a:lnTo>
                    <a:pt x="1434234" y="256958"/>
                  </a:lnTo>
                  <a:lnTo>
                    <a:pt x="1436916" y="259464"/>
                  </a:lnTo>
                  <a:lnTo>
                    <a:pt x="1440068" y="266949"/>
                  </a:lnTo>
                  <a:lnTo>
                    <a:pt x="1432878" y="271602"/>
                  </a:lnTo>
                  <a:lnTo>
                    <a:pt x="1432325" y="448080"/>
                  </a:lnTo>
                  <a:lnTo>
                    <a:pt x="1427624" y="268340"/>
                  </a:lnTo>
                  <a:lnTo>
                    <a:pt x="1432878" y="265834"/>
                  </a:lnTo>
                  <a:lnTo>
                    <a:pt x="1431053" y="260374"/>
                  </a:lnTo>
                  <a:lnTo>
                    <a:pt x="1429643" y="259448"/>
                  </a:lnTo>
                  <a:lnTo>
                    <a:pt x="1429643" y="251859"/>
                  </a:lnTo>
                  <a:lnTo>
                    <a:pt x="1429809" y="249439"/>
                  </a:lnTo>
                  <a:lnTo>
                    <a:pt x="1431026" y="248443"/>
                  </a:lnTo>
                  <a:lnTo>
                    <a:pt x="1427596" y="245405"/>
                  </a:lnTo>
                  <a:lnTo>
                    <a:pt x="1423448" y="244941"/>
                  </a:lnTo>
                  <a:lnTo>
                    <a:pt x="1420158" y="246915"/>
                  </a:lnTo>
                  <a:lnTo>
                    <a:pt x="1417476" y="243963"/>
                  </a:lnTo>
                  <a:lnTo>
                    <a:pt x="1410368" y="243207"/>
                  </a:lnTo>
                  <a:lnTo>
                    <a:pt x="1407188" y="245182"/>
                  </a:lnTo>
                  <a:lnTo>
                    <a:pt x="1404147" y="242074"/>
                  </a:lnTo>
                  <a:lnTo>
                    <a:pt x="1395574" y="241542"/>
                  </a:lnTo>
                  <a:lnTo>
                    <a:pt x="1395574" y="247465"/>
                  </a:lnTo>
                  <a:lnTo>
                    <a:pt x="1387748" y="247619"/>
                  </a:lnTo>
                  <a:lnTo>
                    <a:pt x="1387610" y="241559"/>
                  </a:lnTo>
                  <a:lnTo>
                    <a:pt x="1377461" y="241559"/>
                  </a:lnTo>
                  <a:lnTo>
                    <a:pt x="1377461" y="248014"/>
                  </a:lnTo>
                  <a:lnTo>
                    <a:pt x="1369276" y="248169"/>
                  </a:lnTo>
                  <a:lnTo>
                    <a:pt x="1369276" y="241576"/>
                  </a:lnTo>
                  <a:lnTo>
                    <a:pt x="1363524" y="241576"/>
                  </a:lnTo>
                  <a:lnTo>
                    <a:pt x="1360593" y="242177"/>
                  </a:lnTo>
                  <a:lnTo>
                    <a:pt x="1358021" y="244598"/>
                  </a:lnTo>
                  <a:lnTo>
                    <a:pt x="1354979" y="242847"/>
                  </a:lnTo>
                  <a:lnTo>
                    <a:pt x="1349227" y="243757"/>
                  </a:lnTo>
                  <a:lnTo>
                    <a:pt x="1346794" y="246109"/>
                  </a:lnTo>
                  <a:lnTo>
                    <a:pt x="1343725" y="244666"/>
                  </a:lnTo>
                  <a:lnTo>
                    <a:pt x="1339935" y="245645"/>
                  </a:lnTo>
                  <a:lnTo>
                    <a:pt x="1336645" y="248374"/>
                  </a:lnTo>
                  <a:lnTo>
                    <a:pt x="1338359" y="249748"/>
                  </a:lnTo>
                  <a:lnTo>
                    <a:pt x="1338359" y="259310"/>
                  </a:lnTo>
                  <a:lnTo>
                    <a:pt x="1335179" y="261508"/>
                  </a:lnTo>
                  <a:lnTo>
                    <a:pt x="1339549" y="266160"/>
                  </a:lnTo>
                  <a:lnTo>
                    <a:pt x="1337447" y="413609"/>
                  </a:lnTo>
                  <a:lnTo>
                    <a:pt x="1331446" y="269576"/>
                  </a:lnTo>
                  <a:lnTo>
                    <a:pt x="1325086" y="269576"/>
                  </a:lnTo>
                  <a:lnTo>
                    <a:pt x="1325086" y="264718"/>
                  </a:lnTo>
                  <a:lnTo>
                    <a:pt x="1316596" y="264718"/>
                  </a:lnTo>
                  <a:lnTo>
                    <a:pt x="1316596" y="269576"/>
                  </a:lnTo>
                  <a:lnTo>
                    <a:pt x="1310900" y="269576"/>
                  </a:lnTo>
                  <a:lnTo>
                    <a:pt x="1310900" y="264718"/>
                  </a:lnTo>
                  <a:lnTo>
                    <a:pt x="1302576" y="264718"/>
                  </a:lnTo>
                  <a:lnTo>
                    <a:pt x="1302576" y="269576"/>
                  </a:lnTo>
                  <a:lnTo>
                    <a:pt x="1296216" y="269576"/>
                  </a:lnTo>
                  <a:lnTo>
                    <a:pt x="1296216" y="264718"/>
                  </a:lnTo>
                  <a:lnTo>
                    <a:pt x="1287395" y="264718"/>
                  </a:lnTo>
                  <a:lnTo>
                    <a:pt x="1287395" y="269576"/>
                  </a:lnTo>
                  <a:lnTo>
                    <a:pt x="1280703" y="269576"/>
                  </a:lnTo>
                  <a:lnTo>
                    <a:pt x="1280703" y="264718"/>
                  </a:lnTo>
                  <a:lnTo>
                    <a:pt x="1272544" y="264718"/>
                  </a:lnTo>
                  <a:lnTo>
                    <a:pt x="1272544" y="269576"/>
                  </a:lnTo>
                  <a:lnTo>
                    <a:pt x="1264885" y="269576"/>
                  </a:lnTo>
                  <a:lnTo>
                    <a:pt x="1264885" y="264718"/>
                  </a:lnTo>
                  <a:lnTo>
                    <a:pt x="1256727" y="264718"/>
                  </a:lnTo>
                  <a:lnTo>
                    <a:pt x="1256727" y="269576"/>
                  </a:lnTo>
                  <a:lnTo>
                    <a:pt x="1249538" y="269576"/>
                  </a:lnTo>
                  <a:lnTo>
                    <a:pt x="1249538" y="264718"/>
                  </a:lnTo>
                  <a:lnTo>
                    <a:pt x="1244642" y="264718"/>
                  </a:lnTo>
                  <a:lnTo>
                    <a:pt x="1240744" y="267550"/>
                  </a:lnTo>
                  <a:lnTo>
                    <a:pt x="1242541" y="268872"/>
                  </a:lnTo>
                  <a:lnTo>
                    <a:pt x="1242209" y="275550"/>
                  </a:lnTo>
                  <a:lnTo>
                    <a:pt x="1239776" y="276357"/>
                  </a:lnTo>
                  <a:lnTo>
                    <a:pt x="1244670" y="279859"/>
                  </a:lnTo>
                  <a:lnTo>
                    <a:pt x="1244477" y="489763"/>
                  </a:lnTo>
                  <a:lnTo>
                    <a:pt x="1224871" y="465797"/>
                  </a:lnTo>
                  <a:lnTo>
                    <a:pt x="1197715" y="432012"/>
                  </a:lnTo>
                  <a:cubicBezTo>
                    <a:pt x="892976" y="432012"/>
                    <a:pt x="842564" y="398227"/>
                    <a:pt x="842564" y="398227"/>
                  </a:cubicBezTo>
                  <a:cubicBezTo>
                    <a:pt x="842564" y="398227"/>
                    <a:pt x="794724" y="431771"/>
                    <a:pt x="489957" y="431771"/>
                  </a:cubicBezTo>
                  <a:cubicBezTo>
                    <a:pt x="480472" y="431771"/>
                    <a:pt x="470766" y="431737"/>
                    <a:pt x="460783" y="431669"/>
                  </a:cubicBezTo>
                  <a:lnTo>
                    <a:pt x="460783" y="431635"/>
                  </a:lnTo>
                  <a:cubicBezTo>
                    <a:pt x="460037" y="431635"/>
                    <a:pt x="459290" y="431635"/>
                    <a:pt x="458544" y="431635"/>
                  </a:cubicBezTo>
                  <a:cubicBezTo>
                    <a:pt x="457796" y="431635"/>
                    <a:pt x="457078" y="431635"/>
                    <a:pt x="456303" y="431635"/>
                  </a:cubicBezTo>
                  <a:lnTo>
                    <a:pt x="456303" y="431669"/>
                  </a:lnTo>
                  <a:cubicBezTo>
                    <a:pt x="446320" y="431737"/>
                    <a:pt x="436587" y="431771"/>
                    <a:pt x="427129" y="431771"/>
                  </a:cubicBezTo>
                  <a:cubicBezTo>
                    <a:pt x="122391" y="431771"/>
                    <a:pt x="74523" y="398227"/>
                    <a:pt x="74523" y="398227"/>
                  </a:cubicBezTo>
                  <a:cubicBezTo>
                    <a:pt x="74523" y="398227"/>
                    <a:pt x="61926" y="406673"/>
                    <a:pt x="11234" y="415120"/>
                  </a:cubicBezTo>
                  <a:lnTo>
                    <a:pt x="2720" y="416279"/>
                  </a:lnTo>
                  <a:lnTo>
                    <a:pt x="2543" y="419776"/>
                  </a:lnTo>
                  <a:lnTo>
                    <a:pt x="9288" y="418793"/>
                  </a:lnTo>
                  <a:lnTo>
                    <a:pt x="2298" y="424635"/>
                  </a:lnTo>
                  <a:lnTo>
                    <a:pt x="2039" y="429753"/>
                  </a:lnTo>
                  <a:lnTo>
                    <a:pt x="11777" y="421609"/>
                  </a:lnTo>
                  <a:lnTo>
                    <a:pt x="12828" y="464406"/>
                  </a:lnTo>
                  <a:lnTo>
                    <a:pt x="290" y="464406"/>
                  </a:lnTo>
                  <a:lnTo>
                    <a:pt x="0" y="470140"/>
                  </a:lnTo>
                  <a:lnTo>
                    <a:pt x="45653" y="470140"/>
                  </a:lnTo>
                  <a:cubicBezTo>
                    <a:pt x="45653" y="470140"/>
                    <a:pt x="46786" y="470140"/>
                    <a:pt x="46786" y="470140"/>
                  </a:cubicBezTo>
                  <a:lnTo>
                    <a:pt x="68992" y="470140"/>
                  </a:lnTo>
                  <a:lnTo>
                    <a:pt x="68992" y="474501"/>
                  </a:lnTo>
                  <a:lnTo>
                    <a:pt x="66558" y="474501"/>
                  </a:lnTo>
                  <a:lnTo>
                    <a:pt x="66558" y="477076"/>
                  </a:lnTo>
                  <a:lnTo>
                    <a:pt x="67195" y="477076"/>
                  </a:lnTo>
                  <a:lnTo>
                    <a:pt x="62714" y="529624"/>
                  </a:lnTo>
                  <a:lnTo>
                    <a:pt x="50520" y="529624"/>
                  </a:lnTo>
                  <a:close/>
                </a:path>
              </a:pathLst>
            </a:custGeom>
            <a:gradFill flip="none" rotWithShape="1">
              <a:gsLst>
                <a:gs pos="22000">
                  <a:schemeClr val="bg1">
                    <a:alpha val="0"/>
                  </a:schemeClr>
                </a:gs>
                <a:gs pos="82000">
                  <a:schemeClr val="bg1">
                    <a:alpha val="6000"/>
                  </a:schemeClr>
                </a:gs>
              </a:gsLst>
              <a:lin ang="5400000" scaled="0"/>
              <a:tileRect/>
            </a:gradFill>
            <a:ln w="3056" cap="flat">
              <a:noFill/>
              <a:prstDash val="solid"/>
              <a:miter/>
            </a:ln>
          </p:spPr>
          <p:txBody>
            <a:bodyPr wrap="square" rtlCol="0" anchor="ctr">
              <a:noAutofit/>
            </a:bodyPr>
            <a:lstStyle/>
            <a:p>
              <a:endParaRPr lang="en-US" sz="2419"/>
            </a:p>
          </p:txBody>
        </p:sp>
        <p:sp>
          <p:nvSpPr>
            <p:cNvPr id="13" name="Freeform: Shape 12">
              <a:extLst>
                <a:ext uri="{FF2B5EF4-FFF2-40B4-BE49-F238E27FC236}">
                  <a16:creationId xmlns:a16="http://schemas.microsoft.com/office/drawing/2014/main" id="{26904ADE-076E-0537-13C6-37794D458001}"/>
                </a:ext>
              </a:extLst>
            </p:cNvPr>
            <p:cNvSpPr/>
            <p:nvPr/>
          </p:nvSpPr>
          <p:spPr bwMode="gray">
            <a:xfrm>
              <a:off x="6379138" y="1704434"/>
              <a:ext cx="1041817" cy="1041817"/>
            </a:xfrm>
            <a:custGeom>
              <a:avLst/>
              <a:gdLst>
                <a:gd name="connsiteX0" fmla="*/ 391858 w 839910"/>
                <a:gd name="connsiteY0" fmla="*/ 827823 h 839910"/>
                <a:gd name="connsiteX1" fmla="*/ 396918 w 839910"/>
                <a:gd name="connsiteY1" fmla="*/ 832883 h 839910"/>
                <a:gd name="connsiteX2" fmla="*/ 396946 w 839910"/>
                <a:gd name="connsiteY2" fmla="*/ 832883 h 839910"/>
                <a:gd name="connsiteX3" fmla="*/ 396946 w 839910"/>
                <a:gd name="connsiteY3" fmla="*/ 834570 h 839910"/>
                <a:gd name="connsiteX4" fmla="*/ 386797 w 839910"/>
                <a:gd name="connsiteY4" fmla="*/ 834570 h 839910"/>
                <a:gd name="connsiteX5" fmla="*/ 386797 w 839910"/>
                <a:gd name="connsiteY5" fmla="*/ 832883 h 839910"/>
                <a:gd name="connsiteX6" fmla="*/ 391858 w 839910"/>
                <a:gd name="connsiteY6" fmla="*/ 827823 h 839910"/>
                <a:gd name="connsiteX7" fmla="*/ 399545 w 839910"/>
                <a:gd name="connsiteY7" fmla="*/ 806032 h 839910"/>
                <a:gd name="connsiteX8" fmla="*/ 403942 w 839910"/>
                <a:gd name="connsiteY8" fmla="*/ 806032 h 839910"/>
                <a:gd name="connsiteX9" fmla="*/ 403942 w 839910"/>
                <a:gd name="connsiteY9" fmla="*/ 815710 h 839910"/>
                <a:gd name="connsiteX10" fmla="*/ 399545 w 839910"/>
                <a:gd name="connsiteY10" fmla="*/ 815710 h 839910"/>
                <a:gd name="connsiteX11" fmla="*/ 393379 w 839910"/>
                <a:gd name="connsiteY11" fmla="*/ 806004 h 839910"/>
                <a:gd name="connsiteX12" fmla="*/ 397388 w 839910"/>
                <a:gd name="connsiteY12" fmla="*/ 806004 h 839910"/>
                <a:gd name="connsiteX13" fmla="*/ 397388 w 839910"/>
                <a:gd name="connsiteY13" fmla="*/ 815683 h 839910"/>
                <a:gd name="connsiteX14" fmla="*/ 393379 w 839910"/>
                <a:gd name="connsiteY14" fmla="*/ 815683 h 839910"/>
                <a:gd name="connsiteX15" fmla="*/ 386382 w 839910"/>
                <a:gd name="connsiteY15" fmla="*/ 806004 h 839910"/>
                <a:gd name="connsiteX16" fmla="*/ 391747 w 839910"/>
                <a:gd name="connsiteY16" fmla="*/ 806004 h 839910"/>
                <a:gd name="connsiteX17" fmla="*/ 391747 w 839910"/>
                <a:gd name="connsiteY17" fmla="*/ 815683 h 839910"/>
                <a:gd name="connsiteX18" fmla="*/ 386382 w 839910"/>
                <a:gd name="connsiteY18" fmla="*/ 815683 h 839910"/>
                <a:gd name="connsiteX19" fmla="*/ 379801 w 839910"/>
                <a:gd name="connsiteY19" fmla="*/ 806004 h 839910"/>
                <a:gd name="connsiteX20" fmla="*/ 384198 w 839910"/>
                <a:gd name="connsiteY20" fmla="*/ 806004 h 839910"/>
                <a:gd name="connsiteX21" fmla="*/ 384198 w 839910"/>
                <a:gd name="connsiteY21" fmla="*/ 815683 h 839910"/>
                <a:gd name="connsiteX22" fmla="*/ 379801 w 839910"/>
                <a:gd name="connsiteY22" fmla="*/ 815683 h 839910"/>
                <a:gd name="connsiteX23" fmla="*/ 419955 w 839910"/>
                <a:gd name="connsiteY23" fmla="*/ 0 h 839910"/>
                <a:gd name="connsiteX24" fmla="*/ 839910 w 839910"/>
                <a:gd name="connsiteY24" fmla="*/ 419955 h 839910"/>
                <a:gd name="connsiteX25" fmla="*/ 654756 w 839910"/>
                <a:gd name="connsiteY25" fmla="*/ 768188 h 839910"/>
                <a:gd name="connsiteX26" fmla="*/ 639294 w 839910"/>
                <a:gd name="connsiteY26" fmla="*/ 776581 h 839910"/>
                <a:gd name="connsiteX27" fmla="*/ 628211 w 839910"/>
                <a:gd name="connsiteY27" fmla="*/ 776581 h 839910"/>
                <a:gd name="connsiteX28" fmla="*/ 628211 w 839910"/>
                <a:gd name="connsiteY28" fmla="*/ 748900 h 839910"/>
                <a:gd name="connsiteX29" fmla="*/ 527580 w 839910"/>
                <a:gd name="connsiteY29" fmla="*/ 748900 h 839910"/>
                <a:gd name="connsiteX30" fmla="*/ 527580 w 839910"/>
                <a:gd name="connsiteY30" fmla="*/ 776581 h 839910"/>
                <a:gd name="connsiteX31" fmla="*/ 443542 w 839910"/>
                <a:gd name="connsiteY31" fmla="*/ 776581 h 839910"/>
                <a:gd name="connsiteX32" fmla="*/ 443542 w 839910"/>
                <a:gd name="connsiteY32" fmla="*/ 793201 h 839910"/>
                <a:gd name="connsiteX33" fmla="*/ 450013 w 839910"/>
                <a:gd name="connsiteY33" fmla="*/ 793201 h 839910"/>
                <a:gd name="connsiteX34" fmla="*/ 450013 w 839910"/>
                <a:gd name="connsiteY34" fmla="*/ 810733 h 839910"/>
                <a:gd name="connsiteX35" fmla="*/ 443542 w 839910"/>
                <a:gd name="connsiteY35" fmla="*/ 810733 h 839910"/>
                <a:gd name="connsiteX36" fmla="*/ 443123 w 839910"/>
                <a:gd name="connsiteY36" fmla="*/ 837575 h 839910"/>
                <a:gd name="connsiteX37" fmla="*/ 419955 w 839910"/>
                <a:gd name="connsiteY37" fmla="*/ 839910 h 839910"/>
                <a:gd name="connsiteX38" fmla="*/ 413039 w 839910"/>
                <a:gd name="connsiteY38" fmla="*/ 839213 h 839910"/>
                <a:gd name="connsiteX39" fmla="*/ 412266 w 839910"/>
                <a:gd name="connsiteY39" fmla="*/ 838054 h 839910"/>
                <a:gd name="connsiteX40" fmla="*/ 412266 w 839910"/>
                <a:gd name="connsiteY40" fmla="*/ 827906 h 839910"/>
                <a:gd name="connsiteX41" fmla="*/ 414810 w 839910"/>
                <a:gd name="connsiteY41" fmla="*/ 825970 h 839910"/>
                <a:gd name="connsiteX42" fmla="*/ 414810 w 839910"/>
                <a:gd name="connsiteY42" fmla="*/ 822237 h 839910"/>
                <a:gd name="connsiteX43" fmla="*/ 412266 w 839910"/>
                <a:gd name="connsiteY43" fmla="*/ 819112 h 839910"/>
                <a:gd name="connsiteX44" fmla="*/ 406763 w 839910"/>
                <a:gd name="connsiteY44" fmla="*/ 819112 h 839910"/>
                <a:gd name="connsiteX45" fmla="*/ 406763 w 839910"/>
                <a:gd name="connsiteY45" fmla="*/ 815683 h 839910"/>
                <a:gd name="connsiteX46" fmla="*/ 405436 w 839910"/>
                <a:gd name="connsiteY46" fmla="*/ 815683 h 839910"/>
                <a:gd name="connsiteX47" fmla="*/ 405436 w 839910"/>
                <a:gd name="connsiteY47" fmla="*/ 806004 h 839910"/>
                <a:gd name="connsiteX48" fmla="*/ 407979 w 839910"/>
                <a:gd name="connsiteY48" fmla="*/ 806004 h 839910"/>
                <a:gd name="connsiteX49" fmla="*/ 407979 w 839910"/>
                <a:gd name="connsiteY49" fmla="*/ 803184 h 839910"/>
                <a:gd name="connsiteX50" fmla="*/ 406624 w 839910"/>
                <a:gd name="connsiteY50" fmla="*/ 803184 h 839910"/>
                <a:gd name="connsiteX51" fmla="*/ 394098 w 839910"/>
                <a:gd name="connsiteY51" fmla="*/ 789606 h 839910"/>
                <a:gd name="connsiteX52" fmla="*/ 394098 w 839910"/>
                <a:gd name="connsiteY52" fmla="*/ 779927 h 839910"/>
                <a:gd name="connsiteX53" fmla="*/ 392604 w 839910"/>
                <a:gd name="connsiteY53" fmla="*/ 779927 h 839910"/>
                <a:gd name="connsiteX54" fmla="*/ 392604 w 839910"/>
                <a:gd name="connsiteY54" fmla="*/ 777632 h 839910"/>
                <a:gd name="connsiteX55" fmla="*/ 393959 w 839910"/>
                <a:gd name="connsiteY55" fmla="*/ 775586 h 839910"/>
                <a:gd name="connsiteX56" fmla="*/ 391858 w 839910"/>
                <a:gd name="connsiteY56" fmla="*/ 773401 h 839910"/>
                <a:gd name="connsiteX57" fmla="*/ 389784 w 839910"/>
                <a:gd name="connsiteY57" fmla="*/ 775586 h 839910"/>
                <a:gd name="connsiteX58" fmla="*/ 390973 w 839910"/>
                <a:gd name="connsiteY58" fmla="*/ 777549 h 839910"/>
                <a:gd name="connsiteX59" fmla="*/ 390973 w 839910"/>
                <a:gd name="connsiteY59" fmla="*/ 779900 h 839910"/>
                <a:gd name="connsiteX60" fmla="*/ 389645 w 839910"/>
                <a:gd name="connsiteY60" fmla="*/ 779900 h 839910"/>
                <a:gd name="connsiteX61" fmla="*/ 389645 w 839910"/>
                <a:gd name="connsiteY61" fmla="*/ 789578 h 839910"/>
                <a:gd name="connsiteX62" fmla="*/ 377119 w 839910"/>
                <a:gd name="connsiteY62" fmla="*/ 803156 h 839910"/>
                <a:gd name="connsiteX63" fmla="*/ 375791 w 839910"/>
                <a:gd name="connsiteY63" fmla="*/ 803156 h 839910"/>
                <a:gd name="connsiteX64" fmla="*/ 375791 w 839910"/>
                <a:gd name="connsiteY64" fmla="*/ 805977 h 839910"/>
                <a:gd name="connsiteX65" fmla="*/ 378335 w 839910"/>
                <a:gd name="connsiteY65" fmla="*/ 805977 h 839910"/>
                <a:gd name="connsiteX66" fmla="*/ 378335 w 839910"/>
                <a:gd name="connsiteY66" fmla="*/ 815655 h 839910"/>
                <a:gd name="connsiteX67" fmla="*/ 376980 w 839910"/>
                <a:gd name="connsiteY67" fmla="*/ 815655 h 839910"/>
                <a:gd name="connsiteX68" fmla="*/ 376980 w 839910"/>
                <a:gd name="connsiteY68" fmla="*/ 819084 h 839910"/>
                <a:gd name="connsiteX69" fmla="*/ 371477 w 839910"/>
                <a:gd name="connsiteY69" fmla="*/ 819084 h 839910"/>
                <a:gd name="connsiteX70" fmla="*/ 368933 w 839910"/>
                <a:gd name="connsiteY70" fmla="*/ 822209 h 839910"/>
                <a:gd name="connsiteX71" fmla="*/ 368933 w 839910"/>
                <a:gd name="connsiteY71" fmla="*/ 825942 h 839910"/>
                <a:gd name="connsiteX72" fmla="*/ 371477 w 839910"/>
                <a:gd name="connsiteY72" fmla="*/ 827878 h 839910"/>
                <a:gd name="connsiteX73" fmla="*/ 371477 w 839910"/>
                <a:gd name="connsiteY73" fmla="*/ 835023 h 839910"/>
                <a:gd name="connsiteX74" fmla="*/ 340401 w 839910"/>
                <a:gd name="connsiteY74" fmla="*/ 831890 h 839910"/>
                <a:gd name="connsiteX75" fmla="*/ 339206 w 839910"/>
                <a:gd name="connsiteY75" fmla="*/ 695364 h 839910"/>
                <a:gd name="connsiteX76" fmla="*/ 296731 w 839910"/>
                <a:gd name="connsiteY76" fmla="*/ 695364 h 839910"/>
                <a:gd name="connsiteX77" fmla="*/ 296731 w 839910"/>
                <a:gd name="connsiteY77" fmla="*/ 674126 h 839910"/>
                <a:gd name="connsiteX78" fmla="*/ 289348 w 839910"/>
                <a:gd name="connsiteY78" fmla="*/ 674126 h 839910"/>
                <a:gd name="connsiteX79" fmla="*/ 289348 w 839910"/>
                <a:gd name="connsiteY79" fmla="*/ 695364 h 839910"/>
                <a:gd name="connsiteX80" fmla="*/ 251463 w 839910"/>
                <a:gd name="connsiteY80" fmla="*/ 695364 h 839910"/>
                <a:gd name="connsiteX81" fmla="*/ 251463 w 839910"/>
                <a:gd name="connsiteY81" fmla="*/ 681509 h 839910"/>
                <a:gd name="connsiteX82" fmla="*/ 171130 w 839910"/>
                <a:gd name="connsiteY82" fmla="*/ 681509 h 839910"/>
                <a:gd name="connsiteX83" fmla="*/ 171130 w 839910"/>
                <a:gd name="connsiteY83" fmla="*/ 695364 h 839910"/>
                <a:gd name="connsiteX84" fmla="*/ 105227 w 839910"/>
                <a:gd name="connsiteY84" fmla="*/ 695364 h 839910"/>
                <a:gd name="connsiteX85" fmla="*/ 71722 w 839910"/>
                <a:gd name="connsiteY85" fmla="*/ 654756 h 839910"/>
                <a:gd name="connsiteX86" fmla="*/ 65618 w 839910"/>
                <a:gd name="connsiteY86" fmla="*/ 643510 h 839910"/>
                <a:gd name="connsiteX87" fmla="*/ 65494 w 839910"/>
                <a:gd name="connsiteY87" fmla="*/ 626867 h 839910"/>
                <a:gd name="connsiteX88" fmla="*/ 56584 w 839910"/>
                <a:gd name="connsiteY88" fmla="*/ 626867 h 839910"/>
                <a:gd name="connsiteX89" fmla="*/ 41547 w 839910"/>
                <a:gd name="connsiteY89" fmla="*/ 599163 h 839910"/>
                <a:gd name="connsiteX90" fmla="*/ 41547 w 839910"/>
                <a:gd name="connsiteY90" fmla="*/ 584862 h 839910"/>
                <a:gd name="connsiteX91" fmla="*/ 33785 w 839910"/>
                <a:gd name="connsiteY91" fmla="*/ 584862 h 839910"/>
                <a:gd name="connsiteX92" fmla="*/ 33002 w 839910"/>
                <a:gd name="connsiteY92" fmla="*/ 583421 h 839910"/>
                <a:gd name="connsiteX93" fmla="*/ 0 w 839910"/>
                <a:gd name="connsiteY93" fmla="*/ 419955 h 839910"/>
                <a:gd name="connsiteX94" fmla="*/ 419955 w 839910"/>
                <a:gd name="connsiteY94" fmla="*/ 0 h 83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39910" h="839910">
                  <a:moveTo>
                    <a:pt x="391858" y="827823"/>
                  </a:moveTo>
                  <a:cubicBezTo>
                    <a:pt x="394651" y="827823"/>
                    <a:pt x="396918" y="830090"/>
                    <a:pt x="396918" y="832883"/>
                  </a:cubicBezTo>
                  <a:lnTo>
                    <a:pt x="396946" y="832883"/>
                  </a:lnTo>
                  <a:lnTo>
                    <a:pt x="396946" y="834570"/>
                  </a:lnTo>
                  <a:lnTo>
                    <a:pt x="386797" y="834570"/>
                  </a:lnTo>
                  <a:lnTo>
                    <a:pt x="386797" y="832883"/>
                  </a:lnTo>
                  <a:cubicBezTo>
                    <a:pt x="386797" y="830090"/>
                    <a:pt x="389065" y="827823"/>
                    <a:pt x="391858" y="827823"/>
                  </a:cubicBezTo>
                  <a:close/>
                  <a:moveTo>
                    <a:pt x="399545" y="806032"/>
                  </a:moveTo>
                  <a:lnTo>
                    <a:pt x="403942" y="806032"/>
                  </a:lnTo>
                  <a:lnTo>
                    <a:pt x="403942" y="815710"/>
                  </a:lnTo>
                  <a:lnTo>
                    <a:pt x="399545" y="815710"/>
                  </a:lnTo>
                  <a:close/>
                  <a:moveTo>
                    <a:pt x="393379" y="806004"/>
                  </a:moveTo>
                  <a:lnTo>
                    <a:pt x="397388" y="806004"/>
                  </a:lnTo>
                  <a:lnTo>
                    <a:pt x="397388" y="815683"/>
                  </a:lnTo>
                  <a:lnTo>
                    <a:pt x="393379" y="815683"/>
                  </a:lnTo>
                  <a:close/>
                  <a:moveTo>
                    <a:pt x="386382" y="806004"/>
                  </a:moveTo>
                  <a:lnTo>
                    <a:pt x="391747" y="806004"/>
                  </a:lnTo>
                  <a:lnTo>
                    <a:pt x="391747" y="815683"/>
                  </a:lnTo>
                  <a:lnTo>
                    <a:pt x="386382" y="815683"/>
                  </a:lnTo>
                  <a:close/>
                  <a:moveTo>
                    <a:pt x="379801" y="806004"/>
                  </a:moveTo>
                  <a:lnTo>
                    <a:pt x="384198" y="806004"/>
                  </a:lnTo>
                  <a:lnTo>
                    <a:pt x="384198" y="815683"/>
                  </a:lnTo>
                  <a:lnTo>
                    <a:pt x="379801" y="815683"/>
                  </a:lnTo>
                  <a:close/>
                  <a:moveTo>
                    <a:pt x="419955" y="0"/>
                  </a:moveTo>
                  <a:cubicBezTo>
                    <a:pt x="651890" y="0"/>
                    <a:pt x="839910" y="188020"/>
                    <a:pt x="839910" y="419955"/>
                  </a:cubicBezTo>
                  <a:cubicBezTo>
                    <a:pt x="839910" y="564915"/>
                    <a:pt x="766465" y="692720"/>
                    <a:pt x="654756" y="768188"/>
                  </a:cubicBezTo>
                  <a:lnTo>
                    <a:pt x="639294" y="776581"/>
                  </a:lnTo>
                  <a:lnTo>
                    <a:pt x="628211" y="776581"/>
                  </a:lnTo>
                  <a:lnTo>
                    <a:pt x="628211" y="748900"/>
                  </a:lnTo>
                  <a:lnTo>
                    <a:pt x="527580" y="748900"/>
                  </a:lnTo>
                  <a:lnTo>
                    <a:pt x="527580" y="776581"/>
                  </a:lnTo>
                  <a:lnTo>
                    <a:pt x="443542" y="776581"/>
                  </a:lnTo>
                  <a:lnTo>
                    <a:pt x="443542" y="793201"/>
                  </a:lnTo>
                  <a:lnTo>
                    <a:pt x="450013" y="793201"/>
                  </a:lnTo>
                  <a:lnTo>
                    <a:pt x="450013" y="810733"/>
                  </a:lnTo>
                  <a:lnTo>
                    <a:pt x="443542" y="810733"/>
                  </a:lnTo>
                  <a:lnTo>
                    <a:pt x="443123" y="837575"/>
                  </a:lnTo>
                  <a:lnTo>
                    <a:pt x="419955" y="839910"/>
                  </a:lnTo>
                  <a:lnTo>
                    <a:pt x="413039" y="839213"/>
                  </a:lnTo>
                  <a:lnTo>
                    <a:pt x="412266" y="838054"/>
                  </a:lnTo>
                  <a:lnTo>
                    <a:pt x="412266" y="827906"/>
                  </a:lnTo>
                  <a:lnTo>
                    <a:pt x="414810" y="825970"/>
                  </a:lnTo>
                  <a:lnTo>
                    <a:pt x="414810" y="822237"/>
                  </a:lnTo>
                  <a:lnTo>
                    <a:pt x="412266" y="819112"/>
                  </a:lnTo>
                  <a:lnTo>
                    <a:pt x="406763" y="819112"/>
                  </a:lnTo>
                  <a:lnTo>
                    <a:pt x="406763" y="815683"/>
                  </a:lnTo>
                  <a:lnTo>
                    <a:pt x="405436" y="815683"/>
                  </a:lnTo>
                  <a:lnTo>
                    <a:pt x="405436" y="806004"/>
                  </a:lnTo>
                  <a:lnTo>
                    <a:pt x="407979" y="806004"/>
                  </a:lnTo>
                  <a:lnTo>
                    <a:pt x="407979" y="803184"/>
                  </a:lnTo>
                  <a:lnTo>
                    <a:pt x="406624" y="803184"/>
                  </a:lnTo>
                  <a:cubicBezTo>
                    <a:pt x="406624" y="803184"/>
                    <a:pt x="405574" y="793035"/>
                    <a:pt x="394098" y="789606"/>
                  </a:cubicBezTo>
                  <a:lnTo>
                    <a:pt x="394098" y="779927"/>
                  </a:lnTo>
                  <a:lnTo>
                    <a:pt x="392604" y="779927"/>
                  </a:lnTo>
                  <a:lnTo>
                    <a:pt x="392604" y="777632"/>
                  </a:lnTo>
                  <a:cubicBezTo>
                    <a:pt x="393379" y="777328"/>
                    <a:pt x="393959" y="776526"/>
                    <a:pt x="393959" y="775586"/>
                  </a:cubicBezTo>
                  <a:cubicBezTo>
                    <a:pt x="393959" y="774369"/>
                    <a:pt x="393019" y="773401"/>
                    <a:pt x="391858" y="773401"/>
                  </a:cubicBezTo>
                  <a:cubicBezTo>
                    <a:pt x="390696" y="773401"/>
                    <a:pt x="389784" y="774397"/>
                    <a:pt x="389784" y="775586"/>
                  </a:cubicBezTo>
                  <a:cubicBezTo>
                    <a:pt x="389784" y="776443"/>
                    <a:pt x="390254" y="777189"/>
                    <a:pt x="390973" y="777549"/>
                  </a:cubicBezTo>
                  <a:lnTo>
                    <a:pt x="390973" y="779900"/>
                  </a:lnTo>
                  <a:lnTo>
                    <a:pt x="389645" y="779900"/>
                  </a:lnTo>
                  <a:lnTo>
                    <a:pt x="389645" y="789578"/>
                  </a:lnTo>
                  <a:cubicBezTo>
                    <a:pt x="378170" y="793007"/>
                    <a:pt x="377119" y="803156"/>
                    <a:pt x="377119" y="803156"/>
                  </a:cubicBezTo>
                  <a:lnTo>
                    <a:pt x="375791" y="803156"/>
                  </a:lnTo>
                  <a:lnTo>
                    <a:pt x="375791" y="805977"/>
                  </a:lnTo>
                  <a:lnTo>
                    <a:pt x="378335" y="805977"/>
                  </a:lnTo>
                  <a:lnTo>
                    <a:pt x="378335" y="815655"/>
                  </a:lnTo>
                  <a:lnTo>
                    <a:pt x="376980" y="815655"/>
                  </a:lnTo>
                  <a:lnTo>
                    <a:pt x="376980" y="819084"/>
                  </a:lnTo>
                  <a:lnTo>
                    <a:pt x="371477" y="819084"/>
                  </a:lnTo>
                  <a:lnTo>
                    <a:pt x="368933" y="822209"/>
                  </a:lnTo>
                  <a:lnTo>
                    <a:pt x="368933" y="825942"/>
                  </a:lnTo>
                  <a:lnTo>
                    <a:pt x="371477" y="827878"/>
                  </a:lnTo>
                  <a:lnTo>
                    <a:pt x="371477" y="835023"/>
                  </a:lnTo>
                  <a:lnTo>
                    <a:pt x="340401" y="831890"/>
                  </a:lnTo>
                  <a:lnTo>
                    <a:pt x="339206" y="695364"/>
                  </a:lnTo>
                  <a:lnTo>
                    <a:pt x="296731" y="695364"/>
                  </a:lnTo>
                  <a:lnTo>
                    <a:pt x="296731" y="674126"/>
                  </a:lnTo>
                  <a:lnTo>
                    <a:pt x="289348" y="674126"/>
                  </a:lnTo>
                  <a:lnTo>
                    <a:pt x="289348" y="695364"/>
                  </a:lnTo>
                  <a:lnTo>
                    <a:pt x="251463" y="695364"/>
                  </a:lnTo>
                  <a:lnTo>
                    <a:pt x="251463" y="681509"/>
                  </a:lnTo>
                  <a:lnTo>
                    <a:pt x="171130" y="681509"/>
                  </a:lnTo>
                  <a:lnTo>
                    <a:pt x="171130" y="695364"/>
                  </a:lnTo>
                  <a:lnTo>
                    <a:pt x="105227" y="695364"/>
                  </a:lnTo>
                  <a:lnTo>
                    <a:pt x="71722" y="654756"/>
                  </a:lnTo>
                  <a:lnTo>
                    <a:pt x="65618" y="643510"/>
                  </a:lnTo>
                  <a:lnTo>
                    <a:pt x="65494" y="626867"/>
                  </a:lnTo>
                  <a:lnTo>
                    <a:pt x="56584" y="626867"/>
                  </a:lnTo>
                  <a:lnTo>
                    <a:pt x="41547" y="599163"/>
                  </a:lnTo>
                  <a:lnTo>
                    <a:pt x="41547" y="584862"/>
                  </a:lnTo>
                  <a:lnTo>
                    <a:pt x="33785" y="584862"/>
                  </a:lnTo>
                  <a:lnTo>
                    <a:pt x="33002" y="583421"/>
                  </a:lnTo>
                  <a:cubicBezTo>
                    <a:pt x="11752" y="533178"/>
                    <a:pt x="0" y="477939"/>
                    <a:pt x="0" y="419955"/>
                  </a:cubicBezTo>
                  <a:cubicBezTo>
                    <a:pt x="0" y="188020"/>
                    <a:pt x="188020" y="0"/>
                    <a:pt x="419955" y="0"/>
                  </a:cubicBezTo>
                  <a:close/>
                </a:path>
              </a:pathLst>
            </a:custGeom>
            <a:gradFill flip="none" rotWithShape="1">
              <a:gsLst>
                <a:gs pos="100000">
                  <a:schemeClr val="bg1"/>
                </a:gs>
                <a:gs pos="0">
                  <a:srgbClr val="00A3E0"/>
                </a:gs>
              </a:gsLst>
              <a:path path="circle">
                <a:fillToRect l="100000" t="100000"/>
              </a:path>
              <a:tileRect r="-100000" b="-100000"/>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grpSp>
    </p:spTree>
    <p:extLst>
      <p:ext uri="{BB962C8B-B14F-4D97-AF65-F5344CB8AC3E}">
        <p14:creationId xmlns:p14="http://schemas.microsoft.com/office/powerpoint/2010/main" val="4212668630"/>
      </p:ext>
    </p:extLst>
  </p:cSld>
  <p:clrMapOvr>
    <a:masterClrMapping/>
  </p:clrMapOvr>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Black NO Templa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45F38E4-1CF7-69C4-D337-31C28E89F6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79868" y="-6183"/>
            <a:ext cx="7212134" cy="6864185"/>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3" y="5254692"/>
            <a:ext cx="4490720" cy="827500"/>
          </a:xfrm>
          <a:prstGeom prst="rect">
            <a:avLst/>
          </a:prstGeom>
        </p:spPr>
        <p:txBody>
          <a:bodyPr anchor="b" anchorCtr="0">
            <a:sp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3" y="6365849"/>
            <a:ext cx="4490720" cy="215400"/>
          </a:xfrm>
          <a:prstGeom prst="rect">
            <a:avLst/>
          </a:prstGeom>
        </p:spPr>
        <p:txBody>
          <a:bodyPr anchor="t">
            <a:sp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D. Logo">
            <a:extLst>
              <a:ext uri="{FF2B5EF4-FFF2-40B4-BE49-F238E27FC236}">
                <a16:creationId xmlns:a16="http://schemas.microsoft.com/office/drawing/2014/main" id="{3A2AEA24-72FF-4724-8E4D-E1BE6E74702E}"/>
              </a:ext>
            </a:extLst>
          </p:cNvPr>
          <p:cNvGrpSpPr/>
          <p:nvPr userDrawn="1"/>
        </p:nvGrpSpPr>
        <p:grpSpPr>
          <a:xfrm>
            <a:off x="463298" y="341312"/>
            <a:ext cx="1819655" cy="347472"/>
            <a:chOff x="398463" y="404813"/>
            <a:chExt cx="1627187" cy="307976"/>
          </a:xfrm>
          <a:solidFill>
            <a:schemeClr val="bg1"/>
          </a:solidFill>
        </p:grpSpPr>
        <p:sp>
          <p:nvSpPr>
            <p:cNvPr id="17" name="Oval 5">
              <a:extLst>
                <a:ext uri="{FF2B5EF4-FFF2-40B4-BE49-F238E27FC236}">
                  <a16:creationId xmlns:a16="http://schemas.microsoft.com/office/drawing/2014/main" id="{8BA5DA1C-F527-47EA-8EAB-C484A7D3D39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60D8C430-A07A-4E3F-BD02-4A5E7B62E49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ADD87AF6-67E2-4ABB-8506-1ECB924C269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8">
              <a:extLst>
                <a:ext uri="{FF2B5EF4-FFF2-40B4-BE49-F238E27FC236}">
                  <a16:creationId xmlns:a16="http://schemas.microsoft.com/office/drawing/2014/main" id="{F2A6834A-C6C7-455F-9882-7A688418056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9">
              <a:extLst>
                <a:ext uri="{FF2B5EF4-FFF2-40B4-BE49-F238E27FC236}">
                  <a16:creationId xmlns:a16="http://schemas.microsoft.com/office/drawing/2014/main" id="{1AA12CF4-93E7-4451-985D-97EB2E4EAE05}"/>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Rectangle 10">
              <a:extLst>
                <a:ext uri="{FF2B5EF4-FFF2-40B4-BE49-F238E27FC236}">
                  <a16:creationId xmlns:a16="http://schemas.microsoft.com/office/drawing/2014/main" id="{4AB3EBD2-8D26-4541-B24A-E47B6E698BA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Freeform 11">
              <a:extLst>
                <a:ext uri="{FF2B5EF4-FFF2-40B4-BE49-F238E27FC236}">
                  <a16:creationId xmlns:a16="http://schemas.microsoft.com/office/drawing/2014/main" id="{7B550156-FFF2-4966-A600-ABDDAF6DF02D}"/>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Freeform 12">
              <a:extLst>
                <a:ext uri="{FF2B5EF4-FFF2-40B4-BE49-F238E27FC236}">
                  <a16:creationId xmlns:a16="http://schemas.microsoft.com/office/drawing/2014/main" id="{2CEE23E0-8E54-41C6-BB2E-A736F96838C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3">
              <a:extLst>
                <a:ext uri="{FF2B5EF4-FFF2-40B4-BE49-F238E27FC236}">
                  <a16:creationId xmlns:a16="http://schemas.microsoft.com/office/drawing/2014/main" id="{F0D61122-CC65-45B9-AF65-C8E0D940949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4">
              <a:extLst>
                <a:ext uri="{FF2B5EF4-FFF2-40B4-BE49-F238E27FC236}">
                  <a16:creationId xmlns:a16="http://schemas.microsoft.com/office/drawing/2014/main" id="{B1450E42-B65B-49EE-9565-1A6ACA3D5F15}"/>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037428574"/>
      </p:ext>
    </p:extLst>
  </p:cSld>
  <p:clrMapOvr>
    <a:masterClrMapping/>
  </p:clrMapOvr>
  <p:hf hdr="0" dt="0"/>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 Black Off-Centre NO Templa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0E798B2-1C98-7E14-C77E-C333A04BEF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79868" y="-6183"/>
            <a:ext cx="7212134" cy="6864185"/>
          </a:xfrm>
          <a:prstGeom prst="rect">
            <a:avLst/>
          </a:prstGeom>
        </p:spPr>
      </p:pic>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3" y="3015250"/>
            <a:ext cx="4490720" cy="827500"/>
          </a:xfrm>
          <a:prstGeom prst="rect">
            <a:avLst/>
          </a:prstGeom>
        </p:spPr>
        <p:txBody>
          <a:bodyPr anchor="ctr" anchorCtr="0">
            <a:sp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3" y="6365849"/>
            <a:ext cx="4490720" cy="215400"/>
          </a:xfrm>
          <a:prstGeom prst="rect">
            <a:avLst/>
          </a:prstGeom>
        </p:spPr>
        <p:txBody>
          <a:bodyPr anchor="t">
            <a:sp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D. Logo">
            <a:extLst>
              <a:ext uri="{FF2B5EF4-FFF2-40B4-BE49-F238E27FC236}">
                <a16:creationId xmlns:a16="http://schemas.microsoft.com/office/drawing/2014/main" id="{3A2AEA24-72FF-4724-8E4D-E1BE6E74702E}"/>
              </a:ext>
            </a:extLst>
          </p:cNvPr>
          <p:cNvGrpSpPr/>
          <p:nvPr userDrawn="1"/>
        </p:nvGrpSpPr>
        <p:grpSpPr>
          <a:xfrm>
            <a:off x="463298" y="341312"/>
            <a:ext cx="1819655" cy="347472"/>
            <a:chOff x="398463" y="404813"/>
            <a:chExt cx="1627187" cy="307976"/>
          </a:xfrm>
          <a:solidFill>
            <a:schemeClr val="bg1"/>
          </a:solidFill>
        </p:grpSpPr>
        <p:sp>
          <p:nvSpPr>
            <p:cNvPr id="17" name="Oval 5">
              <a:extLst>
                <a:ext uri="{FF2B5EF4-FFF2-40B4-BE49-F238E27FC236}">
                  <a16:creationId xmlns:a16="http://schemas.microsoft.com/office/drawing/2014/main" id="{8BA5DA1C-F527-47EA-8EAB-C484A7D3D39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6">
              <a:extLst>
                <a:ext uri="{FF2B5EF4-FFF2-40B4-BE49-F238E27FC236}">
                  <a16:creationId xmlns:a16="http://schemas.microsoft.com/office/drawing/2014/main" id="{60D8C430-A07A-4E3F-BD02-4A5E7B62E49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9" name="Rectangle 7">
              <a:extLst>
                <a:ext uri="{FF2B5EF4-FFF2-40B4-BE49-F238E27FC236}">
                  <a16:creationId xmlns:a16="http://schemas.microsoft.com/office/drawing/2014/main" id="{ADD87AF6-67E2-4ABB-8506-1ECB924C269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0" name="Freeform 8">
              <a:extLst>
                <a:ext uri="{FF2B5EF4-FFF2-40B4-BE49-F238E27FC236}">
                  <a16:creationId xmlns:a16="http://schemas.microsoft.com/office/drawing/2014/main" id="{F2A6834A-C6C7-455F-9882-7A688418056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1" name="Rectangle 9">
              <a:extLst>
                <a:ext uri="{FF2B5EF4-FFF2-40B4-BE49-F238E27FC236}">
                  <a16:creationId xmlns:a16="http://schemas.microsoft.com/office/drawing/2014/main" id="{1AA12CF4-93E7-4451-985D-97EB2E4EAE05}"/>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2" name="Rectangle 10">
              <a:extLst>
                <a:ext uri="{FF2B5EF4-FFF2-40B4-BE49-F238E27FC236}">
                  <a16:creationId xmlns:a16="http://schemas.microsoft.com/office/drawing/2014/main" id="{4AB3EBD2-8D26-4541-B24A-E47B6E698BA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3" name="Freeform 11">
              <a:extLst>
                <a:ext uri="{FF2B5EF4-FFF2-40B4-BE49-F238E27FC236}">
                  <a16:creationId xmlns:a16="http://schemas.microsoft.com/office/drawing/2014/main" id="{7B550156-FFF2-4966-A600-ABDDAF6DF02D}"/>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4" name="Freeform 12">
              <a:extLst>
                <a:ext uri="{FF2B5EF4-FFF2-40B4-BE49-F238E27FC236}">
                  <a16:creationId xmlns:a16="http://schemas.microsoft.com/office/drawing/2014/main" id="{2CEE23E0-8E54-41C6-BB2E-A736F96838C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5" name="Freeform 13">
              <a:extLst>
                <a:ext uri="{FF2B5EF4-FFF2-40B4-BE49-F238E27FC236}">
                  <a16:creationId xmlns:a16="http://schemas.microsoft.com/office/drawing/2014/main" id="{F0D61122-CC65-45B9-AF65-C8E0D940949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6" name="Freeform 14">
              <a:extLst>
                <a:ext uri="{FF2B5EF4-FFF2-40B4-BE49-F238E27FC236}">
                  <a16:creationId xmlns:a16="http://schemas.microsoft.com/office/drawing/2014/main" id="{B1450E42-B65B-49EE-9565-1A6ACA3D5F15}"/>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109411076"/>
      </p:ext>
    </p:extLst>
  </p:cSld>
  <p:clrMapOvr>
    <a:masterClrMapping/>
  </p:clrMapOvr>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able of contents 1">
    <p:spTree>
      <p:nvGrpSpPr>
        <p:cNvPr id="1" name=""/>
        <p:cNvGrpSpPr/>
        <p:nvPr/>
      </p:nvGrpSpPr>
      <p:grpSpPr>
        <a:xfrm>
          <a:off x="0" y="0"/>
          <a:ext cx="0" cy="0"/>
          <a:chOff x="0" y="0"/>
          <a:chExt cx="0" cy="0"/>
        </a:xfrm>
      </p:grpSpPr>
      <p:pic>
        <p:nvPicPr>
          <p:cNvPr id="18" name="Picture 17" descr="Background pattern&#10;&#10;Description automatically generated">
            <a:extLst>
              <a:ext uri="{FF2B5EF4-FFF2-40B4-BE49-F238E27FC236}">
                <a16:creationId xmlns:a16="http://schemas.microsoft.com/office/drawing/2014/main" id="{B3C7973E-DE09-73C5-A3AF-09B08B4FFC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0" y="4912062"/>
            <a:ext cx="12192000" cy="1945939"/>
          </a:xfrm>
          <a:prstGeom prst="rect">
            <a:avLst/>
          </a:prstGeom>
        </p:spPr>
      </p:pic>
      <p:grpSp>
        <p:nvGrpSpPr>
          <p:cNvPr id="33" name="Group 32">
            <a:extLst>
              <a:ext uri="{FF2B5EF4-FFF2-40B4-BE49-F238E27FC236}">
                <a16:creationId xmlns:a16="http://schemas.microsoft.com/office/drawing/2014/main" id="{4A7F0D8B-E9C7-B00F-45F3-6442D2E630A8}"/>
              </a:ext>
            </a:extLst>
          </p:cNvPr>
          <p:cNvGrpSpPr/>
          <p:nvPr userDrawn="1"/>
        </p:nvGrpSpPr>
        <p:grpSpPr>
          <a:xfrm>
            <a:off x="8690172" y="3991421"/>
            <a:ext cx="3501829" cy="2866580"/>
            <a:chOff x="9591675" y="4729387"/>
            <a:chExt cx="2600325" cy="2128613"/>
          </a:xfrm>
        </p:grpSpPr>
        <p:sp>
          <p:nvSpPr>
            <p:cNvPr id="26" name="Freeform: Shape 25">
              <a:extLst>
                <a:ext uri="{FF2B5EF4-FFF2-40B4-BE49-F238E27FC236}">
                  <a16:creationId xmlns:a16="http://schemas.microsoft.com/office/drawing/2014/main" id="{8B31BE9C-3AFF-FC12-E635-D5CD9E39E91B}"/>
                </a:ext>
              </a:extLst>
            </p:cNvPr>
            <p:cNvSpPr/>
            <p:nvPr userDrawn="1"/>
          </p:nvSpPr>
          <p:spPr bwMode="gray">
            <a:xfrm flipV="1">
              <a:off x="9591675" y="4989489"/>
              <a:ext cx="2600325" cy="1868511"/>
            </a:xfrm>
            <a:custGeom>
              <a:avLst/>
              <a:gdLst>
                <a:gd name="connsiteX0" fmla="*/ 85171 w 2600325"/>
                <a:gd name="connsiteY0" fmla="*/ 0 h 1868511"/>
                <a:gd name="connsiteX1" fmla="*/ 629485 w 2600325"/>
                <a:gd name="connsiteY1" fmla="*/ 0 h 1868511"/>
                <a:gd name="connsiteX2" fmla="*/ 601132 w 2600325"/>
                <a:gd name="connsiteY2" fmla="*/ 46671 h 1868511"/>
                <a:gd name="connsiteX3" fmla="*/ 492476 w 2600325"/>
                <a:gd name="connsiteY3" fmla="*/ 475783 h 1868511"/>
                <a:gd name="connsiteX4" fmla="*/ 1392727 w 2600325"/>
                <a:gd name="connsiteY4" fmla="*/ 1376034 h 1868511"/>
                <a:gd name="connsiteX5" fmla="*/ 2292978 w 2600325"/>
                <a:gd name="connsiteY5" fmla="*/ 475783 h 1868511"/>
                <a:gd name="connsiteX6" fmla="*/ 2184323 w 2600325"/>
                <a:gd name="connsiteY6" fmla="*/ 46671 h 1868511"/>
                <a:gd name="connsiteX7" fmla="*/ 2155970 w 2600325"/>
                <a:gd name="connsiteY7" fmla="*/ 0 h 1868511"/>
                <a:gd name="connsiteX8" fmla="*/ 2600325 w 2600325"/>
                <a:gd name="connsiteY8" fmla="*/ 0 h 1868511"/>
                <a:gd name="connsiteX9" fmla="*/ 2600325 w 2600325"/>
                <a:gd name="connsiteY9" fmla="*/ 1167681 h 1868511"/>
                <a:gd name="connsiteX10" fmla="*/ 2547599 w 2600325"/>
                <a:gd name="connsiteY10" fmla="*/ 1254471 h 1868511"/>
                <a:gd name="connsiteX11" fmla="*/ 1392727 w 2600325"/>
                <a:gd name="connsiteY11" fmla="*/ 1868511 h 1868511"/>
                <a:gd name="connsiteX12" fmla="*/ 0 w 2600325"/>
                <a:gd name="connsiteY12" fmla="*/ 475784 h 1868511"/>
                <a:gd name="connsiteX13" fmla="*/ 62614 w 2600325"/>
                <a:gd name="connsiteY13" fmla="*/ 61629 h 186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0325" h="1868511">
                  <a:moveTo>
                    <a:pt x="85171" y="0"/>
                  </a:moveTo>
                  <a:lnTo>
                    <a:pt x="629485" y="0"/>
                  </a:lnTo>
                  <a:lnTo>
                    <a:pt x="601132" y="46671"/>
                  </a:lnTo>
                  <a:cubicBezTo>
                    <a:pt x="531838" y="174230"/>
                    <a:pt x="492476" y="320410"/>
                    <a:pt x="492476" y="475783"/>
                  </a:cubicBezTo>
                  <a:cubicBezTo>
                    <a:pt x="492476" y="972978"/>
                    <a:pt x="895533" y="1376034"/>
                    <a:pt x="1392727" y="1376034"/>
                  </a:cubicBezTo>
                  <a:cubicBezTo>
                    <a:pt x="1889922" y="1376034"/>
                    <a:pt x="2292978" y="972978"/>
                    <a:pt x="2292978" y="475783"/>
                  </a:cubicBezTo>
                  <a:cubicBezTo>
                    <a:pt x="2292978" y="320410"/>
                    <a:pt x="2253617" y="174230"/>
                    <a:pt x="2184323" y="46671"/>
                  </a:cubicBezTo>
                  <a:lnTo>
                    <a:pt x="2155970" y="0"/>
                  </a:lnTo>
                  <a:lnTo>
                    <a:pt x="2600325" y="0"/>
                  </a:lnTo>
                  <a:lnTo>
                    <a:pt x="2600325" y="1167681"/>
                  </a:lnTo>
                  <a:lnTo>
                    <a:pt x="2547599" y="1254471"/>
                  </a:lnTo>
                  <a:cubicBezTo>
                    <a:pt x="2297316" y="1624939"/>
                    <a:pt x="1873466" y="1868511"/>
                    <a:pt x="1392727" y="1868511"/>
                  </a:cubicBezTo>
                  <a:cubicBezTo>
                    <a:pt x="623545" y="1868511"/>
                    <a:pt x="0" y="1244966"/>
                    <a:pt x="0" y="475784"/>
                  </a:cubicBezTo>
                  <a:cubicBezTo>
                    <a:pt x="0" y="331562"/>
                    <a:pt x="21921" y="192460"/>
                    <a:pt x="62614" y="61629"/>
                  </a:cubicBezTo>
                  <a:close/>
                </a:path>
              </a:pathLst>
            </a:custGeom>
            <a:gradFill>
              <a:gsLst>
                <a:gs pos="0">
                  <a:srgbClr val="62B5E5">
                    <a:alpha val="49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32" name="Freeform: Shape 31">
              <a:extLst>
                <a:ext uri="{FF2B5EF4-FFF2-40B4-BE49-F238E27FC236}">
                  <a16:creationId xmlns:a16="http://schemas.microsoft.com/office/drawing/2014/main" id="{D7830B34-689C-B21A-6B09-C84443C4B7FD}"/>
                </a:ext>
              </a:extLst>
            </p:cNvPr>
            <p:cNvSpPr/>
            <p:nvPr userDrawn="1"/>
          </p:nvSpPr>
          <p:spPr bwMode="gray">
            <a:xfrm flipV="1">
              <a:off x="11050891" y="4729387"/>
              <a:ext cx="1141109" cy="1375923"/>
            </a:xfrm>
            <a:custGeom>
              <a:avLst/>
              <a:gdLst>
                <a:gd name="connsiteX0" fmla="*/ 1848733 w 3066457"/>
                <a:gd name="connsiteY0" fmla="*/ 973565 h 3697466"/>
                <a:gd name="connsiteX1" fmla="*/ 973564 w 3066457"/>
                <a:gd name="connsiteY1" fmla="*/ 1848733 h 3697466"/>
                <a:gd name="connsiteX2" fmla="*/ 1848733 w 3066457"/>
                <a:gd name="connsiteY2" fmla="*/ 2723902 h 3697466"/>
                <a:gd name="connsiteX3" fmla="*/ 2723902 w 3066457"/>
                <a:gd name="connsiteY3" fmla="*/ 1848733 h 3697466"/>
                <a:gd name="connsiteX4" fmla="*/ 1848733 w 3066457"/>
                <a:gd name="connsiteY4" fmla="*/ 973565 h 3697466"/>
                <a:gd name="connsiteX5" fmla="*/ 1848733 w 3066457"/>
                <a:gd name="connsiteY5" fmla="*/ 0 h 3697466"/>
                <a:gd name="connsiteX6" fmla="*/ 3024699 w 3066457"/>
                <a:gd name="connsiteY6" fmla="*/ 422161 h 3697466"/>
                <a:gd name="connsiteX7" fmla="*/ 3066457 w 3066457"/>
                <a:gd name="connsiteY7" fmla="*/ 460113 h 3697466"/>
                <a:gd name="connsiteX8" fmla="*/ 3066457 w 3066457"/>
                <a:gd name="connsiteY8" fmla="*/ 3237353 h 3697466"/>
                <a:gd name="connsiteX9" fmla="*/ 3024699 w 3066457"/>
                <a:gd name="connsiteY9" fmla="*/ 3275305 h 3697466"/>
                <a:gd name="connsiteX10" fmla="*/ 1848733 w 3066457"/>
                <a:gd name="connsiteY10" fmla="*/ 3697466 h 3697466"/>
                <a:gd name="connsiteX11" fmla="*/ 0 w 3066457"/>
                <a:gd name="connsiteY11" fmla="*/ 1848733 h 3697466"/>
                <a:gd name="connsiteX12" fmla="*/ 1848733 w 3066457"/>
                <a:gd name="connsiteY12" fmla="*/ 0 h 369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66457" h="3697466">
                  <a:moveTo>
                    <a:pt x="1848733" y="973565"/>
                  </a:moveTo>
                  <a:cubicBezTo>
                    <a:pt x="1365390" y="973565"/>
                    <a:pt x="973564" y="1365391"/>
                    <a:pt x="973564" y="1848733"/>
                  </a:cubicBezTo>
                  <a:cubicBezTo>
                    <a:pt x="973564" y="2332076"/>
                    <a:pt x="1365390" y="2723902"/>
                    <a:pt x="1848733" y="2723902"/>
                  </a:cubicBezTo>
                  <a:cubicBezTo>
                    <a:pt x="2332076" y="2723902"/>
                    <a:pt x="2723902" y="2332076"/>
                    <a:pt x="2723902" y="1848733"/>
                  </a:cubicBezTo>
                  <a:cubicBezTo>
                    <a:pt x="2723902" y="1365391"/>
                    <a:pt x="2332076" y="973565"/>
                    <a:pt x="1848733" y="973565"/>
                  </a:cubicBezTo>
                  <a:close/>
                  <a:moveTo>
                    <a:pt x="1848733" y="0"/>
                  </a:moveTo>
                  <a:cubicBezTo>
                    <a:pt x="2295432" y="0"/>
                    <a:pt x="2705129" y="158428"/>
                    <a:pt x="3024699" y="422161"/>
                  </a:cubicBezTo>
                  <a:lnTo>
                    <a:pt x="3066457" y="460113"/>
                  </a:lnTo>
                  <a:lnTo>
                    <a:pt x="3066457" y="3237353"/>
                  </a:lnTo>
                  <a:lnTo>
                    <a:pt x="3024699" y="3275305"/>
                  </a:lnTo>
                  <a:cubicBezTo>
                    <a:pt x="2705129" y="3539038"/>
                    <a:pt x="2295432" y="3697466"/>
                    <a:pt x="1848733" y="3697466"/>
                  </a:cubicBezTo>
                  <a:cubicBezTo>
                    <a:pt x="827707" y="3697466"/>
                    <a:pt x="0" y="2869760"/>
                    <a:pt x="0" y="1848733"/>
                  </a:cubicBezTo>
                  <a:cubicBezTo>
                    <a:pt x="0" y="827707"/>
                    <a:pt x="827707" y="0"/>
                    <a:pt x="1848733" y="0"/>
                  </a:cubicBezTo>
                  <a:close/>
                </a:path>
              </a:pathLst>
            </a:custGeom>
            <a:gradFill>
              <a:gsLst>
                <a:gs pos="0">
                  <a:srgbClr val="62B5E5">
                    <a:alpha val="49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grpSp>
      <p:sp>
        <p:nvSpPr>
          <p:cNvPr id="19" name="Text Placeholder 2">
            <a:extLst>
              <a:ext uri="{FF2B5EF4-FFF2-40B4-BE49-F238E27FC236}">
                <a16:creationId xmlns:a16="http://schemas.microsoft.com/office/drawing/2014/main" id="{5C0FA774-F659-CB45-8DD8-2F415098E544}"/>
              </a:ext>
            </a:extLst>
          </p:cNvPr>
          <p:cNvSpPr>
            <a:spLocks noGrp="1"/>
          </p:cNvSpPr>
          <p:nvPr>
            <p:ph type="body" sz="quarter" idx="22"/>
          </p:nvPr>
        </p:nvSpPr>
        <p:spPr>
          <a:xfrm>
            <a:off x="457203" y="2429946"/>
            <a:ext cx="2416171" cy="630942"/>
          </a:xfrm>
        </p:spPr>
        <p:txBody>
          <a:bodyPr tIns="137160">
            <a:spAutoFit/>
          </a:bodyPr>
          <a:lstStyle>
            <a:lvl1pPr>
              <a:defRPr sz="1600"/>
            </a:lvl1pPr>
            <a:lvl2pPr>
              <a:defRPr sz="1600"/>
            </a:lvl2pPr>
            <a:lvl3pPr>
              <a:defRPr sz="1600"/>
            </a:lvl3pPr>
            <a:lvl4pPr>
              <a:defRPr sz="1600"/>
            </a:lvl4pPr>
            <a:lvl5pPr>
              <a:defRPr sz="1600"/>
            </a:lvl5pPr>
          </a:lstStyle>
          <a:p>
            <a:pPr lvl="0"/>
            <a:r>
              <a:rPr lang="en-US"/>
              <a:t>Click to edit Master text styles</a:t>
            </a:r>
          </a:p>
        </p:txBody>
      </p:sp>
      <p:sp>
        <p:nvSpPr>
          <p:cNvPr id="20" name="Text Placeholder 2">
            <a:extLst>
              <a:ext uri="{FF2B5EF4-FFF2-40B4-BE49-F238E27FC236}">
                <a16:creationId xmlns:a16="http://schemas.microsoft.com/office/drawing/2014/main" id="{A97A50C1-7391-7A40-38E9-0CB7425C56ED}"/>
              </a:ext>
            </a:extLst>
          </p:cNvPr>
          <p:cNvSpPr>
            <a:spLocks noGrp="1"/>
          </p:cNvSpPr>
          <p:nvPr>
            <p:ph type="body" sz="quarter" idx="23"/>
          </p:nvPr>
        </p:nvSpPr>
        <p:spPr>
          <a:xfrm>
            <a:off x="3411010" y="2429946"/>
            <a:ext cx="2416171" cy="630942"/>
          </a:xfrm>
        </p:spPr>
        <p:txBody>
          <a:bodyPr tIns="137160">
            <a:spAutoFit/>
          </a:bodyPr>
          <a:lstStyle>
            <a:lvl1pPr>
              <a:defRPr sz="1600"/>
            </a:lvl1pPr>
            <a:lvl2pPr>
              <a:defRPr sz="1600"/>
            </a:lvl2pPr>
            <a:lvl3pPr>
              <a:defRPr sz="1600"/>
            </a:lvl3pPr>
            <a:lvl4pPr>
              <a:defRPr sz="1600"/>
            </a:lvl4pPr>
            <a:lvl5pPr>
              <a:defRPr sz="1600"/>
            </a:lvl5pPr>
          </a:lstStyle>
          <a:p>
            <a:pPr lvl="0"/>
            <a:r>
              <a:rPr lang="en-US"/>
              <a:t>Click to edit Master text styles</a:t>
            </a:r>
          </a:p>
        </p:txBody>
      </p:sp>
      <p:sp>
        <p:nvSpPr>
          <p:cNvPr id="21" name="Text Placeholder 2">
            <a:extLst>
              <a:ext uri="{FF2B5EF4-FFF2-40B4-BE49-F238E27FC236}">
                <a16:creationId xmlns:a16="http://schemas.microsoft.com/office/drawing/2014/main" id="{5A6A29A5-3F8F-8403-DB39-3B225C6D607C}"/>
              </a:ext>
            </a:extLst>
          </p:cNvPr>
          <p:cNvSpPr>
            <a:spLocks noGrp="1"/>
          </p:cNvSpPr>
          <p:nvPr>
            <p:ph type="body" sz="quarter" idx="24"/>
          </p:nvPr>
        </p:nvSpPr>
        <p:spPr>
          <a:xfrm>
            <a:off x="6364820" y="2429946"/>
            <a:ext cx="2416171" cy="630942"/>
          </a:xfrm>
        </p:spPr>
        <p:txBody>
          <a:bodyPr tIns="137160">
            <a:spAutoFit/>
          </a:bodyPr>
          <a:lstStyle>
            <a:lvl1pPr>
              <a:defRPr sz="1600"/>
            </a:lvl1pPr>
            <a:lvl2pPr>
              <a:defRPr sz="1600"/>
            </a:lvl2pPr>
            <a:lvl3pPr>
              <a:defRPr sz="1600"/>
            </a:lvl3pPr>
            <a:lvl4pPr>
              <a:defRPr sz="1600"/>
            </a:lvl4pPr>
            <a:lvl5pPr>
              <a:defRPr sz="1600"/>
            </a:lvl5pPr>
          </a:lstStyle>
          <a:p>
            <a:pPr lvl="0"/>
            <a:r>
              <a:rPr lang="en-US"/>
              <a:t>Click to edit Master text styles</a:t>
            </a:r>
          </a:p>
        </p:txBody>
      </p:sp>
      <p:sp>
        <p:nvSpPr>
          <p:cNvPr id="22" name="Text Placeholder 2">
            <a:extLst>
              <a:ext uri="{FF2B5EF4-FFF2-40B4-BE49-F238E27FC236}">
                <a16:creationId xmlns:a16="http://schemas.microsoft.com/office/drawing/2014/main" id="{67A3BCCE-A5BC-F213-B9F2-40D142F4393C}"/>
              </a:ext>
            </a:extLst>
          </p:cNvPr>
          <p:cNvSpPr>
            <a:spLocks noGrp="1"/>
          </p:cNvSpPr>
          <p:nvPr>
            <p:ph type="body" sz="quarter" idx="25"/>
          </p:nvPr>
        </p:nvSpPr>
        <p:spPr>
          <a:xfrm>
            <a:off x="9318627" y="2429946"/>
            <a:ext cx="2416171" cy="630942"/>
          </a:xfrm>
        </p:spPr>
        <p:txBody>
          <a:bodyPr tIns="137160">
            <a:spAutoFit/>
          </a:bodyPr>
          <a:lstStyle>
            <a:lvl1pPr>
              <a:defRPr sz="1600"/>
            </a:lvl1pPr>
            <a:lvl2pPr>
              <a:defRPr sz="1600"/>
            </a:lvl2pPr>
            <a:lvl3pPr>
              <a:defRPr sz="1600"/>
            </a:lvl3pPr>
            <a:lvl4pPr>
              <a:defRPr sz="1600"/>
            </a:lvl4pPr>
            <a:lvl5pPr>
              <a:defRPr sz="1600"/>
            </a:lvl5pPr>
          </a:lstStyle>
          <a:p>
            <a:pPr lvl="0"/>
            <a:r>
              <a:rPr lang="en-US"/>
              <a:t>Click to edit Master text styles</a:t>
            </a:r>
          </a:p>
        </p:txBody>
      </p:sp>
      <p:sp>
        <p:nvSpPr>
          <p:cNvPr id="23" name="Text Placeholder 2">
            <a:extLst>
              <a:ext uri="{FF2B5EF4-FFF2-40B4-BE49-F238E27FC236}">
                <a16:creationId xmlns:a16="http://schemas.microsoft.com/office/drawing/2014/main" id="{4A516E7C-070B-F3BC-FF3D-CE356EB0D9F6}"/>
              </a:ext>
            </a:extLst>
          </p:cNvPr>
          <p:cNvSpPr>
            <a:spLocks noGrp="1"/>
          </p:cNvSpPr>
          <p:nvPr>
            <p:ph type="body" sz="quarter" idx="26"/>
          </p:nvPr>
        </p:nvSpPr>
        <p:spPr>
          <a:xfrm>
            <a:off x="457203" y="4083336"/>
            <a:ext cx="2416171" cy="630942"/>
          </a:xfrm>
        </p:spPr>
        <p:txBody>
          <a:bodyPr tIns="137160">
            <a:spAutoFit/>
          </a:bodyPr>
          <a:lstStyle>
            <a:lvl1pPr>
              <a:defRPr sz="1600"/>
            </a:lvl1pPr>
            <a:lvl2pPr>
              <a:defRPr sz="1600"/>
            </a:lvl2pPr>
            <a:lvl3pPr>
              <a:defRPr sz="1600"/>
            </a:lvl3pPr>
            <a:lvl4pPr>
              <a:defRPr sz="1600"/>
            </a:lvl4pPr>
            <a:lvl5pPr>
              <a:defRPr sz="1600"/>
            </a:lvl5pPr>
          </a:lstStyle>
          <a:p>
            <a:pPr lvl="0"/>
            <a:r>
              <a:rPr lang="en-US"/>
              <a:t>Click to edit Master text styles</a:t>
            </a:r>
          </a:p>
        </p:txBody>
      </p:sp>
      <p:sp>
        <p:nvSpPr>
          <p:cNvPr id="24" name="Text Placeholder 2">
            <a:extLst>
              <a:ext uri="{FF2B5EF4-FFF2-40B4-BE49-F238E27FC236}">
                <a16:creationId xmlns:a16="http://schemas.microsoft.com/office/drawing/2014/main" id="{FC79E7B5-A526-E942-D527-006233EDC575}"/>
              </a:ext>
            </a:extLst>
          </p:cNvPr>
          <p:cNvSpPr>
            <a:spLocks noGrp="1"/>
          </p:cNvSpPr>
          <p:nvPr>
            <p:ph type="body" sz="quarter" idx="27"/>
          </p:nvPr>
        </p:nvSpPr>
        <p:spPr>
          <a:xfrm>
            <a:off x="3411010" y="4083336"/>
            <a:ext cx="2416171" cy="630942"/>
          </a:xfrm>
        </p:spPr>
        <p:txBody>
          <a:bodyPr tIns="137160">
            <a:spAutoFit/>
          </a:bodyPr>
          <a:lstStyle>
            <a:lvl1pPr>
              <a:defRPr sz="1600"/>
            </a:lvl1pPr>
            <a:lvl2pPr>
              <a:defRPr sz="1600"/>
            </a:lvl2pPr>
            <a:lvl3pPr>
              <a:defRPr sz="1600"/>
            </a:lvl3pPr>
            <a:lvl4pPr>
              <a:defRPr sz="1600"/>
            </a:lvl4pPr>
            <a:lvl5pPr>
              <a:defRPr sz="1600"/>
            </a:lvl5pPr>
          </a:lstStyle>
          <a:p>
            <a:pPr lvl="0"/>
            <a:r>
              <a:rPr lang="en-US"/>
              <a:t>Click to edit Master text styles</a:t>
            </a:r>
          </a:p>
        </p:txBody>
      </p:sp>
      <p:sp>
        <p:nvSpPr>
          <p:cNvPr id="25" name="Text Placeholder 2">
            <a:extLst>
              <a:ext uri="{FF2B5EF4-FFF2-40B4-BE49-F238E27FC236}">
                <a16:creationId xmlns:a16="http://schemas.microsoft.com/office/drawing/2014/main" id="{70791D91-83FC-A980-3631-08F6EBC5FB8F}"/>
              </a:ext>
            </a:extLst>
          </p:cNvPr>
          <p:cNvSpPr>
            <a:spLocks noGrp="1"/>
          </p:cNvSpPr>
          <p:nvPr>
            <p:ph type="body" sz="quarter" idx="28"/>
          </p:nvPr>
        </p:nvSpPr>
        <p:spPr>
          <a:xfrm>
            <a:off x="6364820" y="4083336"/>
            <a:ext cx="2416171" cy="630942"/>
          </a:xfrm>
        </p:spPr>
        <p:txBody>
          <a:bodyPr tIns="137160">
            <a:spAutoFit/>
          </a:bodyPr>
          <a:lstStyle>
            <a:lvl1pPr>
              <a:defRPr sz="1600"/>
            </a:lvl1pPr>
            <a:lvl2pPr>
              <a:defRPr sz="1600"/>
            </a:lvl2pPr>
            <a:lvl3pPr>
              <a:defRPr sz="1600"/>
            </a:lvl3pPr>
            <a:lvl4pPr>
              <a:defRPr sz="1600"/>
            </a:lvl4pPr>
            <a:lvl5pPr>
              <a:defRPr sz="1600"/>
            </a:lvl5pPr>
          </a:lstStyle>
          <a:p>
            <a:pPr lvl="0"/>
            <a:r>
              <a:rPr lang="en-US"/>
              <a:t>Click to edit Master text styles</a:t>
            </a:r>
          </a:p>
        </p:txBody>
      </p:sp>
      <p:sp>
        <p:nvSpPr>
          <p:cNvPr id="4" name="TextBox 3">
            <a:extLst>
              <a:ext uri="{FF2B5EF4-FFF2-40B4-BE49-F238E27FC236}">
                <a16:creationId xmlns:a16="http://schemas.microsoft.com/office/drawing/2014/main" id="{8BDB4E19-6CC4-ECE9-768D-451C5901D6C1}"/>
              </a:ext>
            </a:extLst>
          </p:cNvPr>
          <p:cNvSpPr txBox="1"/>
          <p:nvPr userDrawn="1"/>
        </p:nvSpPr>
        <p:spPr>
          <a:xfrm>
            <a:off x="457200" y="1372500"/>
            <a:ext cx="1038746" cy="1230978"/>
          </a:xfrm>
          <a:prstGeom prst="rect">
            <a:avLst/>
          </a:prstGeom>
          <a:noFill/>
        </p:spPr>
        <p:txBody>
          <a:bodyPr wrap="none" lIns="0" tIns="0" rIns="0" bIns="0" rtlCol="0" anchor="ctr">
            <a:spAutoFit/>
          </a:bodyPr>
          <a:lstStyle/>
          <a:p>
            <a:pPr>
              <a:buSzPct val="100000"/>
            </a:pPr>
            <a:r>
              <a:rPr lang="en-GB" sz="7999">
                <a:solidFill>
                  <a:srgbClr val="0076A8"/>
                </a:solidFill>
                <a:latin typeface="Calibri Light" panose="020F0302020204030204" pitchFamily="34" charset="0"/>
                <a:cs typeface="Calibri Light" panose="020F0302020204030204" pitchFamily="34" charset="0"/>
              </a:rPr>
              <a:t>01</a:t>
            </a:r>
          </a:p>
        </p:txBody>
      </p:sp>
      <p:sp>
        <p:nvSpPr>
          <p:cNvPr id="5" name="TextBox 4">
            <a:extLst>
              <a:ext uri="{FF2B5EF4-FFF2-40B4-BE49-F238E27FC236}">
                <a16:creationId xmlns:a16="http://schemas.microsoft.com/office/drawing/2014/main" id="{DF1C7261-CFE7-D27F-3C13-FBCA8458B145}"/>
              </a:ext>
            </a:extLst>
          </p:cNvPr>
          <p:cNvSpPr txBox="1"/>
          <p:nvPr userDrawn="1"/>
        </p:nvSpPr>
        <p:spPr>
          <a:xfrm>
            <a:off x="3411009" y="1372500"/>
            <a:ext cx="1038746" cy="1230978"/>
          </a:xfrm>
          <a:prstGeom prst="rect">
            <a:avLst/>
          </a:prstGeom>
          <a:noFill/>
        </p:spPr>
        <p:txBody>
          <a:bodyPr wrap="none" lIns="0" tIns="0" rIns="0" bIns="0" rtlCol="0" anchor="ctr">
            <a:spAutoFit/>
          </a:bodyPr>
          <a:lstStyle/>
          <a:p>
            <a:pPr>
              <a:buSzPct val="100000"/>
            </a:pPr>
            <a:r>
              <a:rPr lang="en-GB" sz="7999">
                <a:solidFill>
                  <a:srgbClr val="0076A8"/>
                </a:solidFill>
                <a:latin typeface="Calibri Light" panose="020F0302020204030204" pitchFamily="34" charset="0"/>
                <a:cs typeface="Calibri Light" panose="020F0302020204030204" pitchFamily="34" charset="0"/>
              </a:rPr>
              <a:t>02</a:t>
            </a:r>
          </a:p>
        </p:txBody>
      </p:sp>
      <p:sp>
        <p:nvSpPr>
          <p:cNvPr id="6" name="TextBox 5">
            <a:extLst>
              <a:ext uri="{FF2B5EF4-FFF2-40B4-BE49-F238E27FC236}">
                <a16:creationId xmlns:a16="http://schemas.microsoft.com/office/drawing/2014/main" id="{A0359B69-9742-8F41-41BB-133DD12F36E6}"/>
              </a:ext>
            </a:extLst>
          </p:cNvPr>
          <p:cNvSpPr txBox="1"/>
          <p:nvPr userDrawn="1"/>
        </p:nvSpPr>
        <p:spPr>
          <a:xfrm>
            <a:off x="6364818" y="1372500"/>
            <a:ext cx="1038746" cy="1230978"/>
          </a:xfrm>
          <a:prstGeom prst="rect">
            <a:avLst/>
          </a:prstGeom>
          <a:noFill/>
        </p:spPr>
        <p:txBody>
          <a:bodyPr wrap="none" lIns="0" tIns="0" rIns="0" bIns="0" rtlCol="0" anchor="ctr">
            <a:spAutoFit/>
          </a:bodyPr>
          <a:lstStyle/>
          <a:p>
            <a:pPr>
              <a:buSzPct val="100000"/>
            </a:pPr>
            <a:r>
              <a:rPr lang="en-GB" sz="7999">
                <a:solidFill>
                  <a:srgbClr val="0076A8"/>
                </a:solidFill>
                <a:latin typeface="Calibri Light" panose="020F0302020204030204" pitchFamily="34" charset="0"/>
                <a:cs typeface="Calibri Light" panose="020F0302020204030204" pitchFamily="34" charset="0"/>
              </a:rPr>
              <a:t>03</a:t>
            </a:r>
          </a:p>
        </p:txBody>
      </p:sp>
      <p:sp>
        <p:nvSpPr>
          <p:cNvPr id="7" name="TextBox 6">
            <a:extLst>
              <a:ext uri="{FF2B5EF4-FFF2-40B4-BE49-F238E27FC236}">
                <a16:creationId xmlns:a16="http://schemas.microsoft.com/office/drawing/2014/main" id="{F213649F-3283-B3D3-5B6A-87D1625F9768}"/>
              </a:ext>
            </a:extLst>
          </p:cNvPr>
          <p:cNvSpPr txBox="1"/>
          <p:nvPr userDrawn="1"/>
        </p:nvSpPr>
        <p:spPr>
          <a:xfrm>
            <a:off x="9318629" y="1372500"/>
            <a:ext cx="1038746" cy="1230978"/>
          </a:xfrm>
          <a:prstGeom prst="rect">
            <a:avLst/>
          </a:prstGeom>
          <a:noFill/>
        </p:spPr>
        <p:txBody>
          <a:bodyPr wrap="none" lIns="0" tIns="0" rIns="0" bIns="0" rtlCol="0" anchor="ctr">
            <a:spAutoFit/>
          </a:bodyPr>
          <a:lstStyle/>
          <a:p>
            <a:pPr>
              <a:buSzPct val="100000"/>
            </a:pPr>
            <a:r>
              <a:rPr lang="en-GB" sz="7999">
                <a:solidFill>
                  <a:srgbClr val="0076A8"/>
                </a:solidFill>
                <a:latin typeface="Calibri Light" panose="020F0302020204030204" pitchFamily="34" charset="0"/>
                <a:cs typeface="Calibri Light" panose="020F0302020204030204" pitchFamily="34" charset="0"/>
              </a:rPr>
              <a:t>04</a:t>
            </a:r>
          </a:p>
        </p:txBody>
      </p:sp>
      <p:sp>
        <p:nvSpPr>
          <p:cNvPr id="8" name="TextBox 7">
            <a:extLst>
              <a:ext uri="{FF2B5EF4-FFF2-40B4-BE49-F238E27FC236}">
                <a16:creationId xmlns:a16="http://schemas.microsoft.com/office/drawing/2014/main" id="{FD4D1208-A157-3BA1-E1EF-935CA50C2630}"/>
              </a:ext>
            </a:extLst>
          </p:cNvPr>
          <p:cNvSpPr txBox="1"/>
          <p:nvPr userDrawn="1"/>
        </p:nvSpPr>
        <p:spPr>
          <a:xfrm>
            <a:off x="457200" y="3026911"/>
            <a:ext cx="1038746" cy="1230978"/>
          </a:xfrm>
          <a:prstGeom prst="rect">
            <a:avLst/>
          </a:prstGeom>
          <a:noFill/>
        </p:spPr>
        <p:txBody>
          <a:bodyPr wrap="none" lIns="0" tIns="0" rIns="0" bIns="0" rtlCol="0" anchor="ctr">
            <a:spAutoFit/>
          </a:bodyPr>
          <a:lstStyle/>
          <a:p>
            <a:pPr>
              <a:buSzPct val="100000"/>
            </a:pPr>
            <a:r>
              <a:rPr lang="en-GB" sz="7999">
                <a:solidFill>
                  <a:srgbClr val="0076A8"/>
                </a:solidFill>
                <a:latin typeface="Calibri Light" panose="020F0302020204030204" pitchFamily="34" charset="0"/>
                <a:cs typeface="Calibri Light" panose="020F0302020204030204" pitchFamily="34" charset="0"/>
              </a:rPr>
              <a:t>05</a:t>
            </a:r>
          </a:p>
        </p:txBody>
      </p:sp>
      <p:sp>
        <p:nvSpPr>
          <p:cNvPr id="9" name="TextBox 8">
            <a:extLst>
              <a:ext uri="{FF2B5EF4-FFF2-40B4-BE49-F238E27FC236}">
                <a16:creationId xmlns:a16="http://schemas.microsoft.com/office/drawing/2014/main" id="{AB8D715B-921B-D81D-9839-4FC2CF038055}"/>
              </a:ext>
            </a:extLst>
          </p:cNvPr>
          <p:cNvSpPr txBox="1"/>
          <p:nvPr userDrawn="1"/>
        </p:nvSpPr>
        <p:spPr>
          <a:xfrm>
            <a:off x="3411009" y="3026911"/>
            <a:ext cx="1038746" cy="1230978"/>
          </a:xfrm>
          <a:prstGeom prst="rect">
            <a:avLst/>
          </a:prstGeom>
          <a:noFill/>
        </p:spPr>
        <p:txBody>
          <a:bodyPr wrap="none" lIns="0" tIns="0" rIns="0" bIns="0" rtlCol="0" anchor="ctr">
            <a:spAutoFit/>
          </a:bodyPr>
          <a:lstStyle/>
          <a:p>
            <a:pPr>
              <a:buSzPct val="100000"/>
            </a:pPr>
            <a:r>
              <a:rPr lang="en-GB" sz="7999">
                <a:solidFill>
                  <a:srgbClr val="0076A8"/>
                </a:solidFill>
                <a:latin typeface="Calibri Light" panose="020F0302020204030204" pitchFamily="34" charset="0"/>
                <a:cs typeface="Calibri Light" panose="020F0302020204030204" pitchFamily="34" charset="0"/>
              </a:rPr>
              <a:t>06</a:t>
            </a:r>
          </a:p>
        </p:txBody>
      </p:sp>
      <p:sp>
        <p:nvSpPr>
          <p:cNvPr id="10" name="TextBox 9">
            <a:extLst>
              <a:ext uri="{FF2B5EF4-FFF2-40B4-BE49-F238E27FC236}">
                <a16:creationId xmlns:a16="http://schemas.microsoft.com/office/drawing/2014/main" id="{C8B76A00-64CD-4D81-3FE3-32728F2CE707}"/>
              </a:ext>
            </a:extLst>
          </p:cNvPr>
          <p:cNvSpPr txBox="1"/>
          <p:nvPr userDrawn="1"/>
        </p:nvSpPr>
        <p:spPr>
          <a:xfrm>
            <a:off x="6364818" y="3026911"/>
            <a:ext cx="1038746" cy="1230978"/>
          </a:xfrm>
          <a:prstGeom prst="rect">
            <a:avLst/>
          </a:prstGeom>
          <a:noFill/>
        </p:spPr>
        <p:txBody>
          <a:bodyPr wrap="none" lIns="0" tIns="0" rIns="0" bIns="0" rtlCol="0" anchor="ctr">
            <a:spAutoFit/>
          </a:bodyPr>
          <a:lstStyle/>
          <a:p>
            <a:pPr>
              <a:buSzPct val="100000"/>
            </a:pPr>
            <a:r>
              <a:rPr lang="en-GB" sz="7999">
                <a:solidFill>
                  <a:srgbClr val="0076A8"/>
                </a:solidFill>
                <a:latin typeface="Calibri Light" panose="020F0302020204030204" pitchFamily="34" charset="0"/>
                <a:cs typeface="Calibri Light" panose="020F0302020204030204" pitchFamily="34" charset="0"/>
              </a:rPr>
              <a:t>07</a:t>
            </a:r>
          </a:p>
        </p:txBody>
      </p:sp>
      <p:sp>
        <p:nvSpPr>
          <p:cNvPr id="11" name="Rectangle 10">
            <a:extLst>
              <a:ext uri="{FF2B5EF4-FFF2-40B4-BE49-F238E27FC236}">
                <a16:creationId xmlns:a16="http://schemas.microsoft.com/office/drawing/2014/main" id="{ED785948-8292-57E7-EE11-973B8AABF25B}"/>
              </a:ext>
              <a:ext uri="{C183D7F6-B498-43B3-948B-1728B52AA6E4}">
                <adec:decorative xmlns="" xmlns:adec="http://schemas.microsoft.com/office/drawing/2017/decorative" val="1"/>
              </a:ext>
            </a:extLst>
          </p:cNvPr>
          <p:cNvSpPr>
            <a:spLocks/>
          </p:cNvSpPr>
          <p:nvPr userDrawn="1"/>
        </p:nvSpPr>
        <p:spPr bwMode="gray">
          <a:xfrm>
            <a:off x="457202" y="2390825"/>
            <a:ext cx="2416172" cy="38100"/>
          </a:xfrm>
          <a:prstGeom prst="rect">
            <a:avLst/>
          </a:prstGeom>
          <a:gradFill>
            <a:gsLst>
              <a:gs pos="100000">
                <a:srgbClr val="62B5E5">
                  <a:alpha val="0"/>
                </a:srgbClr>
              </a:gs>
              <a:gs pos="0">
                <a:srgbClr val="005587"/>
              </a:gs>
            </a:gsLst>
            <a:lin ang="0" scaled="0"/>
          </a:gra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
        <p:nvSpPr>
          <p:cNvPr id="12" name="Rectangle 11">
            <a:extLst>
              <a:ext uri="{FF2B5EF4-FFF2-40B4-BE49-F238E27FC236}">
                <a16:creationId xmlns:a16="http://schemas.microsoft.com/office/drawing/2014/main" id="{3F3EB8B2-6E23-7DE8-2D73-ED54AF3F91D3}"/>
              </a:ext>
              <a:ext uri="{C183D7F6-B498-43B3-948B-1728B52AA6E4}">
                <adec:decorative xmlns="" xmlns:adec="http://schemas.microsoft.com/office/drawing/2017/decorative" val="1"/>
              </a:ext>
            </a:extLst>
          </p:cNvPr>
          <p:cNvSpPr>
            <a:spLocks/>
          </p:cNvSpPr>
          <p:nvPr userDrawn="1"/>
        </p:nvSpPr>
        <p:spPr bwMode="gray">
          <a:xfrm>
            <a:off x="3411011" y="2390825"/>
            <a:ext cx="2416172" cy="38100"/>
          </a:xfrm>
          <a:prstGeom prst="rect">
            <a:avLst/>
          </a:prstGeom>
          <a:gradFill>
            <a:gsLst>
              <a:gs pos="100000">
                <a:srgbClr val="62B5E5">
                  <a:alpha val="0"/>
                </a:srgbClr>
              </a:gs>
              <a:gs pos="0">
                <a:srgbClr val="005587"/>
              </a:gs>
            </a:gsLst>
            <a:lin ang="0" scaled="0"/>
          </a:gra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
        <p:nvSpPr>
          <p:cNvPr id="13" name="Rectangle 12">
            <a:extLst>
              <a:ext uri="{FF2B5EF4-FFF2-40B4-BE49-F238E27FC236}">
                <a16:creationId xmlns:a16="http://schemas.microsoft.com/office/drawing/2014/main" id="{6BD953AB-BEE1-00A2-3EA1-465B8F2F6EE9}"/>
              </a:ext>
              <a:ext uri="{C183D7F6-B498-43B3-948B-1728B52AA6E4}">
                <adec:decorative xmlns="" xmlns:adec="http://schemas.microsoft.com/office/drawing/2017/decorative" val="1"/>
              </a:ext>
            </a:extLst>
          </p:cNvPr>
          <p:cNvSpPr>
            <a:spLocks/>
          </p:cNvSpPr>
          <p:nvPr userDrawn="1"/>
        </p:nvSpPr>
        <p:spPr bwMode="gray">
          <a:xfrm>
            <a:off x="6364819" y="2390825"/>
            <a:ext cx="2416172" cy="38100"/>
          </a:xfrm>
          <a:prstGeom prst="rect">
            <a:avLst/>
          </a:prstGeom>
          <a:gradFill>
            <a:gsLst>
              <a:gs pos="100000">
                <a:srgbClr val="62B5E5">
                  <a:alpha val="0"/>
                </a:srgbClr>
              </a:gs>
              <a:gs pos="0">
                <a:srgbClr val="005587"/>
              </a:gs>
            </a:gsLst>
            <a:lin ang="0" scaled="0"/>
          </a:gra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1DD24EC1-F08A-9784-894E-0D7CFD62AA3F}"/>
              </a:ext>
              <a:ext uri="{C183D7F6-B498-43B3-948B-1728B52AA6E4}">
                <adec:decorative xmlns="" xmlns:adec="http://schemas.microsoft.com/office/drawing/2017/decorative" val="1"/>
              </a:ext>
            </a:extLst>
          </p:cNvPr>
          <p:cNvSpPr>
            <a:spLocks/>
          </p:cNvSpPr>
          <p:nvPr userDrawn="1"/>
        </p:nvSpPr>
        <p:spPr bwMode="gray">
          <a:xfrm>
            <a:off x="9318630" y="2390825"/>
            <a:ext cx="2416172" cy="38100"/>
          </a:xfrm>
          <a:prstGeom prst="rect">
            <a:avLst/>
          </a:prstGeom>
          <a:gradFill>
            <a:gsLst>
              <a:gs pos="100000">
                <a:srgbClr val="62B5E5">
                  <a:alpha val="0"/>
                </a:srgbClr>
              </a:gs>
              <a:gs pos="0">
                <a:srgbClr val="005587"/>
              </a:gs>
            </a:gsLst>
            <a:lin ang="0" scaled="0"/>
          </a:gra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
        <p:nvSpPr>
          <p:cNvPr id="15" name="Rectangle 14">
            <a:extLst>
              <a:ext uri="{FF2B5EF4-FFF2-40B4-BE49-F238E27FC236}">
                <a16:creationId xmlns:a16="http://schemas.microsoft.com/office/drawing/2014/main" id="{0F350E13-470E-C945-C3CF-E3A53E3E6662}"/>
              </a:ext>
              <a:ext uri="{C183D7F6-B498-43B3-948B-1728B52AA6E4}">
                <adec:decorative xmlns="" xmlns:adec="http://schemas.microsoft.com/office/drawing/2017/decorative" val="1"/>
              </a:ext>
            </a:extLst>
          </p:cNvPr>
          <p:cNvSpPr>
            <a:spLocks/>
          </p:cNvSpPr>
          <p:nvPr userDrawn="1"/>
        </p:nvSpPr>
        <p:spPr bwMode="gray">
          <a:xfrm>
            <a:off x="457202" y="4045236"/>
            <a:ext cx="2416172" cy="38100"/>
          </a:xfrm>
          <a:prstGeom prst="rect">
            <a:avLst/>
          </a:prstGeom>
          <a:gradFill>
            <a:gsLst>
              <a:gs pos="100000">
                <a:srgbClr val="62B5E5">
                  <a:alpha val="0"/>
                </a:srgbClr>
              </a:gs>
              <a:gs pos="0">
                <a:srgbClr val="005587"/>
              </a:gs>
            </a:gsLst>
            <a:lin ang="0" scaled="0"/>
          </a:gra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
        <p:nvSpPr>
          <p:cNvPr id="16" name="Rectangle 15">
            <a:extLst>
              <a:ext uri="{FF2B5EF4-FFF2-40B4-BE49-F238E27FC236}">
                <a16:creationId xmlns:a16="http://schemas.microsoft.com/office/drawing/2014/main" id="{F6717504-FB2E-91D6-E438-CFEF0E8350CF}"/>
              </a:ext>
              <a:ext uri="{C183D7F6-B498-43B3-948B-1728B52AA6E4}">
                <adec:decorative xmlns="" xmlns:adec="http://schemas.microsoft.com/office/drawing/2017/decorative" val="1"/>
              </a:ext>
            </a:extLst>
          </p:cNvPr>
          <p:cNvSpPr>
            <a:spLocks/>
          </p:cNvSpPr>
          <p:nvPr userDrawn="1"/>
        </p:nvSpPr>
        <p:spPr bwMode="gray">
          <a:xfrm>
            <a:off x="3411011" y="4045236"/>
            <a:ext cx="2416172" cy="38100"/>
          </a:xfrm>
          <a:prstGeom prst="rect">
            <a:avLst/>
          </a:prstGeom>
          <a:gradFill>
            <a:gsLst>
              <a:gs pos="100000">
                <a:srgbClr val="62B5E5">
                  <a:alpha val="0"/>
                </a:srgbClr>
              </a:gs>
              <a:gs pos="0">
                <a:srgbClr val="005587"/>
              </a:gs>
            </a:gsLst>
            <a:lin ang="0" scaled="0"/>
          </a:gra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15B4816E-49B3-C883-347C-F6B941FB220A}"/>
              </a:ext>
              <a:ext uri="{C183D7F6-B498-43B3-948B-1728B52AA6E4}">
                <adec:decorative xmlns="" xmlns:adec="http://schemas.microsoft.com/office/drawing/2017/decorative" val="1"/>
              </a:ext>
            </a:extLst>
          </p:cNvPr>
          <p:cNvSpPr>
            <a:spLocks/>
          </p:cNvSpPr>
          <p:nvPr userDrawn="1"/>
        </p:nvSpPr>
        <p:spPr bwMode="gray">
          <a:xfrm>
            <a:off x="6364819" y="4045236"/>
            <a:ext cx="2416172" cy="38100"/>
          </a:xfrm>
          <a:prstGeom prst="rect">
            <a:avLst/>
          </a:prstGeom>
          <a:gradFill>
            <a:gsLst>
              <a:gs pos="100000">
                <a:srgbClr val="62B5E5">
                  <a:alpha val="0"/>
                </a:srgbClr>
              </a:gs>
              <a:gs pos="0">
                <a:srgbClr val="005587"/>
              </a:gs>
            </a:gsLst>
            <a:lin ang="0" scaled="0"/>
          </a:gra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
        <p:nvSpPr>
          <p:cNvPr id="27" name="CaseCode">
            <a:extLst>
              <a:ext uri="{FF2B5EF4-FFF2-40B4-BE49-F238E27FC236}">
                <a16:creationId xmlns:a16="http://schemas.microsoft.com/office/drawing/2014/main" id="{2E384B97-4E38-53BC-5BF9-DC22E5435985}"/>
              </a:ext>
            </a:extLst>
          </p:cNvPr>
          <p:cNvSpPr txBox="1"/>
          <p:nvPr userDrawn="1"/>
        </p:nvSpPr>
        <p:spPr>
          <a:xfrm>
            <a:off x="6335185" y="6519674"/>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Presentation title</a:t>
            </a:r>
            <a:br>
              <a:rPr lang="en-US" sz="800" noProof="0">
                <a:solidFill>
                  <a:schemeClr val="tx1"/>
                </a:solidFill>
                <a:latin typeface="Calibri" panose="020F0502020204030204" pitchFamily="34" charset="0"/>
                <a:cs typeface="Calibri" panose="020F0502020204030204" pitchFamily="34" charset="0"/>
              </a:rPr>
            </a:br>
            <a:r>
              <a:rPr lang="en-US" sz="8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28" name="Copyright">
            <a:extLst>
              <a:ext uri="{FF2B5EF4-FFF2-40B4-BE49-F238E27FC236}">
                <a16:creationId xmlns:a16="http://schemas.microsoft.com/office/drawing/2014/main" id="{08656805-C9DB-AD0B-E804-FF2070C415A4}"/>
              </a:ext>
            </a:extLst>
          </p:cNvPr>
          <p:cNvSpPr txBox="1"/>
          <p:nvPr userDrawn="1"/>
        </p:nvSpPr>
        <p:spPr>
          <a:xfrm>
            <a:off x="457201" y="6515064"/>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tx1"/>
                </a:solidFill>
                <a:latin typeface="Calibri" panose="020F0502020204030204" pitchFamily="34" charset="0"/>
                <a:cs typeface="Calibri" panose="020F0502020204030204" pitchFamily="34" charset="0"/>
              </a:rPr>
              <a:t>Member firms and DTTL: Insert appropriate copyright</a:t>
            </a:r>
            <a:br>
              <a:rPr lang="en-US" sz="800" noProof="0">
                <a:solidFill>
                  <a:schemeClr val="tx1"/>
                </a:solidFill>
                <a:latin typeface="Calibri" panose="020F0502020204030204" pitchFamily="34" charset="0"/>
                <a:cs typeface="Calibri" panose="020F0502020204030204" pitchFamily="34" charset="0"/>
              </a:rPr>
            </a:br>
            <a:r>
              <a:rPr lang="en-US" sz="8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29" name="TextBox 28">
            <a:extLst>
              <a:ext uri="{FF2B5EF4-FFF2-40B4-BE49-F238E27FC236}">
                <a16:creationId xmlns:a16="http://schemas.microsoft.com/office/drawing/2014/main" id="{4DEB5AA7-8492-F91D-9FCA-0D5F546AF095}"/>
              </a:ext>
            </a:extLst>
          </p:cNvPr>
          <p:cNvSpPr txBox="1"/>
          <p:nvPr userDrawn="1"/>
        </p:nvSpPr>
        <p:spPr>
          <a:xfrm>
            <a:off x="11426829" y="6519676"/>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tx1"/>
              </a:solidFill>
              <a:latin typeface="Calibri" panose="020F0502020204030204" pitchFamily="34" charset="0"/>
              <a:cs typeface="Calibri" panose="020F0502020204030204" pitchFamily="34" charset="0"/>
            </a:endParaRPr>
          </a:p>
        </p:txBody>
      </p:sp>
      <p:sp>
        <p:nvSpPr>
          <p:cNvPr id="30" name="Title Placeholder 1">
            <a:extLst>
              <a:ext uri="{FF2B5EF4-FFF2-40B4-BE49-F238E27FC236}">
                <a16:creationId xmlns:a16="http://schemas.microsoft.com/office/drawing/2014/main" id="{D7A98FC5-1A93-C768-0D3F-6606A61191E1}"/>
              </a:ext>
            </a:extLst>
          </p:cNvPr>
          <p:cNvSpPr txBox="1">
            <a:spLocks/>
          </p:cNvSpPr>
          <p:nvPr userDrawn="1"/>
        </p:nvSpPr>
        <p:spPr bwMode="gray">
          <a:xfrm>
            <a:off x="463297" y="323660"/>
            <a:ext cx="11271505" cy="698500"/>
          </a:xfrm>
          <a:prstGeom prst="rect">
            <a:avLst/>
          </a:prstGeom>
        </p:spPr>
        <p:txBody>
          <a:bodyPr vert="horz" lIns="0" tIns="0" rIns="0" bIns="0" rtlCol="0" anchor="t" anchorCtr="0">
            <a:noAutofit/>
          </a:bodyPr>
          <a:lstStyle>
            <a:lvl1pPr algn="l" defTabSz="685800" rtl="0" eaLnBrk="1" latinLnBrk="0" hangingPunct="1">
              <a:spcBef>
                <a:spcPct val="0"/>
              </a:spcBef>
              <a:buNone/>
              <a:defRPr sz="3000" b="1" kern="1200">
                <a:solidFill>
                  <a:schemeClr val="tx1"/>
                </a:solidFill>
                <a:latin typeface="+mj-lt"/>
                <a:ea typeface="+mj-ea"/>
                <a:cs typeface="Calibri Light" panose="020F0302020204030204" pitchFamily="34" charset="0"/>
              </a:defRPr>
            </a:lvl1pPr>
          </a:lstStyle>
          <a:p>
            <a:r>
              <a:rPr lang="en-US" sz="3000" b="0">
                <a:solidFill>
                  <a:schemeClr val="tx1"/>
                </a:solidFill>
                <a:latin typeface="Calibri Light" panose="020F0302020204030204" pitchFamily="34" charset="0"/>
                <a:cs typeface="Calibri Light" panose="020F0302020204030204" pitchFamily="34" charset="0"/>
              </a:rPr>
              <a:t>Contents</a:t>
            </a:r>
          </a:p>
        </p:txBody>
      </p:sp>
      <p:sp>
        <p:nvSpPr>
          <p:cNvPr id="31" name="Rectangle 30">
            <a:extLst>
              <a:ext uri="{FF2B5EF4-FFF2-40B4-BE49-F238E27FC236}">
                <a16:creationId xmlns:a16="http://schemas.microsoft.com/office/drawing/2014/main" id="{76DBC385-85DF-1E73-569B-B7A782C04F50}"/>
              </a:ext>
              <a:ext uri="{C183D7F6-B498-43B3-948B-1728B52AA6E4}">
                <adec:decorative xmlns="" xmlns:adec="http://schemas.microsoft.com/office/drawing/2017/decorative" val="1"/>
              </a:ext>
            </a:extLst>
          </p:cNvPr>
          <p:cNvSpPr>
            <a:spLocks/>
          </p:cNvSpPr>
          <p:nvPr userDrawn="1"/>
        </p:nvSpPr>
        <p:spPr bwMode="gray">
          <a:xfrm>
            <a:off x="457199" y="790230"/>
            <a:ext cx="11274552" cy="38100"/>
          </a:xfrm>
          <a:prstGeom prst="rect">
            <a:avLst/>
          </a:prstGeom>
          <a:gradFill>
            <a:gsLst>
              <a:gs pos="100000">
                <a:srgbClr val="62B5E5">
                  <a:alpha val="0"/>
                </a:srgbClr>
              </a:gs>
              <a:gs pos="0">
                <a:srgbClr val="005587"/>
              </a:gs>
            </a:gsLst>
            <a:lin ang="0" scaled="0"/>
          </a:gradFill>
          <a:ln w="19050" algn="ctr">
            <a:noFill/>
            <a:miter lim="800000"/>
            <a:headEnd/>
            <a:tailEnd/>
          </a:ln>
        </p:spPr>
        <p:txBody>
          <a:bodyPr wrap="square" lIns="88900" tIns="88900" rIns="88900" bIns="88900" rtlCol="0" anchor="ctr"/>
          <a:lstStyle/>
          <a:p>
            <a:pPr lvl="0"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8561284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 White Single Line">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5" y="1997249"/>
            <a:ext cx="5785105"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 name="Rectangle: Rounded Corners 1">
            <a:extLst>
              <a:ext uri="{FF2B5EF4-FFF2-40B4-BE49-F238E27FC236}">
                <a16:creationId xmlns:a16="http://schemas.microsoft.com/office/drawing/2014/main" id="{7FFCBC5B-4CE9-2DBE-784C-398DBFC14E02}"/>
              </a:ext>
            </a:extLst>
          </p:cNvPr>
          <p:cNvSpPr/>
          <p:nvPr userDrawn="1"/>
        </p:nvSpPr>
        <p:spPr bwMode="gray">
          <a:xfrm>
            <a:off x="457200" y="2936245"/>
            <a:ext cx="314960" cy="45719"/>
          </a:xfrm>
          <a:prstGeom prst="round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4398993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 Black Single Line">
    <p:spTree>
      <p:nvGrpSpPr>
        <p:cNvPr id="1" name=""/>
        <p:cNvGrpSpPr/>
        <p:nvPr/>
      </p:nvGrpSpPr>
      <p:grpSpPr>
        <a:xfrm>
          <a:off x="0" y="0"/>
          <a:ext cx="0" cy="0"/>
          <a:chOff x="0" y="0"/>
          <a:chExt cx="0" cy="0"/>
        </a:xfrm>
      </p:grpSpPr>
      <p:sp>
        <p:nvSpPr>
          <p:cNvPr id="17" name="CaseCode">
            <a:extLst>
              <a:ext uri="{FF2B5EF4-FFF2-40B4-BE49-F238E27FC236}">
                <a16:creationId xmlns:a16="http://schemas.microsoft.com/office/drawing/2014/main" id="{17035E13-A065-42C3-B0D2-A0D36BD12A06}"/>
              </a:ext>
            </a:extLst>
          </p:cNvPr>
          <p:cNvSpPr txBox="1"/>
          <p:nvPr userDrawn="1"/>
        </p:nvSpPr>
        <p:spPr>
          <a:xfrm>
            <a:off x="6335185" y="6519674"/>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20" name="Copyright">
            <a:extLst>
              <a:ext uri="{FF2B5EF4-FFF2-40B4-BE49-F238E27FC236}">
                <a16:creationId xmlns:a16="http://schemas.microsoft.com/office/drawing/2014/main" id="{AD9C82D3-2FB8-43A3-B223-9C8095878C1D}"/>
              </a:ext>
            </a:extLst>
          </p:cNvPr>
          <p:cNvSpPr txBox="1"/>
          <p:nvPr userDrawn="1"/>
        </p:nvSpPr>
        <p:spPr>
          <a:xfrm>
            <a:off x="457201" y="6515064"/>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21" name="TextBox 20">
            <a:extLst>
              <a:ext uri="{FF2B5EF4-FFF2-40B4-BE49-F238E27FC236}">
                <a16:creationId xmlns:a16="http://schemas.microsoft.com/office/drawing/2014/main" id="{DB031E2F-A529-4C56-8434-034B61AB496F}"/>
              </a:ext>
            </a:extLst>
          </p:cNvPr>
          <p:cNvSpPr txBox="1"/>
          <p:nvPr userDrawn="1"/>
        </p:nvSpPr>
        <p:spPr>
          <a:xfrm>
            <a:off x="11426829" y="6519676"/>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3" name="Title 1">
            <a:extLst>
              <a:ext uri="{FF2B5EF4-FFF2-40B4-BE49-F238E27FC236}">
                <a16:creationId xmlns:a16="http://schemas.microsoft.com/office/drawing/2014/main" id="{1E0B8752-9253-F509-064A-792EC7A37A31}"/>
              </a:ext>
            </a:extLst>
          </p:cNvPr>
          <p:cNvSpPr>
            <a:spLocks noGrp="1"/>
          </p:cNvSpPr>
          <p:nvPr>
            <p:ph type="title"/>
          </p:nvPr>
        </p:nvSpPr>
        <p:spPr bwMode="gray">
          <a:xfrm>
            <a:off x="463295" y="1997249"/>
            <a:ext cx="5785105"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4" name="Rectangle: Rounded Corners 3">
            <a:extLst>
              <a:ext uri="{FF2B5EF4-FFF2-40B4-BE49-F238E27FC236}">
                <a16:creationId xmlns:a16="http://schemas.microsoft.com/office/drawing/2014/main" id="{071D6000-9D66-8FD2-EFA5-AB710B227C55}"/>
              </a:ext>
            </a:extLst>
          </p:cNvPr>
          <p:cNvSpPr/>
          <p:nvPr userDrawn="1"/>
        </p:nvSpPr>
        <p:spPr bwMode="gray">
          <a:xfrm>
            <a:off x="457200" y="2936245"/>
            <a:ext cx="314960" cy="45719"/>
          </a:xfrm>
          <a:prstGeom prst="round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nvGrpSpPr>
          <p:cNvPr id="2" name="Group 1">
            <a:extLst>
              <a:ext uri="{FF2B5EF4-FFF2-40B4-BE49-F238E27FC236}">
                <a16:creationId xmlns:a16="http://schemas.microsoft.com/office/drawing/2014/main" id="{F6C1DA1A-5F1F-73FD-F87C-3A9985C78AB4}"/>
              </a:ext>
            </a:extLst>
          </p:cNvPr>
          <p:cNvGrpSpPr/>
          <p:nvPr userDrawn="1"/>
        </p:nvGrpSpPr>
        <p:grpSpPr>
          <a:xfrm>
            <a:off x="5178466" y="-1"/>
            <a:ext cx="7256369" cy="5021178"/>
            <a:chOff x="5178465" y="-1"/>
            <a:chExt cx="7256369" cy="5021178"/>
          </a:xfrm>
        </p:grpSpPr>
        <p:sp>
          <p:nvSpPr>
            <p:cNvPr id="5" name="Freeform: Shape 4">
              <a:extLst>
                <a:ext uri="{FF2B5EF4-FFF2-40B4-BE49-F238E27FC236}">
                  <a16:creationId xmlns:a16="http://schemas.microsoft.com/office/drawing/2014/main" id="{CB064233-F34E-8916-B648-090CE04D0A4C}"/>
                </a:ext>
              </a:extLst>
            </p:cNvPr>
            <p:cNvSpPr/>
            <p:nvPr userDrawn="1"/>
          </p:nvSpPr>
          <p:spPr bwMode="gray">
            <a:xfrm>
              <a:off x="5178465" y="-1"/>
              <a:ext cx="7256369" cy="5021178"/>
            </a:xfrm>
            <a:custGeom>
              <a:avLst/>
              <a:gdLst>
                <a:gd name="connsiteX0" fmla="*/ 228876 w 7256369"/>
                <a:gd name="connsiteY0" fmla="*/ 0 h 5021178"/>
                <a:gd name="connsiteX1" fmla="*/ 1691591 w 7256369"/>
                <a:gd name="connsiteY1" fmla="*/ 0 h 5021178"/>
                <a:gd name="connsiteX2" fmla="*/ 1615399 w 7256369"/>
                <a:gd name="connsiteY2" fmla="*/ 125416 h 5021178"/>
                <a:gd name="connsiteX3" fmla="*/ 1323413 w 7256369"/>
                <a:gd name="connsiteY3" fmla="*/ 1278554 h 5021178"/>
                <a:gd name="connsiteX4" fmla="*/ 3742622 w 7256369"/>
                <a:gd name="connsiteY4" fmla="*/ 3697762 h 5021178"/>
                <a:gd name="connsiteX5" fmla="*/ 6161831 w 7256369"/>
                <a:gd name="connsiteY5" fmla="*/ 1278554 h 5021178"/>
                <a:gd name="connsiteX6" fmla="*/ 5869846 w 7256369"/>
                <a:gd name="connsiteY6" fmla="*/ 125416 h 5021178"/>
                <a:gd name="connsiteX7" fmla="*/ 5793654 w 7256369"/>
                <a:gd name="connsiteY7" fmla="*/ 0 h 5021178"/>
                <a:gd name="connsiteX8" fmla="*/ 7256369 w 7256369"/>
                <a:gd name="connsiteY8" fmla="*/ 0 h 5021178"/>
                <a:gd name="connsiteX9" fmla="*/ 7256369 w 7256369"/>
                <a:gd name="connsiteY9" fmla="*/ 1 h 5021178"/>
                <a:gd name="connsiteX10" fmla="*/ 7013534 w 7256369"/>
                <a:gd name="connsiteY10" fmla="*/ 1 h 5021178"/>
                <a:gd name="connsiteX11" fmla="*/ 7013534 w 7256369"/>
                <a:gd name="connsiteY11" fmla="*/ 3095427 h 5021178"/>
                <a:gd name="connsiteX12" fmla="*/ 6846064 w 7256369"/>
                <a:gd name="connsiteY12" fmla="*/ 3371091 h 5021178"/>
                <a:gd name="connsiteX13" fmla="*/ 3742622 w 7256369"/>
                <a:gd name="connsiteY13" fmla="*/ 5021178 h 5021178"/>
                <a:gd name="connsiteX14" fmla="*/ 0 w 7256369"/>
                <a:gd name="connsiteY14" fmla="*/ 1278555 h 5021178"/>
                <a:gd name="connsiteX15" fmla="*/ 168260 w 7256369"/>
                <a:gd name="connsiteY15" fmla="*/ 165613 h 502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56369" h="5021178">
                  <a:moveTo>
                    <a:pt x="228876" y="0"/>
                  </a:moveTo>
                  <a:lnTo>
                    <a:pt x="1691591" y="0"/>
                  </a:lnTo>
                  <a:lnTo>
                    <a:pt x="1615399" y="125416"/>
                  </a:lnTo>
                  <a:cubicBezTo>
                    <a:pt x="1429187" y="468201"/>
                    <a:pt x="1323413" y="861025"/>
                    <a:pt x="1323413" y="1278554"/>
                  </a:cubicBezTo>
                  <a:cubicBezTo>
                    <a:pt x="1323413" y="2614646"/>
                    <a:pt x="2406530" y="3697762"/>
                    <a:pt x="3742622" y="3697762"/>
                  </a:cubicBezTo>
                  <a:cubicBezTo>
                    <a:pt x="5078714" y="3697762"/>
                    <a:pt x="6161831" y="2614646"/>
                    <a:pt x="6161831" y="1278554"/>
                  </a:cubicBezTo>
                  <a:cubicBezTo>
                    <a:pt x="6161831" y="861025"/>
                    <a:pt x="6056058" y="468201"/>
                    <a:pt x="5869846" y="125416"/>
                  </a:cubicBezTo>
                  <a:lnTo>
                    <a:pt x="5793654" y="0"/>
                  </a:lnTo>
                  <a:lnTo>
                    <a:pt x="7256369" y="0"/>
                  </a:lnTo>
                  <a:lnTo>
                    <a:pt x="7256369" y="1"/>
                  </a:lnTo>
                  <a:lnTo>
                    <a:pt x="7013534" y="1"/>
                  </a:lnTo>
                  <a:lnTo>
                    <a:pt x="7013534" y="3095427"/>
                  </a:lnTo>
                  <a:lnTo>
                    <a:pt x="6846064" y="3371091"/>
                  </a:lnTo>
                  <a:cubicBezTo>
                    <a:pt x="6173488" y="4366636"/>
                    <a:pt x="5034493" y="5021178"/>
                    <a:pt x="3742622" y="5021178"/>
                  </a:cubicBezTo>
                  <a:cubicBezTo>
                    <a:pt x="1675628" y="5021178"/>
                    <a:pt x="0" y="3345549"/>
                    <a:pt x="0" y="1278555"/>
                  </a:cubicBezTo>
                  <a:cubicBezTo>
                    <a:pt x="0" y="890994"/>
                    <a:pt x="58908" y="517191"/>
                    <a:pt x="168260" y="165613"/>
                  </a:cubicBezTo>
                  <a:close/>
                </a:path>
              </a:pathLst>
            </a:custGeom>
            <a:gradFill>
              <a:gsLst>
                <a:gs pos="0">
                  <a:srgbClr val="62B5E5">
                    <a:alpha val="49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US" sz="1600" b="1">
                <a:solidFill>
                  <a:schemeClr val="bg1"/>
                </a:solidFill>
              </a:endParaRPr>
            </a:p>
          </p:txBody>
        </p:sp>
        <p:sp>
          <p:nvSpPr>
            <p:cNvPr id="6" name="Freeform: Shape 5">
              <a:extLst>
                <a:ext uri="{FF2B5EF4-FFF2-40B4-BE49-F238E27FC236}">
                  <a16:creationId xmlns:a16="http://schemas.microsoft.com/office/drawing/2014/main" id="{0FA33E01-0277-2A35-DDBF-2F2CF7937892}"/>
                </a:ext>
              </a:extLst>
            </p:cNvPr>
            <p:cNvSpPr/>
            <p:nvPr userDrawn="1"/>
          </p:nvSpPr>
          <p:spPr bwMode="gray">
            <a:xfrm>
              <a:off x="9125543" y="1223901"/>
              <a:ext cx="3066457" cy="3697466"/>
            </a:xfrm>
            <a:custGeom>
              <a:avLst/>
              <a:gdLst>
                <a:gd name="connsiteX0" fmla="*/ 1848733 w 3066457"/>
                <a:gd name="connsiteY0" fmla="*/ 973565 h 3697466"/>
                <a:gd name="connsiteX1" fmla="*/ 973564 w 3066457"/>
                <a:gd name="connsiteY1" fmla="*/ 1848733 h 3697466"/>
                <a:gd name="connsiteX2" fmla="*/ 1848733 w 3066457"/>
                <a:gd name="connsiteY2" fmla="*/ 2723902 h 3697466"/>
                <a:gd name="connsiteX3" fmla="*/ 2723902 w 3066457"/>
                <a:gd name="connsiteY3" fmla="*/ 1848733 h 3697466"/>
                <a:gd name="connsiteX4" fmla="*/ 1848733 w 3066457"/>
                <a:gd name="connsiteY4" fmla="*/ 973565 h 3697466"/>
                <a:gd name="connsiteX5" fmla="*/ 1848733 w 3066457"/>
                <a:gd name="connsiteY5" fmla="*/ 0 h 3697466"/>
                <a:gd name="connsiteX6" fmla="*/ 3024699 w 3066457"/>
                <a:gd name="connsiteY6" fmla="*/ 422161 h 3697466"/>
                <a:gd name="connsiteX7" fmla="*/ 3066457 w 3066457"/>
                <a:gd name="connsiteY7" fmla="*/ 460113 h 3697466"/>
                <a:gd name="connsiteX8" fmla="*/ 3066457 w 3066457"/>
                <a:gd name="connsiteY8" fmla="*/ 3237353 h 3697466"/>
                <a:gd name="connsiteX9" fmla="*/ 3024699 w 3066457"/>
                <a:gd name="connsiteY9" fmla="*/ 3275305 h 3697466"/>
                <a:gd name="connsiteX10" fmla="*/ 1848733 w 3066457"/>
                <a:gd name="connsiteY10" fmla="*/ 3697466 h 3697466"/>
                <a:gd name="connsiteX11" fmla="*/ 0 w 3066457"/>
                <a:gd name="connsiteY11" fmla="*/ 1848733 h 3697466"/>
                <a:gd name="connsiteX12" fmla="*/ 1848733 w 3066457"/>
                <a:gd name="connsiteY12" fmla="*/ 0 h 369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66457" h="3697466">
                  <a:moveTo>
                    <a:pt x="1848733" y="973565"/>
                  </a:moveTo>
                  <a:cubicBezTo>
                    <a:pt x="1365390" y="973565"/>
                    <a:pt x="973564" y="1365391"/>
                    <a:pt x="973564" y="1848733"/>
                  </a:cubicBezTo>
                  <a:cubicBezTo>
                    <a:pt x="973564" y="2332076"/>
                    <a:pt x="1365390" y="2723902"/>
                    <a:pt x="1848733" y="2723902"/>
                  </a:cubicBezTo>
                  <a:cubicBezTo>
                    <a:pt x="2332076" y="2723902"/>
                    <a:pt x="2723902" y="2332076"/>
                    <a:pt x="2723902" y="1848733"/>
                  </a:cubicBezTo>
                  <a:cubicBezTo>
                    <a:pt x="2723902" y="1365391"/>
                    <a:pt x="2332076" y="973565"/>
                    <a:pt x="1848733" y="973565"/>
                  </a:cubicBezTo>
                  <a:close/>
                  <a:moveTo>
                    <a:pt x="1848733" y="0"/>
                  </a:moveTo>
                  <a:cubicBezTo>
                    <a:pt x="2295432" y="0"/>
                    <a:pt x="2705129" y="158428"/>
                    <a:pt x="3024699" y="422161"/>
                  </a:cubicBezTo>
                  <a:lnTo>
                    <a:pt x="3066457" y="460113"/>
                  </a:lnTo>
                  <a:lnTo>
                    <a:pt x="3066457" y="3237353"/>
                  </a:lnTo>
                  <a:lnTo>
                    <a:pt x="3024699" y="3275305"/>
                  </a:lnTo>
                  <a:cubicBezTo>
                    <a:pt x="2705129" y="3539038"/>
                    <a:pt x="2295432" y="3697466"/>
                    <a:pt x="1848733" y="3697466"/>
                  </a:cubicBezTo>
                  <a:cubicBezTo>
                    <a:pt x="827707" y="3697466"/>
                    <a:pt x="0" y="2869760"/>
                    <a:pt x="0" y="1848733"/>
                  </a:cubicBezTo>
                  <a:cubicBezTo>
                    <a:pt x="0" y="827707"/>
                    <a:pt x="827707" y="0"/>
                    <a:pt x="1848733" y="0"/>
                  </a:cubicBezTo>
                  <a:close/>
                </a:path>
              </a:pathLst>
            </a:custGeom>
            <a:gradFill>
              <a:gsLst>
                <a:gs pos="0">
                  <a:srgbClr val="62B5E5">
                    <a:alpha val="49000"/>
                  </a:srgbClr>
                </a:gs>
                <a:gs pos="100000">
                  <a:srgbClr val="005587">
                    <a:alpha val="5000"/>
                  </a:srgbClr>
                </a:gs>
              </a:gsLst>
              <a:lin ang="5400000" scaled="1"/>
            </a:gradFill>
            <a:ln w="19050" algn="ctr">
              <a:noFill/>
              <a:miter lim="800000"/>
              <a:headEnd/>
              <a:tailEnd/>
            </a:ln>
          </p:spPr>
          <p:txBody>
            <a:bodyPr wrap="square" lIns="88900" tIns="88900" rIns="88900" bIns="88900" rtlCol="0" anchor="ctr">
              <a:noAutofit/>
            </a:bodyPr>
            <a:lstStyle/>
            <a:p>
              <a:pPr algn="ctr">
                <a:lnSpc>
                  <a:spcPct val="106000"/>
                </a:lnSpc>
              </a:pPr>
              <a:endParaRPr lang="en-US" sz="1600" b="1">
                <a:solidFill>
                  <a:schemeClr val="bg1"/>
                </a:solidFill>
              </a:endParaRPr>
            </a:p>
          </p:txBody>
        </p:sp>
      </p:grpSp>
    </p:spTree>
    <p:extLst>
      <p:ext uri="{BB962C8B-B14F-4D97-AF65-F5344CB8AC3E}">
        <p14:creationId xmlns:p14="http://schemas.microsoft.com/office/powerpoint/2010/main" val="124683627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3"/>
            <a:ext cx="11277600" cy="276999"/>
          </a:xfrm>
          <a:prstGeom prst="rect">
            <a:avLst/>
          </a:prstGeom>
        </p:spPr>
        <p:txBody>
          <a:bodyPr lIns="0" tIns="0" rIns="0" bIns="0">
            <a:sp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latin typeface="+mj-lt"/>
              </a:defRPr>
            </a:lvl1pPr>
          </a:lstStyle>
          <a:p>
            <a:r>
              <a:rPr lang="en-US"/>
              <a:t>Click to add title</a:t>
            </a:r>
          </a:p>
        </p:txBody>
      </p:sp>
    </p:spTree>
    <p:extLst>
      <p:ext uri="{BB962C8B-B14F-4D97-AF65-F5344CB8AC3E}">
        <p14:creationId xmlns:p14="http://schemas.microsoft.com/office/powerpoint/2010/main" val="576064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subtitle + Section nam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3"/>
            <a:ext cx="11277600" cy="276999"/>
          </a:xfrm>
          <a:prstGeom prst="rect">
            <a:avLst/>
          </a:prstGeom>
        </p:spPr>
        <p:txBody>
          <a:bodyPr lIns="0" tIns="0" rIns="0" bIns="0">
            <a:sp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latin typeface="+mj-lt"/>
              </a:defRPr>
            </a:lvl1pPr>
          </a:lstStyle>
          <a:p>
            <a:r>
              <a:rPr lang="en-US"/>
              <a:t>Click to add title</a:t>
            </a:r>
          </a:p>
        </p:txBody>
      </p:sp>
      <p:sp>
        <p:nvSpPr>
          <p:cNvPr id="3" name="Text Placeholder 2">
            <a:extLst>
              <a:ext uri="{FF2B5EF4-FFF2-40B4-BE49-F238E27FC236}">
                <a16:creationId xmlns:a16="http://schemas.microsoft.com/office/drawing/2014/main" id="{B0FF3174-D0BC-489D-9884-4F9A4C62ECE3}"/>
              </a:ext>
            </a:extLst>
          </p:cNvPr>
          <p:cNvSpPr>
            <a:spLocks noGrp="1"/>
          </p:cNvSpPr>
          <p:nvPr>
            <p:ph type="body" sz="quarter" idx="23" hasCustomPrompt="1"/>
          </p:nvPr>
        </p:nvSpPr>
        <p:spPr>
          <a:xfrm>
            <a:off x="463296" y="164393"/>
            <a:ext cx="1513235" cy="153888"/>
          </a:xfrm>
        </p:spPr>
        <p:txBody>
          <a:bodyPr vert="horz" wrap="none" lIns="0" tIns="0" rIns="0" bIns="0" rtlCol="0" anchor="ctr">
            <a:spAutoFit/>
          </a:bodyPr>
          <a:lstStyle>
            <a:lvl1pPr>
              <a:defRPr kumimoji="0" lang="en-US" sz="1000" i="0" u="none" strike="noStrike" cap="all" spc="0" normalizeH="0" baseline="0" smtClean="0">
                <a:ln>
                  <a:noFill/>
                </a:ln>
                <a:solidFill>
                  <a:srgbClr val="86BC25"/>
                </a:solidFill>
                <a:effectLst/>
                <a:uLnTx/>
                <a:uFillTx/>
                <a:latin typeface="Calibri"/>
              </a:defRPr>
            </a:lvl1pPr>
            <a:lvl2pPr>
              <a:defRPr lang="en-US" sz="1000" cap="all" smtClean="0">
                <a:solidFill>
                  <a:srgbClr val="86BC25"/>
                </a:solidFill>
              </a:defRPr>
            </a:lvl2pPr>
            <a:lvl3pPr>
              <a:defRPr lang="en-US" sz="1000" cap="all" smtClean="0">
                <a:solidFill>
                  <a:srgbClr val="86BC25"/>
                </a:solidFill>
                <a:latin typeface="+mj-lt"/>
              </a:defRPr>
            </a:lvl3pPr>
            <a:lvl4pPr>
              <a:defRPr lang="en-US" sz="1000" cap="all" smtClean="0">
                <a:solidFill>
                  <a:srgbClr val="86BC25"/>
                </a:solidFill>
                <a:latin typeface="+mj-lt"/>
              </a:defRPr>
            </a:lvl4pPr>
            <a:lvl5pPr>
              <a:defRPr lang="en-GB" sz="1000" cap="all">
                <a:solidFill>
                  <a:srgbClr val="86BC25"/>
                </a:solidFill>
                <a:latin typeface="+mj-lt"/>
              </a:defRPr>
            </a:lvl5pPr>
          </a:lstStyle>
          <a:p>
            <a:pPr marR="0" lvl="0" fontAlgn="auto">
              <a:lnSpc>
                <a:spcPct val="100000"/>
              </a:lnSpc>
              <a:buClrTx/>
              <a:tabLst/>
            </a:pPr>
            <a:r>
              <a:rPr lang="en-US"/>
              <a:t>Click to add section title</a:t>
            </a:r>
            <a:endParaRPr lang="en-GB"/>
          </a:p>
        </p:txBody>
      </p:sp>
    </p:spTree>
    <p:extLst>
      <p:ext uri="{BB962C8B-B14F-4D97-AF65-F5344CB8AC3E}">
        <p14:creationId xmlns:p14="http://schemas.microsoft.com/office/powerpoint/2010/main" val="2717603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2FE97-36EB-BDE4-DF6D-459AB0A2B9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5AF4D3-CE0E-2788-B360-C799FADA59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4EB831-AF80-830A-00DC-D479FD8910D5}"/>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5" name="Footer Placeholder 4">
            <a:extLst>
              <a:ext uri="{FF2B5EF4-FFF2-40B4-BE49-F238E27FC236}">
                <a16:creationId xmlns:a16="http://schemas.microsoft.com/office/drawing/2014/main" id="{9CC0CF90-0E84-2F3A-D3D9-E2467A1BFC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869A46-35B6-B150-637F-9E0118D4C3D4}"/>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13812078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subtitle on Black">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3"/>
            <a:ext cx="11277600" cy="276999"/>
          </a:xfrm>
          <a:prstGeom prst="rect">
            <a:avLst/>
          </a:prstGeom>
        </p:spPr>
        <p:txBody>
          <a:bodyPr lIns="0" tIns="0" rIns="0" bIns="0">
            <a:spAutoFit/>
          </a:bodyPr>
          <a:lstStyle>
            <a:lvl1pPr marL="0" indent="0">
              <a:buNone/>
              <a:defRPr sz="1800" b="0">
                <a:solidFill>
                  <a:schemeClr val="bg1">
                    <a:lumMod val="85000"/>
                  </a:schemeClr>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solidFill>
                  <a:schemeClr val="bg1"/>
                </a:solidFill>
                <a:latin typeface="+mj-lt"/>
              </a:defRPr>
            </a:lvl1pPr>
          </a:lstStyle>
          <a:p>
            <a:r>
              <a:rPr lang="en-US"/>
              <a:t>Click to add title</a:t>
            </a:r>
          </a:p>
        </p:txBody>
      </p:sp>
      <p:sp>
        <p:nvSpPr>
          <p:cNvPr id="4" name="CaseCode">
            <a:extLst>
              <a:ext uri="{FF2B5EF4-FFF2-40B4-BE49-F238E27FC236}">
                <a16:creationId xmlns:a16="http://schemas.microsoft.com/office/drawing/2014/main" id="{E83A6FEB-2F3F-4F93-A6AF-1F1E78011429}"/>
              </a:ext>
            </a:extLst>
          </p:cNvPr>
          <p:cNvSpPr txBox="1"/>
          <p:nvPr userDrawn="1"/>
        </p:nvSpPr>
        <p:spPr>
          <a:xfrm>
            <a:off x="6335185" y="6519674"/>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9C04AD8C-94B3-4A72-9941-7B0582EC2F5F}"/>
              </a:ext>
            </a:extLst>
          </p:cNvPr>
          <p:cNvSpPr txBox="1"/>
          <p:nvPr userDrawn="1"/>
        </p:nvSpPr>
        <p:spPr>
          <a:xfrm>
            <a:off x="457201" y="6515064"/>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21BE84BA-1B03-4637-AA4B-3BE8216AB434}"/>
              </a:ext>
            </a:extLst>
          </p:cNvPr>
          <p:cNvSpPr txBox="1"/>
          <p:nvPr userDrawn="1"/>
        </p:nvSpPr>
        <p:spPr>
          <a:xfrm>
            <a:off x="11426829" y="6519676"/>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036747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latin typeface="+mj-lt"/>
              </a:defRPr>
            </a:lvl1pPr>
          </a:lstStyle>
          <a:p>
            <a:r>
              <a:rPr lang="en-US"/>
              <a:t>Click to add title</a:t>
            </a:r>
          </a:p>
        </p:txBody>
      </p:sp>
    </p:spTree>
    <p:extLst>
      <p:ext uri="{BB962C8B-B14F-4D97-AF65-F5344CB8AC3E}">
        <p14:creationId xmlns:p14="http://schemas.microsoft.com/office/powerpoint/2010/main" val="4777367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p:nvPr>
        </p:nvSpPr>
        <p:spPr>
          <a:xfrm>
            <a:off x="463298" y="1250231"/>
            <a:ext cx="5480305" cy="609345"/>
          </a:xfrm>
          <a:prstGeom prst="rect">
            <a:avLst/>
          </a:prstGeom>
        </p:spPr>
        <p:txBody>
          <a:bodyPr vert="horz" wrap="square" lIns="0" tIns="0" rIns="0" bIns="0" rtlCol="0" anchor="t" anchorCtr="0">
            <a:spAutoFit/>
          </a:bodyPr>
          <a:lstStyle>
            <a:lvl1pPr marL="0" indent="0" algn="l" defTabSz="685736" rtl="0" eaLnBrk="1" latinLnBrk="0" hangingPunct="1">
              <a:lnSpc>
                <a:spcPct val="90000"/>
              </a:lnSpc>
              <a:spcBef>
                <a:spcPts val="0"/>
              </a:spcBef>
              <a:spcAft>
                <a:spcPts val="750"/>
              </a:spcAft>
              <a:buSzPct val="100000"/>
              <a:buFontTx/>
              <a:buNone/>
              <a:defRPr lang="en-US" sz="4400" b="0" kern="1200" dirty="0">
                <a:solidFill>
                  <a:schemeClr val="tx1"/>
                </a:solidFill>
                <a:uFill>
                  <a:solidFill>
                    <a:schemeClr val="bg1">
                      <a:lumMod val="85000"/>
                    </a:schemeClr>
                  </a:solidFill>
                </a:uFill>
                <a:latin typeface="Calibri Light" panose="020F0302020204030204" pitchFamily="34" charset="0"/>
                <a:ea typeface="+mn-ea"/>
                <a:cs typeface="Calibri Light" panose="020F0302020204030204" pitchFamily="34" charset="0"/>
              </a:defRPr>
            </a:lvl1pPr>
          </a:lstStyle>
          <a:p>
            <a:endParaRPr lang="en-US"/>
          </a:p>
        </p:txBody>
      </p:sp>
    </p:spTree>
    <p:extLst>
      <p:ext uri="{BB962C8B-B14F-4D97-AF65-F5344CB8AC3E}">
        <p14:creationId xmlns:p14="http://schemas.microsoft.com/office/powerpoint/2010/main" val="32858048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on Black">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E5EE8826-D624-445A-8C9A-301002022D71}"/>
              </a:ext>
            </a:extLst>
          </p:cNvPr>
          <p:cNvSpPr txBox="1"/>
          <p:nvPr userDrawn="1"/>
        </p:nvSpPr>
        <p:spPr>
          <a:xfrm>
            <a:off x="6335185" y="6519674"/>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4" name="Copyright">
            <a:extLst>
              <a:ext uri="{FF2B5EF4-FFF2-40B4-BE49-F238E27FC236}">
                <a16:creationId xmlns:a16="http://schemas.microsoft.com/office/drawing/2014/main" id="{65C5C144-A357-449B-B06E-03CB520366A9}"/>
              </a:ext>
            </a:extLst>
          </p:cNvPr>
          <p:cNvSpPr txBox="1"/>
          <p:nvPr userDrawn="1"/>
        </p:nvSpPr>
        <p:spPr>
          <a:xfrm>
            <a:off x="457201" y="6515064"/>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F77E5559-13DC-4B88-B5A9-65A696C25F11}"/>
              </a:ext>
            </a:extLst>
          </p:cNvPr>
          <p:cNvSpPr txBox="1"/>
          <p:nvPr userDrawn="1"/>
        </p:nvSpPr>
        <p:spPr>
          <a:xfrm>
            <a:off x="11426829" y="6519676"/>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01590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356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mplate Sections Divider">
    <p:spTree>
      <p:nvGrpSpPr>
        <p:cNvPr id="1" name=""/>
        <p:cNvGrpSpPr/>
        <p:nvPr/>
      </p:nvGrpSpPr>
      <p:grpSpPr>
        <a:xfrm>
          <a:off x="0" y="0"/>
          <a:ext cx="0" cy="0"/>
          <a:chOff x="0" y="0"/>
          <a:chExt cx="0" cy="0"/>
        </a:xfrm>
      </p:grpSpPr>
      <p:sp>
        <p:nvSpPr>
          <p:cNvPr id="119" name="Text Placeholder 18">
            <a:hlinkClick r:id="" action="ppaction://noaction"/>
            <a:extLst>
              <a:ext uri="{FF2B5EF4-FFF2-40B4-BE49-F238E27FC236}">
                <a16:creationId xmlns:a16="http://schemas.microsoft.com/office/drawing/2014/main" id="{7D775CBB-2864-4EC1-9936-FCB666C3FE70}"/>
              </a:ext>
            </a:extLst>
          </p:cNvPr>
          <p:cNvSpPr txBox="1">
            <a:spLocks/>
          </p:cNvSpPr>
          <p:nvPr/>
        </p:nvSpPr>
        <p:spPr>
          <a:xfrm>
            <a:off x="468631" y="3589244"/>
            <a:ext cx="3544571"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Cover</a:t>
            </a:r>
          </a:p>
        </p:txBody>
      </p:sp>
      <p:sp>
        <p:nvSpPr>
          <p:cNvPr id="122" name="Text Placeholder 18">
            <a:hlinkClick r:id="" action="ppaction://noaction"/>
            <a:extLst>
              <a:ext uri="{FF2B5EF4-FFF2-40B4-BE49-F238E27FC236}">
                <a16:creationId xmlns:a16="http://schemas.microsoft.com/office/drawing/2014/main" id="{2F57F883-68A4-4F66-85E9-8A79B80F27F6}"/>
              </a:ext>
            </a:extLst>
          </p:cNvPr>
          <p:cNvSpPr txBox="1">
            <a:spLocks/>
          </p:cNvSpPr>
          <p:nvPr/>
        </p:nvSpPr>
        <p:spPr>
          <a:xfrm>
            <a:off x="468631" y="3970257"/>
            <a:ext cx="3544571"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Cover letter</a:t>
            </a:r>
          </a:p>
        </p:txBody>
      </p:sp>
      <p:sp>
        <p:nvSpPr>
          <p:cNvPr id="125" name="Text Placeholder 18">
            <a:hlinkClick r:id="" action="ppaction://noaction"/>
            <a:extLst>
              <a:ext uri="{FF2B5EF4-FFF2-40B4-BE49-F238E27FC236}">
                <a16:creationId xmlns:a16="http://schemas.microsoft.com/office/drawing/2014/main" id="{CD120929-8706-4993-8CE1-C9E030F2148C}"/>
              </a:ext>
            </a:extLst>
          </p:cNvPr>
          <p:cNvSpPr txBox="1">
            <a:spLocks/>
          </p:cNvSpPr>
          <p:nvPr/>
        </p:nvSpPr>
        <p:spPr>
          <a:xfrm>
            <a:off x="468631" y="4732280"/>
            <a:ext cx="3544571"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pl-PL" sz="1400">
                <a:solidFill>
                  <a:schemeClr val="bg1"/>
                </a:solidFill>
                <a:latin typeface="Calibri Light" panose="020F0302020204030204" pitchFamily="34" charset="0"/>
              </a:rPr>
              <a:t>Agenda</a:t>
            </a:r>
            <a:endParaRPr lang="en-GB" sz="1400">
              <a:solidFill>
                <a:schemeClr val="bg1"/>
              </a:solidFill>
              <a:latin typeface="Calibri Light" panose="020F0302020204030204" pitchFamily="34" charset="0"/>
            </a:endParaRPr>
          </a:p>
        </p:txBody>
      </p:sp>
      <p:sp>
        <p:nvSpPr>
          <p:cNvPr id="128" name="Text Placeholder 18">
            <a:hlinkClick r:id="" action="ppaction://noaction"/>
            <a:extLst>
              <a:ext uri="{FF2B5EF4-FFF2-40B4-BE49-F238E27FC236}">
                <a16:creationId xmlns:a16="http://schemas.microsoft.com/office/drawing/2014/main" id="{3FC8A34B-6914-46C2-91D1-F75C7EDA60A7}"/>
              </a:ext>
            </a:extLst>
          </p:cNvPr>
          <p:cNvSpPr txBox="1">
            <a:spLocks/>
          </p:cNvSpPr>
          <p:nvPr userDrawn="1"/>
        </p:nvSpPr>
        <p:spPr>
          <a:xfrm>
            <a:off x="468631" y="4351269"/>
            <a:ext cx="3544571"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Table of contents</a:t>
            </a:r>
          </a:p>
        </p:txBody>
      </p:sp>
      <p:sp>
        <p:nvSpPr>
          <p:cNvPr id="131" name="Text Placeholder 18">
            <a:hlinkClick r:id="" action="ppaction://noaction"/>
            <a:extLst>
              <a:ext uri="{FF2B5EF4-FFF2-40B4-BE49-F238E27FC236}">
                <a16:creationId xmlns:a16="http://schemas.microsoft.com/office/drawing/2014/main" id="{F2A3B308-4EF7-4392-B606-EDB692C960A5}"/>
              </a:ext>
            </a:extLst>
          </p:cNvPr>
          <p:cNvSpPr txBox="1">
            <a:spLocks/>
          </p:cNvSpPr>
          <p:nvPr/>
        </p:nvSpPr>
        <p:spPr>
          <a:xfrm>
            <a:off x="4318001" y="3589244"/>
            <a:ext cx="3556000"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Divider slides</a:t>
            </a:r>
          </a:p>
        </p:txBody>
      </p:sp>
      <p:sp>
        <p:nvSpPr>
          <p:cNvPr id="134" name="Text Placeholder 18">
            <a:hlinkClick r:id="" action="ppaction://noaction"/>
            <a:extLst>
              <a:ext uri="{FF2B5EF4-FFF2-40B4-BE49-F238E27FC236}">
                <a16:creationId xmlns:a16="http://schemas.microsoft.com/office/drawing/2014/main" id="{99FC19BA-C39E-4094-AAE8-7B91993D62EC}"/>
              </a:ext>
            </a:extLst>
          </p:cNvPr>
          <p:cNvSpPr txBox="1">
            <a:spLocks/>
          </p:cNvSpPr>
          <p:nvPr/>
        </p:nvSpPr>
        <p:spPr>
          <a:xfrm>
            <a:off x="4318001" y="3970257"/>
            <a:ext cx="3556000"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Team presentation/CVs</a:t>
            </a:r>
          </a:p>
        </p:txBody>
      </p:sp>
      <p:sp>
        <p:nvSpPr>
          <p:cNvPr id="140" name="Text Placeholder 18">
            <a:hlinkClick r:id="" action="ppaction://noaction"/>
            <a:extLst>
              <a:ext uri="{FF2B5EF4-FFF2-40B4-BE49-F238E27FC236}">
                <a16:creationId xmlns:a16="http://schemas.microsoft.com/office/drawing/2014/main" id="{0F5BADDD-5470-4789-8C7C-C13650B0C83D}"/>
              </a:ext>
            </a:extLst>
          </p:cNvPr>
          <p:cNvSpPr txBox="1">
            <a:spLocks/>
          </p:cNvSpPr>
          <p:nvPr/>
        </p:nvSpPr>
        <p:spPr>
          <a:xfrm>
            <a:off x="4318001" y="4371883"/>
            <a:ext cx="3556000" cy="533479"/>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Infographics</a:t>
            </a:r>
          </a:p>
          <a:p>
            <a:endParaRPr lang="en-GB" sz="1400">
              <a:solidFill>
                <a:schemeClr val="bg1"/>
              </a:solidFill>
              <a:latin typeface="Calibri Light" panose="020F0302020204030204" pitchFamily="34" charset="0"/>
            </a:endParaRPr>
          </a:p>
        </p:txBody>
      </p:sp>
      <p:sp>
        <p:nvSpPr>
          <p:cNvPr id="149" name="Text Placeholder 18">
            <a:hlinkClick r:id="" action="ppaction://noaction"/>
            <a:extLst>
              <a:ext uri="{FF2B5EF4-FFF2-40B4-BE49-F238E27FC236}">
                <a16:creationId xmlns:a16="http://schemas.microsoft.com/office/drawing/2014/main" id="{4E05D688-04E4-472B-9F08-E37A5726F90E}"/>
              </a:ext>
            </a:extLst>
          </p:cNvPr>
          <p:cNvSpPr txBox="1">
            <a:spLocks/>
          </p:cNvSpPr>
          <p:nvPr/>
        </p:nvSpPr>
        <p:spPr>
          <a:xfrm>
            <a:off x="4323715" y="4732280"/>
            <a:ext cx="3550287"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Timelines</a:t>
            </a:r>
          </a:p>
        </p:txBody>
      </p:sp>
      <p:sp>
        <p:nvSpPr>
          <p:cNvPr id="156" name="Text Placeholder 18">
            <a:hlinkClick r:id="" action="ppaction://noaction"/>
            <a:extLst>
              <a:ext uri="{FF2B5EF4-FFF2-40B4-BE49-F238E27FC236}">
                <a16:creationId xmlns:a16="http://schemas.microsoft.com/office/drawing/2014/main" id="{E2C705A6-E28F-4DE4-BF11-AE5BADDDD4C2}"/>
              </a:ext>
            </a:extLst>
          </p:cNvPr>
          <p:cNvSpPr txBox="1">
            <a:spLocks/>
          </p:cNvSpPr>
          <p:nvPr/>
        </p:nvSpPr>
        <p:spPr>
          <a:xfrm>
            <a:off x="4323715" y="5133906"/>
            <a:ext cx="3550287"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Tables</a:t>
            </a:r>
          </a:p>
        </p:txBody>
      </p:sp>
      <p:sp>
        <p:nvSpPr>
          <p:cNvPr id="162" name="Text Placeholder 18">
            <a:hlinkClick r:id="" action="ppaction://noaction"/>
            <a:extLst>
              <a:ext uri="{FF2B5EF4-FFF2-40B4-BE49-F238E27FC236}">
                <a16:creationId xmlns:a16="http://schemas.microsoft.com/office/drawing/2014/main" id="{35CC219B-3AD5-4956-A063-7387182830CE}"/>
              </a:ext>
            </a:extLst>
          </p:cNvPr>
          <p:cNvSpPr txBox="1">
            <a:spLocks/>
          </p:cNvSpPr>
          <p:nvPr/>
        </p:nvSpPr>
        <p:spPr>
          <a:xfrm>
            <a:off x="8178802" y="3589244"/>
            <a:ext cx="3544570"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Closing slide</a:t>
            </a:r>
          </a:p>
        </p:txBody>
      </p:sp>
      <p:sp>
        <p:nvSpPr>
          <p:cNvPr id="8" name="Text Placeholder 18">
            <a:hlinkClick r:id="" action="ppaction://noaction"/>
            <a:extLst>
              <a:ext uri="{FF2B5EF4-FFF2-40B4-BE49-F238E27FC236}">
                <a16:creationId xmlns:a16="http://schemas.microsoft.com/office/drawing/2014/main" id="{FDABA63F-B8A2-29A2-72C3-8CF9651463F3}"/>
              </a:ext>
            </a:extLst>
          </p:cNvPr>
          <p:cNvSpPr txBox="1">
            <a:spLocks/>
          </p:cNvSpPr>
          <p:nvPr userDrawn="1"/>
        </p:nvSpPr>
        <p:spPr>
          <a:xfrm>
            <a:off x="468631" y="5133906"/>
            <a:ext cx="3544571" cy="215444"/>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Executive summary</a:t>
            </a:r>
          </a:p>
        </p:txBody>
      </p:sp>
      <p:sp>
        <p:nvSpPr>
          <p:cNvPr id="4" name="CaseCode">
            <a:extLst>
              <a:ext uri="{FF2B5EF4-FFF2-40B4-BE49-F238E27FC236}">
                <a16:creationId xmlns:a16="http://schemas.microsoft.com/office/drawing/2014/main" id="{EE17EA6B-85C9-4747-94A1-C3551368D64A}"/>
              </a:ext>
            </a:extLst>
          </p:cNvPr>
          <p:cNvSpPr txBox="1"/>
          <p:nvPr userDrawn="1"/>
        </p:nvSpPr>
        <p:spPr>
          <a:xfrm>
            <a:off x="6295592" y="6499388"/>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Designed by CoRe Creative Services. RITM1197867</a:t>
            </a:r>
          </a:p>
        </p:txBody>
      </p:sp>
      <p:sp>
        <p:nvSpPr>
          <p:cNvPr id="5" name="Copyright">
            <a:extLst>
              <a:ext uri="{FF2B5EF4-FFF2-40B4-BE49-F238E27FC236}">
                <a16:creationId xmlns:a16="http://schemas.microsoft.com/office/drawing/2014/main" id="{A73B4449-028A-42F8-9CC1-A61FD55FC27B}"/>
              </a:ext>
            </a:extLst>
          </p:cNvPr>
          <p:cNvSpPr txBox="1"/>
          <p:nvPr userDrawn="1"/>
        </p:nvSpPr>
        <p:spPr>
          <a:xfrm>
            <a:off x="457201" y="6515066"/>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a:solidFill>
                  <a:schemeClr val="bg1"/>
                </a:solidFill>
              </a:rPr>
              <a:t>© 2022. For information, contact Deloitte Touche Tohmatsu Limited. </a:t>
            </a:r>
            <a:endParaRPr lang="en-US" sz="800" noProof="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3ECEECB6-5D8A-431F-9401-45E4B9875F6E}"/>
              </a:ext>
            </a:extLst>
          </p:cNvPr>
          <p:cNvSpPr txBox="1"/>
          <p:nvPr userDrawn="1"/>
        </p:nvSpPr>
        <p:spPr>
          <a:xfrm>
            <a:off x="11415397" y="6519912"/>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
        <p:nvSpPr>
          <p:cNvPr id="7" name="Top header">
            <a:extLst>
              <a:ext uri="{FF2B5EF4-FFF2-40B4-BE49-F238E27FC236}">
                <a16:creationId xmlns:a16="http://schemas.microsoft.com/office/drawing/2014/main" id="{C938999D-ABB7-4FBF-805B-EF2F78057992}"/>
              </a:ext>
            </a:extLst>
          </p:cNvPr>
          <p:cNvSpPr txBox="1">
            <a:spLocks/>
          </p:cNvSpPr>
          <p:nvPr userDrawn="1"/>
        </p:nvSpPr>
        <p:spPr bwMode="gray">
          <a:xfrm>
            <a:off x="463295" y="453233"/>
            <a:ext cx="11277600" cy="307777"/>
          </a:xfrm>
          <a:prstGeom prst="rect">
            <a:avLst/>
          </a:prstGeom>
        </p:spPr>
        <p:txBody>
          <a:bodyPr vert="horz" lIns="0" tIns="0" rIns="0" bIns="0" rtlCol="0" anchor="t" anchorCtr="0">
            <a:spAutoFit/>
          </a:bodyPr>
          <a:lst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pPr>
              <a:tabLst>
                <a:tab pos="11277738" algn="r"/>
              </a:tabLst>
            </a:pPr>
            <a:r>
              <a:rPr lang="en-GB" sz="2000" b="1">
                <a:solidFill>
                  <a:schemeClr val="bg1"/>
                </a:solidFill>
                <a:latin typeface="+mj-lt"/>
              </a:rPr>
              <a:t>State of Louisiana </a:t>
            </a:r>
            <a:r>
              <a:rPr lang="pl-PL" sz="2000" b="1" err="1">
                <a:solidFill>
                  <a:schemeClr val="bg1"/>
                </a:solidFill>
                <a:latin typeface="+mj-lt"/>
              </a:rPr>
              <a:t>account</a:t>
            </a:r>
            <a:r>
              <a:rPr lang="pl-PL" sz="2000" b="1">
                <a:solidFill>
                  <a:schemeClr val="bg1"/>
                </a:solidFill>
                <a:latin typeface="+mj-lt"/>
              </a:rPr>
              <a:t> </a:t>
            </a:r>
            <a:r>
              <a:rPr lang="en-GB" sz="2000" b="1">
                <a:solidFill>
                  <a:schemeClr val="bg1"/>
                </a:solidFill>
                <a:latin typeface="+mj-lt"/>
              </a:rPr>
              <a:t>proposals template</a:t>
            </a:r>
          </a:p>
        </p:txBody>
      </p:sp>
      <p:sp>
        <p:nvSpPr>
          <p:cNvPr id="116" name="Text Placeholder 18">
            <a:extLst>
              <a:ext uri="{FF2B5EF4-FFF2-40B4-BE49-F238E27FC236}">
                <a16:creationId xmlns:a16="http://schemas.microsoft.com/office/drawing/2014/main" id="{A81620FE-079C-454C-9742-B6B42BCFA97F}"/>
              </a:ext>
            </a:extLst>
          </p:cNvPr>
          <p:cNvSpPr txBox="1">
            <a:spLocks/>
          </p:cNvSpPr>
          <p:nvPr userDrawn="1"/>
        </p:nvSpPr>
        <p:spPr>
          <a:xfrm>
            <a:off x="468629" y="3137297"/>
            <a:ext cx="5481777" cy="215444"/>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b="1">
                <a:solidFill>
                  <a:schemeClr val="bg1"/>
                </a:solidFill>
              </a:rPr>
              <a:t>Links to other sections of the template with editable pages for:</a:t>
            </a:r>
          </a:p>
        </p:txBody>
      </p:sp>
      <p:sp>
        <p:nvSpPr>
          <p:cNvPr id="120" name="Oval 119">
            <a:extLst>
              <a:ext uri="{FF2B5EF4-FFF2-40B4-BE49-F238E27FC236}">
                <a16:creationId xmlns:a16="http://schemas.microsoft.com/office/drawing/2014/main" id="{1D1B4CE4-16AC-43A6-91C7-DB4BF7BFE224}"/>
              </a:ext>
            </a:extLst>
          </p:cNvPr>
          <p:cNvSpPr>
            <a:spLocks noChangeAspect="1"/>
          </p:cNvSpPr>
          <p:nvPr/>
        </p:nvSpPr>
        <p:spPr bwMode="gray">
          <a:xfrm>
            <a:off x="468629" y="3642966"/>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23" name="Oval 122">
            <a:extLst>
              <a:ext uri="{FF2B5EF4-FFF2-40B4-BE49-F238E27FC236}">
                <a16:creationId xmlns:a16="http://schemas.microsoft.com/office/drawing/2014/main" id="{6AA30193-9B94-43DF-BFCE-FAC0A2A547CF}"/>
              </a:ext>
            </a:extLst>
          </p:cNvPr>
          <p:cNvSpPr>
            <a:spLocks noChangeAspect="1"/>
          </p:cNvSpPr>
          <p:nvPr/>
        </p:nvSpPr>
        <p:spPr bwMode="gray">
          <a:xfrm>
            <a:off x="468629" y="4023978"/>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26" name="Oval 125">
            <a:extLst>
              <a:ext uri="{FF2B5EF4-FFF2-40B4-BE49-F238E27FC236}">
                <a16:creationId xmlns:a16="http://schemas.microsoft.com/office/drawing/2014/main" id="{7282211D-B0A2-4C7A-80E0-7866C6A20103}"/>
              </a:ext>
            </a:extLst>
          </p:cNvPr>
          <p:cNvSpPr>
            <a:spLocks noChangeAspect="1"/>
          </p:cNvSpPr>
          <p:nvPr/>
        </p:nvSpPr>
        <p:spPr bwMode="gray">
          <a:xfrm>
            <a:off x="468629" y="4786002"/>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29" name="Oval 128">
            <a:extLst>
              <a:ext uri="{FF2B5EF4-FFF2-40B4-BE49-F238E27FC236}">
                <a16:creationId xmlns:a16="http://schemas.microsoft.com/office/drawing/2014/main" id="{CF1BFA04-791C-4DF1-B222-7177E6D2F504}"/>
              </a:ext>
            </a:extLst>
          </p:cNvPr>
          <p:cNvSpPr>
            <a:spLocks noChangeAspect="1"/>
          </p:cNvSpPr>
          <p:nvPr userDrawn="1"/>
        </p:nvSpPr>
        <p:spPr bwMode="gray">
          <a:xfrm>
            <a:off x="468629" y="4404990"/>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32" name="Oval 131">
            <a:extLst>
              <a:ext uri="{FF2B5EF4-FFF2-40B4-BE49-F238E27FC236}">
                <a16:creationId xmlns:a16="http://schemas.microsoft.com/office/drawing/2014/main" id="{84F4FF95-FE93-4A1F-A085-C95EB1B4573F}"/>
              </a:ext>
            </a:extLst>
          </p:cNvPr>
          <p:cNvSpPr>
            <a:spLocks noChangeAspect="1"/>
          </p:cNvSpPr>
          <p:nvPr/>
        </p:nvSpPr>
        <p:spPr bwMode="gray">
          <a:xfrm>
            <a:off x="4318000" y="3642966"/>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35" name="Oval 134">
            <a:extLst>
              <a:ext uri="{FF2B5EF4-FFF2-40B4-BE49-F238E27FC236}">
                <a16:creationId xmlns:a16="http://schemas.microsoft.com/office/drawing/2014/main" id="{7F5FABA5-7E98-40A1-AF95-434D04BCC1C2}"/>
              </a:ext>
            </a:extLst>
          </p:cNvPr>
          <p:cNvSpPr>
            <a:spLocks noChangeAspect="1"/>
          </p:cNvSpPr>
          <p:nvPr/>
        </p:nvSpPr>
        <p:spPr bwMode="gray">
          <a:xfrm>
            <a:off x="4318000" y="4023978"/>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41" name="Oval 140">
            <a:extLst>
              <a:ext uri="{FF2B5EF4-FFF2-40B4-BE49-F238E27FC236}">
                <a16:creationId xmlns:a16="http://schemas.microsoft.com/office/drawing/2014/main" id="{6C0B3178-4C9B-415D-952B-8DF131ACCAD4}"/>
              </a:ext>
            </a:extLst>
          </p:cNvPr>
          <p:cNvSpPr>
            <a:spLocks noChangeAspect="1"/>
          </p:cNvSpPr>
          <p:nvPr/>
        </p:nvSpPr>
        <p:spPr bwMode="gray">
          <a:xfrm>
            <a:off x="4318000" y="4404990"/>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0" name="Oval 149">
            <a:extLst>
              <a:ext uri="{FF2B5EF4-FFF2-40B4-BE49-F238E27FC236}">
                <a16:creationId xmlns:a16="http://schemas.microsoft.com/office/drawing/2014/main" id="{8CA04124-4A21-4688-A26E-AA61FC34AB67}"/>
              </a:ext>
            </a:extLst>
          </p:cNvPr>
          <p:cNvSpPr>
            <a:spLocks noChangeAspect="1"/>
          </p:cNvSpPr>
          <p:nvPr/>
        </p:nvSpPr>
        <p:spPr bwMode="gray">
          <a:xfrm>
            <a:off x="4323714" y="4786002"/>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57" name="Oval 156">
            <a:extLst>
              <a:ext uri="{FF2B5EF4-FFF2-40B4-BE49-F238E27FC236}">
                <a16:creationId xmlns:a16="http://schemas.microsoft.com/office/drawing/2014/main" id="{E2030184-A362-4DFB-83E6-E5BDD5D26740}"/>
              </a:ext>
            </a:extLst>
          </p:cNvPr>
          <p:cNvSpPr>
            <a:spLocks noChangeAspect="1"/>
          </p:cNvSpPr>
          <p:nvPr userDrawn="1"/>
        </p:nvSpPr>
        <p:spPr bwMode="gray">
          <a:xfrm>
            <a:off x="4323714" y="5187627"/>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2" name="Group 1">
            <a:extLst>
              <a:ext uri="{FF2B5EF4-FFF2-40B4-BE49-F238E27FC236}">
                <a16:creationId xmlns:a16="http://schemas.microsoft.com/office/drawing/2014/main" id="{F8EEB41B-37DB-B521-E3E4-D654A63AD5EB}"/>
              </a:ext>
            </a:extLst>
          </p:cNvPr>
          <p:cNvGrpSpPr/>
          <p:nvPr userDrawn="1"/>
        </p:nvGrpSpPr>
        <p:grpSpPr>
          <a:xfrm>
            <a:off x="8178801" y="3970261"/>
            <a:ext cx="3473450" cy="215444"/>
            <a:chOff x="8178800" y="4351268"/>
            <a:chExt cx="3473450" cy="215443"/>
          </a:xfrm>
        </p:grpSpPr>
        <p:sp>
          <p:nvSpPr>
            <p:cNvPr id="159" name="Text Placeholder 18">
              <a:hlinkClick r:id="" action="ppaction://noaction"/>
              <a:extLst>
                <a:ext uri="{FF2B5EF4-FFF2-40B4-BE49-F238E27FC236}">
                  <a16:creationId xmlns:a16="http://schemas.microsoft.com/office/drawing/2014/main" id="{E4DB3979-6248-448A-A9AF-945C5327DC51}"/>
                </a:ext>
              </a:extLst>
            </p:cNvPr>
            <p:cNvSpPr txBox="1">
              <a:spLocks/>
            </p:cNvSpPr>
            <p:nvPr/>
          </p:nvSpPr>
          <p:spPr>
            <a:xfrm>
              <a:off x="8178800" y="4351268"/>
              <a:ext cx="3473450" cy="215443"/>
            </a:xfrm>
            <a:prstGeom prst="rect">
              <a:avLst/>
            </a:prstGeom>
          </p:spPr>
          <p:txBody>
            <a:bodyPr vert="horz" wrap="square" lIns="21600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GB" sz="1400">
                  <a:solidFill>
                    <a:schemeClr val="bg1"/>
                  </a:solidFill>
                  <a:latin typeface="Calibri Light" panose="020F0302020204030204" pitchFamily="34" charset="0"/>
                </a:rPr>
                <a:t>Appendix with optional charts and graphics</a:t>
              </a:r>
            </a:p>
          </p:txBody>
        </p:sp>
        <p:sp>
          <p:nvSpPr>
            <p:cNvPr id="160" name="Oval 159">
              <a:extLst>
                <a:ext uri="{FF2B5EF4-FFF2-40B4-BE49-F238E27FC236}">
                  <a16:creationId xmlns:a16="http://schemas.microsoft.com/office/drawing/2014/main" id="{7E33D4EC-BC1A-4DE8-BBEA-69E8B6573329}"/>
                </a:ext>
              </a:extLst>
            </p:cNvPr>
            <p:cNvSpPr>
              <a:spLocks noChangeAspect="1"/>
            </p:cNvSpPr>
            <p:nvPr userDrawn="1"/>
          </p:nvSpPr>
          <p:spPr bwMode="gray">
            <a:xfrm>
              <a:off x="8178800" y="4404990"/>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sp>
        <p:nvSpPr>
          <p:cNvPr id="163" name="Oval 162">
            <a:extLst>
              <a:ext uri="{FF2B5EF4-FFF2-40B4-BE49-F238E27FC236}">
                <a16:creationId xmlns:a16="http://schemas.microsoft.com/office/drawing/2014/main" id="{FEA9237C-D1A9-4F93-AA0F-7F6B2B98C890}"/>
              </a:ext>
            </a:extLst>
          </p:cNvPr>
          <p:cNvSpPr>
            <a:spLocks noChangeAspect="1"/>
          </p:cNvSpPr>
          <p:nvPr userDrawn="1"/>
        </p:nvSpPr>
        <p:spPr bwMode="gray">
          <a:xfrm>
            <a:off x="8178800" y="3642966"/>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
        <p:nvSpPr>
          <p:cNvPr id="10" name="Text Placeholder 9">
            <a:extLst>
              <a:ext uri="{FF2B5EF4-FFF2-40B4-BE49-F238E27FC236}">
                <a16:creationId xmlns:a16="http://schemas.microsoft.com/office/drawing/2014/main" id="{029D09CB-3B6D-9A1E-EF1F-4FFB9D2AB952}"/>
              </a:ext>
            </a:extLst>
          </p:cNvPr>
          <p:cNvSpPr>
            <a:spLocks noGrp="1"/>
          </p:cNvSpPr>
          <p:nvPr userDrawn="1">
            <p:ph type="body" sz="quarter" idx="10" hasCustomPrompt="1"/>
          </p:nvPr>
        </p:nvSpPr>
        <p:spPr>
          <a:xfrm>
            <a:off x="457200" y="1711828"/>
            <a:ext cx="11277600" cy="738664"/>
          </a:xfrm>
        </p:spPr>
        <p:txBody>
          <a:bodyPr wrap="square">
            <a:spAutoFit/>
          </a:bodyPr>
          <a:lstStyle>
            <a:lvl1pPr>
              <a:defRPr sz="4800">
                <a:solidFill>
                  <a:schemeClr val="bg1"/>
                </a:solidFill>
                <a:latin typeface="Calibri Light" panose="020F0302020204030204" pitchFamily="34" charset="0"/>
                <a:cs typeface="Calibri Light" panose="020F0302020204030204" pitchFamily="34" charset="0"/>
              </a:defRPr>
            </a:lvl1pPr>
          </a:lstStyle>
          <a:p>
            <a:pPr lvl="0"/>
            <a:r>
              <a:rPr lang="en-US"/>
              <a:t>Click to add title</a:t>
            </a:r>
          </a:p>
        </p:txBody>
      </p:sp>
      <p:cxnSp>
        <p:nvCxnSpPr>
          <p:cNvPr id="13" name="Straight Connector 12">
            <a:extLst>
              <a:ext uri="{FF2B5EF4-FFF2-40B4-BE49-F238E27FC236}">
                <a16:creationId xmlns:a16="http://schemas.microsoft.com/office/drawing/2014/main" id="{4458794B-F73B-3A67-964A-2B003F2BBB05}"/>
              </a:ext>
            </a:extLst>
          </p:cNvPr>
          <p:cNvCxnSpPr>
            <a:cxnSpLocks/>
          </p:cNvCxnSpPr>
          <p:nvPr userDrawn="1"/>
        </p:nvCxnSpPr>
        <p:spPr>
          <a:xfrm>
            <a:off x="468631" y="1136650"/>
            <a:ext cx="11254741"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1" name="Text Placeholder 18">
            <a:extLst>
              <a:ext uri="{FF2B5EF4-FFF2-40B4-BE49-F238E27FC236}">
                <a16:creationId xmlns:a16="http://schemas.microsoft.com/office/drawing/2014/main" id="{582035A0-0AF0-76B5-5439-82B46DC6B137}"/>
              </a:ext>
            </a:extLst>
          </p:cNvPr>
          <p:cNvSpPr txBox="1">
            <a:spLocks/>
          </p:cNvSpPr>
          <p:nvPr userDrawn="1"/>
        </p:nvSpPr>
        <p:spPr>
          <a:xfrm>
            <a:off x="9874777" y="450628"/>
            <a:ext cx="480127" cy="184666"/>
          </a:xfrm>
          <a:prstGeom prst="rect">
            <a:avLst/>
          </a:prstGeom>
        </p:spPr>
        <p:txBody>
          <a:bodyPr vert="horz" wrap="square" lIns="0" tIns="0" rIns="0" bIns="0" rtlCol="0">
            <a:spAutoFit/>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a:spcAft>
                <a:spcPts val="301"/>
              </a:spcAft>
            </a:pPr>
            <a:r>
              <a:rPr lang="en-US" sz="600">
                <a:solidFill>
                  <a:schemeClr val="bg1"/>
                </a:solidFill>
              </a:rPr>
              <a:t>S</a:t>
            </a:r>
            <a:r>
              <a:rPr lang="en-US" sz="600" b="0">
                <a:solidFill>
                  <a:schemeClr val="bg1"/>
                </a:solidFill>
              </a:rPr>
              <a:t>croll to go through pages</a:t>
            </a:r>
            <a:endParaRPr lang="en-GB" sz="600" b="0">
              <a:solidFill>
                <a:schemeClr val="bg1"/>
              </a:solidFill>
            </a:endParaRPr>
          </a:p>
        </p:txBody>
      </p:sp>
      <p:grpSp>
        <p:nvGrpSpPr>
          <p:cNvPr id="22" name="Group 21">
            <a:extLst>
              <a:ext uri="{FF2B5EF4-FFF2-40B4-BE49-F238E27FC236}">
                <a16:creationId xmlns:a16="http://schemas.microsoft.com/office/drawing/2014/main" id="{06E7AA81-6256-3002-093D-5952D7426001}"/>
              </a:ext>
            </a:extLst>
          </p:cNvPr>
          <p:cNvGrpSpPr>
            <a:grpSpLocks noChangeAspect="1"/>
          </p:cNvGrpSpPr>
          <p:nvPr userDrawn="1"/>
        </p:nvGrpSpPr>
        <p:grpSpPr>
          <a:xfrm>
            <a:off x="9655790" y="434960"/>
            <a:ext cx="136814" cy="216000"/>
            <a:chOff x="10855719" y="1284708"/>
            <a:chExt cx="133406" cy="210620"/>
          </a:xfrm>
          <a:solidFill>
            <a:schemeClr val="bg1"/>
          </a:solidFill>
        </p:grpSpPr>
        <p:sp>
          <p:nvSpPr>
            <p:cNvPr id="23" name="Freeform: Shape 22">
              <a:extLst>
                <a:ext uri="{FF2B5EF4-FFF2-40B4-BE49-F238E27FC236}">
                  <a16:creationId xmlns:a16="http://schemas.microsoft.com/office/drawing/2014/main" id="{353AEEF1-1AAB-01BE-9B6D-7BDF9DADB0AD}"/>
                </a:ext>
              </a:extLst>
            </p:cNvPr>
            <p:cNvSpPr/>
            <p:nvPr/>
          </p:nvSpPr>
          <p:spPr>
            <a:xfrm>
              <a:off x="10855719" y="1284708"/>
              <a:ext cx="133406" cy="210620"/>
            </a:xfrm>
            <a:custGeom>
              <a:avLst/>
              <a:gdLst>
                <a:gd name="connsiteX0" fmla="*/ 66461 w 133406"/>
                <a:gd name="connsiteY0" fmla="*/ 210600 h 210620"/>
                <a:gd name="connsiteX1" fmla="*/ -206 w 133406"/>
                <a:gd name="connsiteY1" fmla="*/ 143933 h 210620"/>
                <a:gd name="connsiteX2" fmla="*/ -206 w 133406"/>
                <a:gd name="connsiteY2" fmla="*/ 64515 h 210620"/>
                <a:gd name="connsiteX3" fmla="*/ 68705 w 133406"/>
                <a:gd name="connsiteY3" fmla="*/ 16 h 210620"/>
                <a:gd name="connsiteX4" fmla="*/ 133201 w 133406"/>
                <a:gd name="connsiteY4" fmla="*/ 64515 h 210620"/>
                <a:gd name="connsiteX5" fmla="*/ 133201 w 133406"/>
                <a:gd name="connsiteY5" fmla="*/ 144661 h 210620"/>
                <a:gd name="connsiteX6" fmla="*/ 66461 w 133406"/>
                <a:gd name="connsiteY6" fmla="*/ 210600 h 210620"/>
                <a:gd name="connsiteX7" fmla="*/ 66461 w 133406"/>
                <a:gd name="connsiteY7" fmla="*/ 6591 h 210620"/>
                <a:gd name="connsiteX8" fmla="*/ 9048 w 133406"/>
                <a:gd name="connsiteY8" fmla="*/ 64295 h 210620"/>
                <a:gd name="connsiteX9" fmla="*/ 9048 w 133406"/>
                <a:gd name="connsiteY9" fmla="*/ 64515 h 210620"/>
                <a:gd name="connsiteX10" fmla="*/ 9048 w 133406"/>
                <a:gd name="connsiteY10" fmla="*/ 144661 h 210620"/>
                <a:gd name="connsiteX11" fmla="*/ 66461 w 133406"/>
                <a:gd name="connsiteY11" fmla="*/ 202075 h 210620"/>
                <a:gd name="connsiteX12" fmla="*/ 123875 w 133406"/>
                <a:gd name="connsiteY12" fmla="*/ 144661 h 210620"/>
                <a:gd name="connsiteX13" fmla="*/ 123875 w 133406"/>
                <a:gd name="connsiteY13" fmla="*/ 64515 h 210620"/>
                <a:gd name="connsiteX14" fmla="*/ 66680 w 133406"/>
                <a:gd name="connsiteY14" fmla="*/ 6738 h 210620"/>
                <a:gd name="connsiteX15" fmla="*/ 66461 w 133406"/>
                <a:gd name="connsiteY15" fmla="*/ 6737 h 21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3406" h="210620">
                  <a:moveTo>
                    <a:pt x="66461" y="210600"/>
                  </a:moveTo>
                  <a:cubicBezTo>
                    <a:pt x="29674" y="210520"/>
                    <a:pt x="-125" y="180718"/>
                    <a:pt x="-206" y="143933"/>
                  </a:cubicBezTo>
                  <a:lnTo>
                    <a:pt x="-206" y="64515"/>
                  </a:lnTo>
                  <a:cubicBezTo>
                    <a:pt x="1011" y="27676"/>
                    <a:pt x="31860" y="-1201"/>
                    <a:pt x="68705" y="16"/>
                  </a:cubicBezTo>
                  <a:cubicBezTo>
                    <a:pt x="103831" y="1178"/>
                    <a:pt x="132043" y="29386"/>
                    <a:pt x="133201" y="64515"/>
                  </a:cubicBezTo>
                  <a:lnTo>
                    <a:pt x="133201" y="144661"/>
                  </a:lnTo>
                  <a:cubicBezTo>
                    <a:pt x="132720" y="181191"/>
                    <a:pt x="102993" y="210563"/>
                    <a:pt x="66461" y="210600"/>
                  </a:cubicBezTo>
                  <a:close/>
                  <a:moveTo>
                    <a:pt x="66461" y="6591"/>
                  </a:moveTo>
                  <a:cubicBezTo>
                    <a:pt x="34673" y="6671"/>
                    <a:pt x="8968" y="32506"/>
                    <a:pt x="9048" y="64295"/>
                  </a:cubicBezTo>
                  <a:cubicBezTo>
                    <a:pt x="9048" y="64369"/>
                    <a:pt x="9048" y="64442"/>
                    <a:pt x="9048" y="64515"/>
                  </a:cubicBezTo>
                  <a:lnTo>
                    <a:pt x="9048" y="144661"/>
                  </a:lnTo>
                  <a:cubicBezTo>
                    <a:pt x="9048" y="176370"/>
                    <a:pt x="34753" y="202075"/>
                    <a:pt x="66461" y="202075"/>
                  </a:cubicBezTo>
                  <a:cubicBezTo>
                    <a:pt x="98170" y="202075"/>
                    <a:pt x="123875" y="176370"/>
                    <a:pt x="123875" y="144661"/>
                  </a:cubicBezTo>
                  <a:lnTo>
                    <a:pt x="123875" y="64515"/>
                  </a:lnTo>
                  <a:cubicBezTo>
                    <a:pt x="124035" y="32766"/>
                    <a:pt x="98432" y="6899"/>
                    <a:pt x="66680" y="6738"/>
                  </a:cubicBezTo>
                  <a:cubicBezTo>
                    <a:pt x="66607" y="6737"/>
                    <a:pt x="66534" y="6737"/>
                    <a:pt x="66461" y="6737"/>
                  </a:cubicBezTo>
                  <a:close/>
                </a:path>
              </a:pathLst>
            </a:custGeom>
            <a:grpFill/>
            <a:ln w="6879" cap="flat">
              <a:noFill/>
              <a:prstDash val="solid"/>
              <a:miter/>
            </a:ln>
          </p:spPr>
          <p:txBody>
            <a:bodyPr rtlCol="0" anchor="ctr"/>
            <a:lstStyle/>
            <a:p>
              <a:endParaRPr lang="en-GB" sz="2419"/>
            </a:p>
          </p:txBody>
        </p:sp>
        <p:sp>
          <p:nvSpPr>
            <p:cNvPr id="24" name="Freeform: Shape 23">
              <a:extLst>
                <a:ext uri="{FF2B5EF4-FFF2-40B4-BE49-F238E27FC236}">
                  <a16:creationId xmlns:a16="http://schemas.microsoft.com/office/drawing/2014/main" id="{1D9F06B1-AEB6-6DDF-763D-CC6A707CEAFB}"/>
                </a:ext>
              </a:extLst>
            </p:cNvPr>
            <p:cNvSpPr/>
            <p:nvPr/>
          </p:nvSpPr>
          <p:spPr>
            <a:xfrm>
              <a:off x="10913206" y="1322793"/>
              <a:ext cx="18579" cy="40222"/>
            </a:xfrm>
            <a:custGeom>
              <a:avLst/>
              <a:gdLst>
                <a:gd name="connsiteX0" fmla="*/ 8975 w 18579"/>
                <a:gd name="connsiteY0" fmla="*/ 40201 h 40222"/>
                <a:gd name="connsiteX1" fmla="*/ 8975 w 18579"/>
                <a:gd name="connsiteY1" fmla="*/ 40201 h 40222"/>
                <a:gd name="connsiteX2" fmla="*/ -206 w 18579"/>
                <a:gd name="connsiteY2" fmla="*/ 31020 h 40222"/>
                <a:gd name="connsiteX3" fmla="*/ -206 w 18579"/>
                <a:gd name="connsiteY3" fmla="*/ 9162 h 40222"/>
                <a:gd name="connsiteX4" fmla="*/ 8975 w 18579"/>
                <a:gd name="connsiteY4" fmla="*/ -18 h 40222"/>
                <a:gd name="connsiteX5" fmla="*/ 8975 w 18579"/>
                <a:gd name="connsiteY5" fmla="*/ -18 h 40222"/>
                <a:gd name="connsiteX6" fmla="*/ 18374 w 18579"/>
                <a:gd name="connsiteY6" fmla="*/ 8940 h 40222"/>
                <a:gd name="connsiteX7" fmla="*/ 18374 w 18579"/>
                <a:gd name="connsiteY7" fmla="*/ 9017 h 40222"/>
                <a:gd name="connsiteX8" fmla="*/ 18374 w 18579"/>
                <a:gd name="connsiteY8" fmla="*/ 30875 h 40222"/>
                <a:gd name="connsiteX9" fmla="*/ 9193 w 18579"/>
                <a:gd name="connsiteY9" fmla="*/ 40201 h 40222"/>
                <a:gd name="connsiteX10" fmla="*/ 8975 w 18579"/>
                <a:gd name="connsiteY10" fmla="*/ 40201 h 40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79" h="40222">
                  <a:moveTo>
                    <a:pt x="8975" y="40201"/>
                  </a:moveTo>
                  <a:lnTo>
                    <a:pt x="8975" y="40201"/>
                  </a:lnTo>
                  <a:cubicBezTo>
                    <a:pt x="3918" y="40161"/>
                    <a:pt x="-169" y="36074"/>
                    <a:pt x="-206" y="31020"/>
                  </a:cubicBezTo>
                  <a:lnTo>
                    <a:pt x="-206" y="9162"/>
                  </a:lnTo>
                  <a:cubicBezTo>
                    <a:pt x="-206" y="4092"/>
                    <a:pt x="3904" y="-18"/>
                    <a:pt x="8975" y="-18"/>
                  </a:cubicBezTo>
                  <a:lnTo>
                    <a:pt x="8975" y="-18"/>
                  </a:lnTo>
                  <a:cubicBezTo>
                    <a:pt x="14046" y="-140"/>
                    <a:pt x="18250" y="3871"/>
                    <a:pt x="18374" y="8940"/>
                  </a:cubicBezTo>
                  <a:cubicBezTo>
                    <a:pt x="18374" y="8966"/>
                    <a:pt x="18374" y="8991"/>
                    <a:pt x="18374" y="9017"/>
                  </a:cubicBezTo>
                  <a:lnTo>
                    <a:pt x="18374" y="30875"/>
                  </a:lnTo>
                  <a:cubicBezTo>
                    <a:pt x="18417" y="35985"/>
                    <a:pt x="14308" y="40161"/>
                    <a:pt x="9193" y="40201"/>
                  </a:cubicBezTo>
                  <a:cubicBezTo>
                    <a:pt x="9121" y="40202"/>
                    <a:pt x="9048" y="40202"/>
                    <a:pt x="8975" y="40201"/>
                  </a:cubicBezTo>
                  <a:close/>
                </a:path>
              </a:pathLst>
            </a:custGeom>
            <a:grpFill/>
            <a:ln w="6879" cap="flat">
              <a:noFill/>
              <a:prstDash val="solid"/>
              <a:miter/>
            </a:ln>
          </p:spPr>
          <p:txBody>
            <a:bodyPr rtlCol="0" anchor="ctr"/>
            <a:lstStyle/>
            <a:p>
              <a:endParaRPr lang="en-GB" sz="2419"/>
            </a:p>
          </p:txBody>
        </p:sp>
      </p:grpSp>
      <p:grpSp>
        <p:nvGrpSpPr>
          <p:cNvPr id="59" name="Group 58">
            <a:extLst>
              <a:ext uri="{FF2B5EF4-FFF2-40B4-BE49-F238E27FC236}">
                <a16:creationId xmlns:a16="http://schemas.microsoft.com/office/drawing/2014/main" id="{5CCE104D-3417-3A3D-D716-06776DE5B8D7}"/>
              </a:ext>
            </a:extLst>
          </p:cNvPr>
          <p:cNvGrpSpPr/>
          <p:nvPr userDrawn="1"/>
        </p:nvGrpSpPr>
        <p:grpSpPr>
          <a:xfrm>
            <a:off x="468631" y="5753043"/>
            <a:ext cx="11723371" cy="607191"/>
            <a:chOff x="468629" y="5753039"/>
            <a:chExt cx="11723371" cy="607191"/>
          </a:xfrm>
        </p:grpSpPr>
        <p:sp>
          <p:nvSpPr>
            <p:cNvPr id="55" name="TextBox 54">
              <a:extLst>
                <a:ext uri="{FF2B5EF4-FFF2-40B4-BE49-F238E27FC236}">
                  <a16:creationId xmlns:a16="http://schemas.microsoft.com/office/drawing/2014/main" id="{413AE0D9-625F-813C-5825-315AC18E805D}"/>
                </a:ext>
              </a:extLst>
            </p:cNvPr>
            <p:cNvSpPr txBox="1"/>
            <p:nvPr/>
          </p:nvSpPr>
          <p:spPr bwMode="auto">
            <a:xfrm rot="16200000" flipH="1">
              <a:off x="6026719" y="194949"/>
              <a:ext cx="607191" cy="11723371"/>
            </a:xfrm>
            <a:prstGeom prst="round2SameRect">
              <a:avLst>
                <a:gd name="adj1" fmla="val 50000"/>
                <a:gd name="adj2" fmla="val 0"/>
              </a:avLst>
            </a:prstGeom>
            <a:solidFill>
              <a:schemeClr val="bg1">
                <a:lumMod val="85000"/>
              </a:schemeClr>
            </a:solidFill>
            <a:ln w="19050">
              <a:noFill/>
              <a:prstDash val="solid"/>
            </a:ln>
            <a:effectLst/>
          </p:spPr>
          <p:txBody>
            <a:bodyPr vert="vert" wrap="square" lIns="36000" tIns="640080" rIns="36000" bIns="972000" numCol="1" spcCol="91440" anchor="ctr" anchorCtr="0">
              <a:noAutofit/>
            </a:bodyPr>
            <a:lstStyle/>
            <a:p>
              <a:pPr>
                <a:spcAft>
                  <a:spcPts val="400"/>
                </a:spcAft>
              </a:pPr>
              <a:r>
                <a:rPr lang="en-US" sz="1200" kern="0">
                  <a:solidFill>
                    <a:srgbClr val="005587"/>
                  </a:solidFill>
                </a:rPr>
                <a:t>NOTE: This is just a working slide to navigate through the presentation’s template. Not intended to be published in the final proposal for the external client. Please remove it once you finalize the presentation.</a:t>
              </a:r>
            </a:p>
          </p:txBody>
        </p:sp>
        <p:grpSp>
          <p:nvGrpSpPr>
            <p:cNvPr id="56" name="Group 433">
              <a:extLst>
                <a:ext uri="{FF2B5EF4-FFF2-40B4-BE49-F238E27FC236}">
                  <a16:creationId xmlns:a16="http://schemas.microsoft.com/office/drawing/2014/main" id="{A97EE54A-7B83-4032-3B98-7E3A96896FF4}"/>
                </a:ext>
              </a:extLst>
            </p:cNvPr>
            <p:cNvGrpSpPr>
              <a:grpSpLocks noChangeAspect="1"/>
            </p:cNvGrpSpPr>
            <p:nvPr/>
          </p:nvGrpSpPr>
          <p:grpSpPr bwMode="auto">
            <a:xfrm>
              <a:off x="540598" y="5809745"/>
              <a:ext cx="513814" cy="493776"/>
              <a:chOff x="4725" y="1820"/>
              <a:chExt cx="340" cy="340"/>
            </a:xfrm>
            <a:solidFill>
              <a:srgbClr val="005587"/>
            </a:solidFill>
          </p:grpSpPr>
          <p:sp>
            <p:nvSpPr>
              <p:cNvPr id="57" name="Freeform 434">
                <a:extLst>
                  <a:ext uri="{FF2B5EF4-FFF2-40B4-BE49-F238E27FC236}">
                    <a16:creationId xmlns:a16="http://schemas.microsoft.com/office/drawing/2014/main" id="{A441B45B-7F14-FEE5-6BAE-C4D54E0D8634}"/>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sp>
            <p:nvSpPr>
              <p:cNvPr id="58" name="Freeform 435">
                <a:extLst>
                  <a:ext uri="{FF2B5EF4-FFF2-40B4-BE49-F238E27FC236}">
                    <a16:creationId xmlns:a16="http://schemas.microsoft.com/office/drawing/2014/main" id="{2F9A7048-A2FF-D10F-3FE8-3D42E0FFC041}"/>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p>
            </p:txBody>
          </p:sp>
        </p:grpSp>
      </p:grpSp>
      <p:sp>
        <p:nvSpPr>
          <p:cNvPr id="9" name="Oval 8">
            <a:extLst>
              <a:ext uri="{FF2B5EF4-FFF2-40B4-BE49-F238E27FC236}">
                <a16:creationId xmlns:a16="http://schemas.microsoft.com/office/drawing/2014/main" id="{BB3D4754-58B6-1F8D-3B0B-25731B5B5F34}"/>
              </a:ext>
            </a:extLst>
          </p:cNvPr>
          <p:cNvSpPr>
            <a:spLocks noChangeAspect="1"/>
          </p:cNvSpPr>
          <p:nvPr userDrawn="1"/>
        </p:nvSpPr>
        <p:spPr bwMode="gray">
          <a:xfrm>
            <a:off x="468629" y="5187627"/>
            <a:ext cx="108000" cy="108000"/>
          </a:xfrm>
          <a:prstGeom prst="ellipse">
            <a:avLst/>
          </a:prstGeom>
          <a:noFill/>
          <a:ln w="412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spTree>
    <p:extLst>
      <p:ext uri="{BB962C8B-B14F-4D97-AF65-F5344CB8AC3E}">
        <p14:creationId xmlns:p14="http://schemas.microsoft.com/office/powerpoint/2010/main" val="17052998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EC2E94-90CA-402E-8A2C-E90E4EAB9DA5}"/>
              </a:ext>
            </a:extLst>
          </p:cNvPr>
          <p:cNvSpPr/>
          <p:nvPr userDrawn="1"/>
        </p:nvSpPr>
        <p:spPr bwMode="gray">
          <a:xfrm>
            <a:off x="2387601" y="2166847"/>
            <a:ext cx="7416800" cy="1545584"/>
          </a:xfrm>
          <a:prstGeom prst="rect">
            <a:avLst/>
          </a:prstGeom>
          <a:noFill/>
          <a:ln w="12700" algn="ctr">
            <a:solidFill>
              <a:schemeClr val="tx1"/>
            </a:solidFill>
            <a:miter lim="800000"/>
            <a:headEnd/>
            <a:tailEnd/>
          </a:ln>
        </p:spPr>
        <p:txBody>
          <a:bodyPr wrap="square" lIns="144000" tIns="108000" rIns="144000" bIns="144000" rtlCol="0" anchor="t">
            <a:spAutoFit/>
          </a:bodyPr>
          <a:lstStyle/>
          <a:p>
            <a:pPr algn="ctr">
              <a:lnSpc>
                <a:spcPct val="106000"/>
              </a:lnSpc>
              <a:buFont typeface="Wingdings 2" pitchFamily="18" charset="2"/>
              <a:buNone/>
            </a:pPr>
            <a:r>
              <a:rPr lang="en-GB" sz="2000" b="1"/>
              <a:t>NOTE</a:t>
            </a:r>
          </a:p>
          <a:p>
            <a:pPr>
              <a:lnSpc>
                <a:spcPct val="106000"/>
              </a:lnSpc>
              <a:buFont typeface="Wingdings 2" pitchFamily="18" charset="2"/>
              <a:buNone/>
            </a:pPr>
            <a:r>
              <a:rPr lang="en-GB" sz="2000"/>
              <a:t>Layout slides placed after this note slide are basic layouts from the standard Deloitte presentation template. You can keep them for your reference or delete them.</a:t>
            </a:r>
          </a:p>
        </p:txBody>
      </p:sp>
    </p:spTree>
    <p:extLst>
      <p:ext uri="{BB962C8B-B14F-4D97-AF65-F5344CB8AC3E}">
        <p14:creationId xmlns:p14="http://schemas.microsoft.com/office/powerpoint/2010/main" val="34603672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laygrou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9EC2E94-90CA-402E-8A2C-E90E4EAB9DA5}"/>
              </a:ext>
            </a:extLst>
          </p:cNvPr>
          <p:cNvSpPr/>
          <p:nvPr userDrawn="1"/>
        </p:nvSpPr>
        <p:spPr bwMode="gray">
          <a:xfrm>
            <a:off x="2387601" y="342903"/>
            <a:ext cx="7416800" cy="893097"/>
          </a:xfrm>
          <a:prstGeom prst="rect">
            <a:avLst/>
          </a:prstGeom>
          <a:noFill/>
          <a:ln w="12700" algn="ctr">
            <a:solidFill>
              <a:srgbClr val="FF66FF"/>
            </a:solidFill>
            <a:miter lim="800000"/>
            <a:headEnd/>
            <a:tailEnd/>
          </a:ln>
        </p:spPr>
        <p:txBody>
          <a:bodyPr wrap="square" lIns="144000" tIns="108000" rIns="144000" bIns="144000" rtlCol="0" anchor="t">
            <a:spAutoFit/>
          </a:bodyPr>
          <a:lstStyle/>
          <a:p>
            <a:pPr algn="ctr">
              <a:lnSpc>
                <a:spcPct val="106000"/>
              </a:lnSpc>
              <a:buFont typeface="Wingdings 2" pitchFamily="18" charset="2"/>
              <a:buNone/>
            </a:pPr>
            <a:r>
              <a:rPr lang="en-GB" sz="2000" b="1">
                <a:solidFill>
                  <a:srgbClr val="FF66FF"/>
                </a:solidFill>
              </a:rPr>
              <a:t>NOTE</a:t>
            </a:r>
          </a:p>
          <a:p>
            <a:pPr algn="ctr">
              <a:lnSpc>
                <a:spcPct val="106000"/>
              </a:lnSpc>
              <a:buFont typeface="Wingdings 2" pitchFamily="18" charset="2"/>
              <a:buNone/>
            </a:pPr>
            <a:r>
              <a:rPr lang="en-GB" sz="2000">
                <a:solidFill>
                  <a:srgbClr val="FF66FF"/>
                </a:solidFill>
              </a:rPr>
              <a:t>Slide/Layout just for test purposes.</a:t>
            </a:r>
          </a:p>
        </p:txBody>
      </p:sp>
    </p:spTree>
    <p:extLst>
      <p:ext uri="{BB962C8B-B14F-4D97-AF65-F5344CB8AC3E}">
        <p14:creationId xmlns:p14="http://schemas.microsoft.com/office/powerpoint/2010/main" val="29774809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statement black">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46" indent="-457146">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0BC43A11-2BB7-4A1C-A5F1-44780B8B5738}"/>
              </a:ext>
            </a:extLst>
          </p:cNvPr>
          <p:cNvSpPr txBox="1"/>
          <p:nvPr userDrawn="1"/>
        </p:nvSpPr>
        <p:spPr>
          <a:xfrm>
            <a:off x="6335185" y="6519674"/>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Presentation title</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2AED32D1-073D-4F0C-A503-DD2C198E0703}"/>
              </a:ext>
            </a:extLst>
          </p:cNvPr>
          <p:cNvSpPr txBox="1"/>
          <p:nvPr userDrawn="1"/>
        </p:nvSpPr>
        <p:spPr>
          <a:xfrm>
            <a:off x="457201" y="6515064"/>
            <a:ext cx="5355168" cy="246221"/>
          </a:xfrm>
          <a:prstGeom prst="rect">
            <a:avLst/>
          </a:prstGeom>
          <a:noFill/>
        </p:spPr>
        <p:txBody>
          <a:bodyPr wrap="square" lIns="0" tIns="0" rIns="0" bIns="0" rtlCol="0">
            <a:spAutoFit/>
          </a:bodyPr>
          <a:lstStyle/>
          <a:p>
            <a:pPr marL="0" indent="0">
              <a:spcBef>
                <a:spcPts val="45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Member firms and DTTL: Insert appropriate copyright</a:t>
            </a:r>
            <a:br>
              <a:rPr lang="en-US" sz="800" noProof="0">
                <a:solidFill>
                  <a:schemeClr val="bg1"/>
                </a:solidFill>
                <a:latin typeface="Calibri" panose="020F0502020204030204" pitchFamily="34" charset="0"/>
                <a:cs typeface="Calibri" panose="020F0502020204030204" pitchFamily="34" charset="0"/>
              </a:rPr>
            </a:br>
            <a:r>
              <a:rPr lang="en-US" sz="8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TextBox 7">
            <a:extLst>
              <a:ext uri="{FF2B5EF4-FFF2-40B4-BE49-F238E27FC236}">
                <a16:creationId xmlns:a16="http://schemas.microsoft.com/office/drawing/2014/main" id="{BED92E23-1724-438A-94CC-8F92C96CD5F0}"/>
              </a:ext>
            </a:extLst>
          </p:cNvPr>
          <p:cNvSpPr txBox="1"/>
          <p:nvPr userDrawn="1"/>
        </p:nvSpPr>
        <p:spPr>
          <a:xfrm>
            <a:off x="11426829" y="6519676"/>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181162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9" y="3124200"/>
            <a:ext cx="2720468" cy="3238500"/>
          </a:xfrm>
        </p:spPr>
        <p:txBody>
          <a:bodyPr>
            <a:noAutofit/>
          </a:bodyPr>
          <a:lstStyle>
            <a:lvl1pPr marL="0" indent="0" algn="l">
              <a:buFontTx/>
              <a:buNone/>
              <a:defRPr sz="1200" b="1">
                <a:solidFill>
                  <a:schemeClr val="accent1"/>
                </a:solidFill>
              </a:defRPr>
            </a:lvl1pPr>
            <a:lvl2pPr marL="104765" indent="-104765" algn="l">
              <a:spcAft>
                <a:spcPts val="0"/>
              </a:spcAft>
              <a:buClrTx/>
              <a:buSzPct val="100000"/>
              <a:buFont typeface="Arial" panose="020B0604020202020204" pitchFamily="34" charset="0"/>
              <a:buChar char="•"/>
              <a:defRPr sz="1200"/>
            </a:lvl2pPr>
            <a:lvl3pPr marL="228578" indent="-104765" algn="l">
              <a:spcAft>
                <a:spcPts val="0"/>
              </a:spcAft>
              <a:buClrTx/>
              <a:buSzPct val="100000"/>
              <a:buFont typeface="Arial" panose="020B0604020202020204" pitchFamily="34" charset="0"/>
              <a:buChar char="−"/>
              <a:defRPr sz="1200"/>
            </a:lvl3pPr>
            <a:lvl4pPr marL="352392" indent="-104765" algn="l">
              <a:spcAft>
                <a:spcPts val="0"/>
              </a:spcAft>
              <a:buClrTx/>
              <a:buSzPct val="100000"/>
              <a:buFont typeface="Arial" panose="020B0604020202020204" pitchFamily="34" charset="0"/>
              <a:buChar char="◦"/>
              <a:defRPr sz="1200"/>
            </a:lvl4pPr>
            <a:lvl5pPr marL="476205" indent="-104765" algn="l">
              <a:spcAft>
                <a:spcPts val="0"/>
              </a:spcAft>
              <a:buClrTx/>
              <a:buSzPct val="100000"/>
              <a:buFont typeface="Arial" panose="020B0604020202020204" pitchFamily="34" charset="0"/>
              <a:buChar char="−"/>
              <a:defRPr sz="1200" baseline="0"/>
            </a:lvl5pPr>
            <a:lvl6pPr marL="267275" indent="-132288">
              <a:spcAft>
                <a:spcPts val="0"/>
              </a:spcAft>
              <a:buFont typeface="Verdana" panose="020B0604030504040204" pitchFamily="34" charset="0"/>
              <a:buChar char="−"/>
              <a:defRPr/>
            </a:lvl6pPr>
            <a:lvl7pPr marL="267275" indent="-132288">
              <a:spcAft>
                <a:spcPts val="0"/>
              </a:spcAft>
              <a:defRPr/>
            </a:lvl7pPr>
            <a:lvl8pPr marL="267275" indent="-132288">
              <a:spcAft>
                <a:spcPts val="0"/>
              </a:spcAft>
              <a:defRPr/>
            </a:lvl8pPr>
            <a:lvl9pPr marL="267275" indent="-13228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65" indent="-104765" algn="l">
              <a:spcAft>
                <a:spcPts val="0"/>
              </a:spcAft>
              <a:buClrTx/>
              <a:buSzPct val="100000"/>
              <a:buFont typeface="Arial" panose="020B0604020202020204" pitchFamily="34" charset="0"/>
              <a:buChar char="•"/>
              <a:defRPr sz="1200"/>
            </a:lvl2pPr>
            <a:lvl3pPr marL="228578" indent="-104765" algn="l">
              <a:spcAft>
                <a:spcPts val="0"/>
              </a:spcAft>
              <a:buClrTx/>
              <a:buSzPct val="100000"/>
              <a:buFont typeface="Arial" panose="020B0604020202020204" pitchFamily="34" charset="0"/>
              <a:buChar char="−"/>
              <a:defRPr sz="1200"/>
            </a:lvl3pPr>
            <a:lvl4pPr marL="352392" indent="-104765" algn="l">
              <a:spcAft>
                <a:spcPts val="0"/>
              </a:spcAft>
              <a:buClrTx/>
              <a:buSzPct val="100000"/>
              <a:buFont typeface="Arial" panose="020B0604020202020204" pitchFamily="34" charset="0"/>
              <a:buChar char="◦"/>
              <a:defRPr sz="1200"/>
            </a:lvl4pPr>
            <a:lvl5pPr marL="476205" indent="-104765" algn="l">
              <a:spcAft>
                <a:spcPts val="0"/>
              </a:spcAft>
              <a:buClrTx/>
              <a:buSzPct val="100000"/>
              <a:buFont typeface="Arial" panose="020B0604020202020204" pitchFamily="34" charset="0"/>
              <a:buChar char="−"/>
              <a:defRPr sz="1200" baseline="0"/>
            </a:lvl5pPr>
            <a:lvl6pPr marL="267275" indent="-132288">
              <a:spcAft>
                <a:spcPts val="0"/>
              </a:spcAft>
              <a:buFont typeface="Verdana" panose="020B0604030504040204" pitchFamily="34" charset="0"/>
              <a:buChar char="−"/>
              <a:defRPr/>
            </a:lvl6pPr>
            <a:lvl7pPr marL="267275" indent="-132288">
              <a:spcAft>
                <a:spcPts val="0"/>
              </a:spcAft>
              <a:defRPr/>
            </a:lvl7pPr>
            <a:lvl8pPr marL="267275" indent="-132288">
              <a:spcAft>
                <a:spcPts val="0"/>
              </a:spcAft>
              <a:defRPr/>
            </a:lvl8pPr>
            <a:lvl9pPr marL="267275" indent="-13228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6"/>
            <a:ext cx="2712000" cy="3238499"/>
          </a:xfrm>
        </p:spPr>
        <p:txBody>
          <a:bodyPr>
            <a:noAutofit/>
          </a:bodyPr>
          <a:lstStyle>
            <a:lvl1pPr marL="0" indent="0" algn="l">
              <a:buFontTx/>
              <a:buNone/>
              <a:defRPr sz="1200" b="1">
                <a:solidFill>
                  <a:schemeClr val="accent1"/>
                </a:solidFill>
              </a:defRPr>
            </a:lvl1pPr>
            <a:lvl2pPr marL="104765" indent="-104765" algn="l">
              <a:spcAft>
                <a:spcPts val="0"/>
              </a:spcAft>
              <a:buClrTx/>
              <a:buSzPct val="100000"/>
              <a:buFont typeface="Arial" panose="020B0604020202020204" pitchFamily="34" charset="0"/>
              <a:buChar char="•"/>
              <a:defRPr sz="1200"/>
            </a:lvl2pPr>
            <a:lvl3pPr marL="228578" indent="-104765" algn="l">
              <a:spcAft>
                <a:spcPts val="0"/>
              </a:spcAft>
              <a:buClrTx/>
              <a:buSzPct val="100000"/>
              <a:buFont typeface="Arial" panose="020B0604020202020204" pitchFamily="34" charset="0"/>
              <a:buChar char="−"/>
              <a:defRPr sz="1200"/>
            </a:lvl3pPr>
            <a:lvl4pPr marL="352392" indent="-104765" algn="l">
              <a:spcAft>
                <a:spcPts val="0"/>
              </a:spcAft>
              <a:buClrTx/>
              <a:buSzPct val="100000"/>
              <a:buFont typeface="Arial" panose="020B0604020202020204" pitchFamily="34" charset="0"/>
              <a:buChar char="◦"/>
              <a:defRPr sz="1200"/>
            </a:lvl4pPr>
            <a:lvl5pPr marL="476205" indent="-104765" algn="l">
              <a:spcAft>
                <a:spcPts val="0"/>
              </a:spcAft>
              <a:buClrTx/>
              <a:buSzPct val="100000"/>
              <a:buFont typeface="Arial" panose="020B0604020202020204" pitchFamily="34" charset="0"/>
              <a:buChar char="−"/>
              <a:defRPr sz="1200" baseline="0"/>
            </a:lvl5pPr>
            <a:lvl6pPr marL="267275" indent="-132288">
              <a:spcAft>
                <a:spcPts val="0"/>
              </a:spcAft>
              <a:buFont typeface="Verdana" panose="020B0604030504040204" pitchFamily="34" charset="0"/>
              <a:buChar char="−"/>
              <a:defRPr/>
            </a:lvl6pPr>
            <a:lvl7pPr marL="267275" indent="-132288">
              <a:spcAft>
                <a:spcPts val="0"/>
              </a:spcAft>
              <a:defRPr/>
            </a:lvl7pPr>
            <a:lvl8pPr marL="267275" indent="-132288">
              <a:spcAft>
                <a:spcPts val="0"/>
              </a:spcAft>
              <a:defRPr/>
            </a:lvl8pPr>
            <a:lvl9pPr marL="267275" indent="-13228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3" y="3108508"/>
            <a:ext cx="2697183" cy="3254192"/>
          </a:xfrm>
        </p:spPr>
        <p:txBody>
          <a:bodyPr>
            <a:noAutofit/>
          </a:bodyPr>
          <a:lstStyle>
            <a:lvl1pPr marL="0" indent="0" algn="l">
              <a:buFontTx/>
              <a:buNone/>
              <a:defRPr sz="1200" b="1">
                <a:solidFill>
                  <a:schemeClr val="accent1"/>
                </a:solidFill>
              </a:defRPr>
            </a:lvl1pPr>
            <a:lvl2pPr marL="104765" indent="-104765" algn="l">
              <a:spcAft>
                <a:spcPts val="0"/>
              </a:spcAft>
              <a:buClrTx/>
              <a:buSzPct val="100000"/>
              <a:buFont typeface="Arial" panose="020B0604020202020204" pitchFamily="34" charset="0"/>
              <a:buChar char="•"/>
              <a:defRPr sz="1200"/>
            </a:lvl2pPr>
            <a:lvl3pPr marL="228578" indent="-104765" algn="l">
              <a:spcAft>
                <a:spcPts val="0"/>
              </a:spcAft>
              <a:buClrTx/>
              <a:buSzPct val="100000"/>
              <a:buFont typeface="Arial" panose="020B0604020202020204" pitchFamily="34" charset="0"/>
              <a:buChar char="−"/>
              <a:defRPr sz="1200"/>
            </a:lvl3pPr>
            <a:lvl4pPr marL="352392" indent="-104765" algn="l">
              <a:spcAft>
                <a:spcPts val="0"/>
              </a:spcAft>
              <a:buClrTx/>
              <a:buSzPct val="100000"/>
              <a:buFont typeface="Arial" panose="020B0604020202020204" pitchFamily="34" charset="0"/>
              <a:buChar char="◦"/>
              <a:defRPr sz="1200"/>
            </a:lvl4pPr>
            <a:lvl5pPr marL="476205" indent="-104765" algn="l">
              <a:spcAft>
                <a:spcPts val="0"/>
              </a:spcAft>
              <a:buClrTx/>
              <a:buSzPct val="100000"/>
              <a:buFont typeface="Arial" panose="020B0604020202020204" pitchFamily="34" charset="0"/>
              <a:buChar char="−"/>
              <a:defRPr sz="1200" baseline="0"/>
            </a:lvl5pPr>
            <a:lvl6pPr marL="267275" indent="-132288">
              <a:spcAft>
                <a:spcPts val="0"/>
              </a:spcAft>
              <a:buFont typeface="Verdana" panose="020B0604030504040204" pitchFamily="34" charset="0"/>
              <a:buChar char="−"/>
              <a:defRPr/>
            </a:lvl6pPr>
            <a:lvl7pPr marL="267275" indent="-132288">
              <a:spcAft>
                <a:spcPts val="0"/>
              </a:spcAft>
              <a:defRPr/>
            </a:lvl7pPr>
            <a:lvl8pPr marL="267275" indent="-132288">
              <a:spcAft>
                <a:spcPts val="0"/>
              </a:spcAft>
              <a:defRPr/>
            </a:lvl8pPr>
            <a:lvl9pPr marL="267275" indent="-132288">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4"/>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latin typeface="+mj-lt"/>
              </a:defRPr>
            </a:lvl1pPr>
          </a:lstStyle>
          <a:p>
            <a:r>
              <a:rPr lang="en-US"/>
              <a:t>Click to add title</a:t>
            </a:r>
          </a:p>
        </p:txBody>
      </p:sp>
    </p:spTree>
    <p:extLst>
      <p:ext uri="{BB962C8B-B14F-4D97-AF65-F5344CB8AC3E}">
        <p14:creationId xmlns:p14="http://schemas.microsoft.com/office/powerpoint/2010/main" val="25332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012E3-6495-96EB-F6D8-0A5D88617F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F1D97E-7AF0-6223-8BB4-0951037EE93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1A05407-9E7B-24A4-FE15-981337DD14C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F77973-EBF9-6A5C-A3A4-F96E1BA75270}"/>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6" name="Footer Placeholder 5">
            <a:extLst>
              <a:ext uri="{FF2B5EF4-FFF2-40B4-BE49-F238E27FC236}">
                <a16:creationId xmlns:a16="http://schemas.microsoft.com/office/drawing/2014/main" id="{9C124DE8-3CB2-FD81-C07D-4A1E99732D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AAA50A-2CD0-CD5D-17D1-BCF0F028BF7F}"/>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41620578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8"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8"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65" indent="-10476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65" indent="-10476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65" indent="-10476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65" indent="-10476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4"/>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21692245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65" indent="-104765" algn="l">
              <a:spcAft>
                <a:spcPts val="750"/>
              </a:spcAft>
              <a:buClrTx/>
              <a:buSzPct val="100000"/>
              <a:buFont typeface="Arial" panose="020B0604020202020204" pitchFamily="34" charset="0"/>
              <a:buChar char="•"/>
              <a:defRPr sz="1200"/>
            </a:lvl2pPr>
            <a:lvl3pPr marL="228578" indent="-104765" algn="l">
              <a:spcAft>
                <a:spcPts val="750"/>
              </a:spcAft>
              <a:buClrTx/>
              <a:buSzPct val="100000"/>
              <a:buFont typeface="Arial" panose="020B0604020202020204" pitchFamily="34" charset="0"/>
              <a:buChar char="−"/>
              <a:defRPr sz="1200"/>
            </a:lvl3pPr>
            <a:lvl4pPr marL="352392" indent="-104765" algn="l">
              <a:spcAft>
                <a:spcPts val="750"/>
              </a:spcAft>
              <a:buClrTx/>
              <a:buSzPct val="100000"/>
              <a:buFont typeface="Arial" panose="020B0604020202020204" pitchFamily="34" charset="0"/>
              <a:buChar char="◦"/>
              <a:defRPr sz="1200"/>
            </a:lvl4pPr>
            <a:lvl5pPr marL="476205" indent="-104765" algn="l">
              <a:spcAft>
                <a:spcPts val="750"/>
              </a:spcAft>
              <a:buClrTx/>
              <a:buSzPct val="100000"/>
              <a:buFont typeface="Arial" panose="020B0604020202020204" pitchFamily="34" charset="0"/>
              <a:buChar char="−"/>
              <a:defRPr sz="1200" baseline="0"/>
            </a:lvl5pPr>
            <a:lvl6pPr marL="267275" indent="-132288">
              <a:spcAft>
                <a:spcPts val="750"/>
              </a:spcAft>
              <a:buFont typeface="Verdana" panose="020B0604030504040204" pitchFamily="34" charset="0"/>
              <a:buChar char="−"/>
              <a:defRPr/>
            </a:lvl6pPr>
            <a:lvl7pPr marL="267275" indent="-132288">
              <a:spcAft>
                <a:spcPts val="750"/>
              </a:spcAft>
              <a:defRPr/>
            </a:lvl7pPr>
            <a:lvl8pPr marL="267275" indent="-132288">
              <a:spcAft>
                <a:spcPts val="750"/>
              </a:spcAft>
              <a:defRPr/>
            </a:lvl8pPr>
            <a:lvl9pPr marL="267275" indent="-132288">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65" indent="-104765" algn="l">
              <a:spcAft>
                <a:spcPts val="750"/>
              </a:spcAft>
              <a:buClrTx/>
              <a:buSzPct val="100000"/>
              <a:buFont typeface="Arial" panose="020B0604020202020204" pitchFamily="34" charset="0"/>
              <a:buChar char="•"/>
              <a:defRPr sz="1200"/>
            </a:lvl2pPr>
            <a:lvl3pPr marL="228578" indent="-104765" algn="l">
              <a:spcAft>
                <a:spcPts val="750"/>
              </a:spcAft>
              <a:buClrTx/>
              <a:buSzPct val="100000"/>
              <a:buFont typeface="Arial" panose="020B0604020202020204" pitchFamily="34" charset="0"/>
              <a:buChar char="−"/>
              <a:defRPr sz="1200"/>
            </a:lvl3pPr>
            <a:lvl4pPr marL="352392" indent="-104765" algn="l">
              <a:spcAft>
                <a:spcPts val="750"/>
              </a:spcAft>
              <a:buClrTx/>
              <a:buSzPct val="100000"/>
              <a:buFont typeface="Arial" panose="020B0604020202020204" pitchFamily="34" charset="0"/>
              <a:buChar char="◦"/>
              <a:defRPr sz="1200"/>
            </a:lvl4pPr>
            <a:lvl5pPr marL="476205" indent="-104765" algn="l">
              <a:spcAft>
                <a:spcPts val="750"/>
              </a:spcAft>
              <a:buClrTx/>
              <a:buSzPct val="100000"/>
              <a:buFont typeface="Arial" panose="020B0604020202020204" pitchFamily="34" charset="0"/>
              <a:buChar char="−"/>
              <a:defRPr sz="1200" baseline="0"/>
            </a:lvl5pPr>
            <a:lvl6pPr marL="267275" indent="-132288">
              <a:spcAft>
                <a:spcPts val="750"/>
              </a:spcAft>
              <a:buFont typeface="Verdana" panose="020B0604030504040204" pitchFamily="34" charset="0"/>
              <a:buChar char="−"/>
              <a:defRPr/>
            </a:lvl6pPr>
            <a:lvl7pPr marL="267275" indent="-132288">
              <a:spcAft>
                <a:spcPts val="750"/>
              </a:spcAft>
              <a:defRPr/>
            </a:lvl7pPr>
            <a:lvl8pPr marL="267275" indent="-132288">
              <a:spcAft>
                <a:spcPts val="750"/>
              </a:spcAft>
              <a:defRPr/>
            </a:lvl8pPr>
            <a:lvl9pPr marL="267275" indent="-132288">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8"/>
            <a:ext cx="1210207" cy="549275"/>
          </a:xfrm>
        </p:spPr>
        <p:txBody>
          <a:bodyPr/>
          <a:lstStyle>
            <a:lvl1pPr marL="0" marR="0" indent="0" algn="l" defTabSz="685736"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1" noProof="0">
                <a:solidFill>
                  <a:schemeClr val="bg1"/>
                </a:solidFill>
              </a:rPr>
              <a:t>Co-brand</a:t>
            </a:r>
            <a:br>
              <a:rPr lang="en-US" sz="901" noProof="0">
                <a:solidFill>
                  <a:schemeClr val="bg1"/>
                </a:solidFill>
              </a:rPr>
            </a:br>
            <a:r>
              <a:rPr lang="en-US" sz="901"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7" y="1857898"/>
            <a:ext cx="1244161" cy="549275"/>
          </a:xfrm>
        </p:spPr>
        <p:txBody>
          <a:bodyPr/>
          <a:lstStyle>
            <a:lvl1pPr marL="0" marR="0" indent="0" algn="l" defTabSz="685736"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1" noProof="0">
                <a:solidFill>
                  <a:schemeClr val="bg1"/>
                </a:solidFill>
              </a:rPr>
              <a:t>Co-brand</a:t>
            </a:r>
            <a:br>
              <a:rPr lang="en-US" sz="901" noProof="0">
                <a:solidFill>
                  <a:schemeClr val="bg1"/>
                </a:solidFill>
              </a:rPr>
            </a:br>
            <a:r>
              <a:rPr lang="en-US" sz="901"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4"/>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latin typeface="+mj-lt"/>
              </a:defRPr>
            </a:lvl1pPr>
          </a:lstStyle>
          <a:p>
            <a:r>
              <a:rPr lang="en-US"/>
              <a:t>Click to add title</a:t>
            </a:r>
          </a:p>
        </p:txBody>
      </p:sp>
    </p:spTree>
    <p:extLst>
      <p:ext uri="{BB962C8B-B14F-4D97-AF65-F5344CB8AC3E}">
        <p14:creationId xmlns:p14="http://schemas.microsoft.com/office/powerpoint/2010/main" val="29556672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7" y="1853605"/>
            <a:ext cx="1244161" cy="549275"/>
          </a:xfrm>
        </p:spPr>
        <p:txBody>
          <a:bodyPr/>
          <a:lstStyle>
            <a:lvl1pPr marL="0" marR="0" indent="0" algn="l" defTabSz="685736"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1">
                <a:solidFill>
                  <a:schemeClr val="bg1"/>
                </a:solidFill>
              </a:rPr>
              <a:t>Co-brand</a:t>
            </a:r>
            <a:br>
              <a:rPr lang="en-US" sz="901">
                <a:solidFill>
                  <a:schemeClr val="bg1"/>
                </a:solidFill>
              </a:rPr>
            </a:br>
            <a:r>
              <a:rPr lang="en-US" sz="901">
                <a:solidFill>
                  <a:schemeClr val="bg1"/>
                </a:solidFill>
              </a:rPr>
              <a:t>Logo</a:t>
            </a:r>
          </a:p>
          <a:p>
            <a:endParaRPr lang="en-GB"/>
          </a:p>
        </p:txBody>
      </p:sp>
      <p:sp>
        <p:nvSpPr>
          <p:cNvPr id="14" name="Picture Placeholder 29"/>
          <p:cNvSpPr>
            <a:spLocks noGrp="1"/>
          </p:cNvSpPr>
          <p:nvPr>
            <p:ph type="pic" sz="quarter" idx="24" hasCustomPrompt="1"/>
          </p:nvPr>
        </p:nvSpPr>
        <p:spPr>
          <a:xfrm>
            <a:off x="4702982" y="4258274"/>
            <a:ext cx="1239381" cy="549275"/>
          </a:xfrm>
        </p:spPr>
        <p:txBody>
          <a:bodyPr/>
          <a:lstStyle>
            <a:lvl1pPr marL="0" marR="0" indent="0" algn="l" defTabSz="685736"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1">
                <a:solidFill>
                  <a:schemeClr val="bg1"/>
                </a:solidFill>
              </a:rPr>
              <a:t>Co-brand</a:t>
            </a:r>
            <a:br>
              <a:rPr lang="en-US" sz="901">
                <a:solidFill>
                  <a:schemeClr val="bg1"/>
                </a:solidFill>
              </a:rPr>
            </a:br>
            <a:r>
              <a:rPr lang="en-US" sz="901">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4"/>
            <a:ext cx="1244160" cy="549275"/>
          </a:xfrm>
        </p:spPr>
        <p:txBody>
          <a:bodyPr/>
          <a:lstStyle>
            <a:lvl1pPr marL="0" marR="0" indent="0" algn="l" defTabSz="685736"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1">
                <a:solidFill>
                  <a:schemeClr val="bg1"/>
                </a:solidFill>
              </a:rPr>
              <a:t>Co-brand</a:t>
            </a:r>
            <a:br>
              <a:rPr lang="en-US" sz="901">
                <a:solidFill>
                  <a:schemeClr val="bg1"/>
                </a:solidFill>
              </a:rPr>
            </a:br>
            <a:r>
              <a:rPr lang="en-US" sz="901">
                <a:solidFill>
                  <a:schemeClr val="bg1"/>
                </a:solidFill>
              </a:rPr>
              <a:t>Logo</a:t>
            </a:r>
          </a:p>
          <a:p>
            <a:endParaRPr lang="en-GB"/>
          </a:p>
        </p:txBody>
      </p:sp>
      <p:sp>
        <p:nvSpPr>
          <p:cNvPr id="17" name="Picture Placeholder 29"/>
          <p:cNvSpPr>
            <a:spLocks noGrp="1"/>
          </p:cNvSpPr>
          <p:nvPr>
            <p:ph type="pic" sz="quarter" idx="19" hasCustomPrompt="1"/>
          </p:nvPr>
        </p:nvSpPr>
        <p:spPr>
          <a:xfrm>
            <a:off x="4735151" y="1857898"/>
            <a:ext cx="1210207" cy="549275"/>
          </a:xfrm>
        </p:spPr>
        <p:txBody>
          <a:bodyPr/>
          <a:lstStyle>
            <a:lvl1pPr marL="0" marR="0" indent="0" algn="l" defTabSz="685736"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1">
                <a:solidFill>
                  <a:schemeClr val="bg1"/>
                </a:solidFill>
              </a:rPr>
              <a:t>Co-brand</a:t>
            </a:r>
            <a:br>
              <a:rPr lang="en-US" sz="901">
                <a:solidFill>
                  <a:schemeClr val="bg1"/>
                </a:solidFill>
              </a:rPr>
            </a:br>
            <a:r>
              <a:rPr lang="en-US" sz="901">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6" y="1856232"/>
            <a:ext cx="5473257" cy="1695450"/>
          </a:xfrm>
        </p:spPr>
        <p:txBody>
          <a:bodyPr>
            <a:noAutofit/>
          </a:bodyPr>
          <a:lstStyle>
            <a:lvl1pPr marL="0" indent="0" algn="l">
              <a:buFontTx/>
              <a:buNone/>
              <a:defRPr sz="1200" b="1">
                <a:solidFill>
                  <a:schemeClr val="accent1"/>
                </a:solidFill>
              </a:defRPr>
            </a:lvl1pPr>
            <a:lvl2pPr marL="104765" indent="-104765" algn="l">
              <a:spcAft>
                <a:spcPts val="750"/>
              </a:spcAft>
              <a:buClrTx/>
              <a:buSzPct val="100000"/>
              <a:buFont typeface="Arial" panose="020B0604020202020204" pitchFamily="34" charset="0"/>
              <a:buChar char="•"/>
              <a:defRPr sz="1200"/>
            </a:lvl2pPr>
            <a:lvl3pPr marL="228578" indent="-104765" algn="l">
              <a:spcAft>
                <a:spcPts val="750"/>
              </a:spcAft>
              <a:buClrTx/>
              <a:buSzPct val="100000"/>
              <a:buFont typeface="Arial" panose="020B0604020202020204" pitchFamily="34" charset="0"/>
              <a:buChar char="−"/>
              <a:defRPr sz="1200"/>
            </a:lvl3pPr>
            <a:lvl4pPr marL="352392" indent="-104765" algn="l">
              <a:spcAft>
                <a:spcPts val="750"/>
              </a:spcAft>
              <a:buClrTx/>
              <a:buSzPct val="100000"/>
              <a:buFont typeface="Arial" panose="020B0604020202020204" pitchFamily="34" charset="0"/>
              <a:buChar char="◦"/>
              <a:defRPr sz="1200"/>
            </a:lvl4pPr>
            <a:lvl5pPr marL="476205" indent="-104765" algn="l">
              <a:spcAft>
                <a:spcPts val="750"/>
              </a:spcAft>
              <a:buClrTx/>
              <a:buSzPct val="100000"/>
              <a:buFont typeface="Arial" panose="020B0604020202020204" pitchFamily="34" charset="0"/>
              <a:buChar char="−"/>
              <a:defRPr sz="1200" baseline="0"/>
            </a:lvl5pPr>
            <a:lvl6pPr marL="267275" indent="-132288">
              <a:spcAft>
                <a:spcPts val="750"/>
              </a:spcAft>
              <a:buFont typeface="Verdana" panose="020B0604030504040204" pitchFamily="34" charset="0"/>
              <a:buChar char="−"/>
              <a:defRPr/>
            </a:lvl6pPr>
            <a:lvl7pPr marL="267275" indent="-132288">
              <a:spcAft>
                <a:spcPts val="750"/>
              </a:spcAft>
              <a:defRPr/>
            </a:lvl7pPr>
            <a:lvl8pPr marL="267275" indent="-132288">
              <a:spcAft>
                <a:spcPts val="750"/>
              </a:spcAft>
              <a:defRPr/>
            </a:lvl8pPr>
            <a:lvl9pPr marL="267275" indent="-132288">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3" y="1847618"/>
            <a:ext cx="5464615" cy="1695450"/>
          </a:xfrm>
        </p:spPr>
        <p:txBody>
          <a:bodyPr>
            <a:noAutofit/>
          </a:bodyPr>
          <a:lstStyle>
            <a:lvl1pPr marL="0" indent="0" algn="l">
              <a:buFontTx/>
              <a:buNone/>
              <a:defRPr sz="1200" b="1">
                <a:solidFill>
                  <a:schemeClr val="accent1"/>
                </a:solidFill>
              </a:defRPr>
            </a:lvl1pPr>
            <a:lvl2pPr marL="104765" indent="-104765" algn="l">
              <a:spcAft>
                <a:spcPts val="750"/>
              </a:spcAft>
              <a:buClrTx/>
              <a:buSzPct val="100000"/>
              <a:buFont typeface="Arial" panose="020B0604020202020204" pitchFamily="34" charset="0"/>
              <a:buChar char="•"/>
              <a:defRPr sz="1200"/>
            </a:lvl2pPr>
            <a:lvl3pPr marL="228578" indent="-104765" algn="l">
              <a:spcAft>
                <a:spcPts val="750"/>
              </a:spcAft>
              <a:buClrTx/>
              <a:buSzPct val="100000"/>
              <a:buFont typeface="Arial" panose="020B0604020202020204" pitchFamily="34" charset="0"/>
              <a:buChar char="−"/>
              <a:defRPr sz="1200"/>
            </a:lvl3pPr>
            <a:lvl4pPr marL="352392" indent="-104765" algn="l">
              <a:spcAft>
                <a:spcPts val="750"/>
              </a:spcAft>
              <a:buClrTx/>
              <a:buSzPct val="100000"/>
              <a:buFont typeface="Arial" panose="020B0604020202020204" pitchFamily="34" charset="0"/>
              <a:buChar char="◦"/>
              <a:defRPr sz="1200"/>
            </a:lvl4pPr>
            <a:lvl5pPr marL="476205" indent="-104765" algn="l">
              <a:spcAft>
                <a:spcPts val="750"/>
              </a:spcAft>
              <a:buClrTx/>
              <a:buSzPct val="100000"/>
              <a:buFont typeface="Arial" panose="020B0604020202020204" pitchFamily="34" charset="0"/>
              <a:buChar char="−"/>
              <a:defRPr sz="1200" baseline="0"/>
            </a:lvl5pPr>
            <a:lvl6pPr marL="267275" indent="-132288">
              <a:spcAft>
                <a:spcPts val="750"/>
              </a:spcAft>
              <a:buFont typeface="Verdana" panose="020B0604030504040204" pitchFamily="34" charset="0"/>
              <a:buChar char="−"/>
              <a:defRPr/>
            </a:lvl6pPr>
            <a:lvl7pPr marL="267275" indent="-132288">
              <a:spcAft>
                <a:spcPts val="750"/>
              </a:spcAft>
              <a:defRPr/>
            </a:lvl7pPr>
            <a:lvl8pPr marL="267275" indent="-132288">
              <a:spcAft>
                <a:spcPts val="750"/>
              </a:spcAft>
              <a:defRPr/>
            </a:lvl8pPr>
            <a:lvl9pPr marL="267275" indent="-132288">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6" y="4256623"/>
            <a:ext cx="5473257" cy="1695450"/>
          </a:xfrm>
        </p:spPr>
        <p:txBody>
          <a:bodyPr>
            <a:noAutofit/>
          </a:bodyPr>
          <a:lstStyle>
            <a:lvl1pPr marL="0" indent="0" algn="l">
              <a:buFontTx/>
              <a:buNone/>
              <a:defRPr sz="1200" b="1">
                <a:solidFill>
                  <a:schemeClr val="accent1"/>
                </a:solidFill>
              </a:defRPr>
            </a:lvl1pPr>
            <a:lvl2pPr marL="104765" indent="-104765" algn="l">
              <a:spcAft>
                <a:spcPts val="750"/>
              </a:spcAft>
              <a:buClrTx/>
              <a:buSzPct val="100000"/>
              <a:buFont typeface="Arial" panose="020B0604020202020204" pitchFamily="34" charset="0"/>
              <a:buChar char="•"/>
              <a:defRPr sz="1200"/>
            </a:lvl2pPr>
            <a:lvl3pPr marL="228578" indent="-104765" algn="l">
              <a:spcAft>
                <a:spcPts val="750"/>
              </a:spcAft>
              <a:buClrTx/>
              <a:buSzPct val="100000"/>
              <a:buFont typeface="Arial" panose="020B0604020202020204" pitchFamily="34" charset="0"/>
              <a:buChar char="−"/>
              <a:defRPr sz="1200"/>
            </a:lvl3pPr>
            <a:lvl4pPr marL="352392" indent="-104765" algn="l">
              <a:spcAft>
                <a:spcPts val="750"/>
              </a:spcAft>
              <a:buClrTx/>
              <a:buSzPct val="100000"/>
              <a:buFont typeface="Arial" panose="020B0604020202020204" pitchFamily="34" charset="0"/>
              <a:buChar char="◦"/>
              <a:defRPr sz="1200"/>
            </a:lvl4pPr>
            <a:lvl5pPr marL="476205" indent="-104765" algn="l">
              <a:spcAft>
                <a:spcPts val="750"/>
              </a:spcAft>
              <a:buClrTx/>
              <a:buSzPct val="100000"/>
              <a:buFont typeface="Arial" panose="020B0604020202020204" pitchFamily="34" charset="0"/>
              <a:buChar char="−"/>
              <a:defRPr sz="1200" baseline="0"/>
            </a:lvl5pPr>
            <a:lvl6pPr marL="267275" indent="-132288">
              <a:spcAft>
                <a:spcPts val="750"/>
              </a:spcAft>
              <a:buFont typeface="Verdana" panose="020B0604030504040204" pitchFamily="34" charset="0"/>
              <a:buChar char="−"/>
              <a:defRPr/>
            </a:lvl6pPr>
            <a:lvl7pPr marL="267275" indent="-132288">
              <a:spcAft>
                <a:spcPts val="750"/>
              </a:spcAft>
              <a:defRPr/>
            </a:lvl7pPr>
            <a:lvl8pPr marL="267275" indent="-132288">
              <a:spcAft>
                <a:spcPts val="750"/>
              </a:spcAft>
              <a:defRPr/>
            </a:lvl8pPr>
            <a:lvl9pPr marL="267275" indent="-132288">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4" y="4256623"/>
            <a:ext cx="5483852" cy="1695450"/>
          </a:xfrm>
        </p:spPr>
        <p:txBody>
          <a:bodyPr>
            <a:noAutofit/>
          </a:bodyPr>
          <a:lstStyle>
            <a:lvl1pPr marL="0" indent="0" algn="l">
              <a:buFontTx/>
              <a:buNone/>
              <a:defRPr sz="1200" b="1">
                <a:solidFill>
                  <a:schemeClr val="accent1"/>
                </a:solidFill>
              </a:defRPr>
            </a:lvl1pPr>
            <a:lvl2pPr marL="104765" indent="-104765" algn="l">
              <a:spcAft>
                <a:spcPts val="750"/>
              </a:spcAft>
              <a:buClrTx/>
              <a:buSzPct val="100000"/>
              <a:buFont typeface="Arial" panose="020B0604020202020204" pitchFamily="34" charset="0"/>
              <a:buChar char="•"/>
              <a:defRPr sz="1200"/>
            </a:lvl2pPr>
            <a:lvl3pPr marL="228578" indent="-104765" algn="l">
              <a:spcAft>
                <a:spcPts val="750"/>
              </a:spcAft>
              <a:buClrTx/>
              <a:buSzPct val="100000"/>
              <a:buFont typeface="Arial" panose="020B0604020202020204" pitchFamily="34" charset="0"/>
              <a:buChar char="−"/>
              <a:defRPr sz="1200"/>
            </a:lvl3pPr>
            <a:lvl4pPr marL="352392" indent="-104765" algn="l">
              <a:spcAft>
                <a:spcPts val="750"/>
              </a:spcAft>
              <a:buClrTx/>
              <a:buSzPct val="100000"/>
              <a:buFont typeface="Arial" panose="020B0604020202020204" pitchFamily="34" charset="0"/>
              <a:buChar char="◦"/>
              <a:defRPr sz="1200"/>
            </a:lvl4pPr>
            <a:lvl5pPr marL="476205" indent="-104765" algn="l">
              <a:spcAft>
                <a:spcPts val="750"/>
              </a:spcAft>
              <a:buClrTx/>
              <a:buSzPct val="100000"/>
              <a:buFont typeface="Arial" panose="020B0604020202020204" pitchFamily="34" charset="0"/>
              <a:buChar char="−"/>
              <a:defRPr sz="1200" baseline="0"/>
            </a:lvl5pPr>
            <a:lvl6pPr marL="267275" indent="-132288">
              <a:spcAft>
                <a:spcPts val="750"/>
              </a:spcAft>
              <a:buFont typeface="Verdana" panose="020B0604030504040204" pitchFamily="34" charset="0"/>
              <a:buChar char="−"/>
              <a:defRPr/>
            </a:lvl6pPr>
            <a:lvl7pPr marL="267275" indent="-132288">
              <a:spcAft>
                <a:spcPts val="750"/>
              </a:spcAft>
              <a:defRPr/>
            </a:lvl7pPr>
            <a:lvl8pPr marL="267275" indent="-132288">
              <a:spcAft>
                <a:spcPts val="750"/>
              </a:spcAft>
              <a:defRPr/>
            </a:lvl8pPr>
            <a:lvl9pPr marL="267275" indent="-132288">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4"/>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4859808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2" y="1851442"/>
            <a:ext cx="3554472" cy="4511260"/>
          </a:xfrm>
        </p:spPr>
        <p:txBody>
          <a:bodyPr>
            <a:noAutofit/>
          </a:bodyPr>
          <a:lstStyle>
            <a:lvl1pPr marL="0" indent="0" algn="l">
              <a:buFontTx/>
              <a:buNone/>
              <a:defRPr sz="1200" b="1">
                <a:solidFill>
                  <a:schemeClr val="accent1"/>
                </a:solidFill>
              </a:defRPr>
            </a:lvl1pPr>
            <a:lvl2pPr marL="104765" indent="-104765" algn="l">
              <a:spcAft>
                <a:spcPts val="750"/>
              </a:spcAft>
              <a:buClrTx/>
              <a:buSzPct val="100000"/>
              <a:buFont typeface="Arial" panose="020B0604020202020204" pitchFamily="34" charset="0"/>
              <a:buChar char="•"/>
              <a:defRPr sz="1200"/>
            </a:lvl2pPr>
            <a:lvl3pPr marL="228578" indent="-104765" algn="l">
              <a:spcAft>
                <a:spcPts val="750"/>
              </a:spcAft>
              <a:buClrTx/>
              <a:buSzPct val="100000"/>
              <a:buFont typeface="Arial" panose="020B0604020202020204" pitchFamily="34" charset="0"/>
              <a:buChar char="−"/>
              <a:defRPr sz="1200"/>
            </a:lvl3pPr>
            <a:lvl4pPr marL="352392" indent="-104765" algn="l">
              <a:spcAft>
                <a:spcPts val="750"/>
              </a:spcAft>
              <a:buClrTx/>
              <a:buSzPct val="100000"/>
              <a:buFont typeface="Arial" panose="020B0604020202020204" pitchFamily="34" charset="0"/>
              <a:buChar char="◦"/>
              <a:defRPr sz="1200"/>
            </a:lvl4pPr>
            <a:lvl5pPr marL="476205" indent="-104765" algn="l">
              <a:spcAft>
                <a:spcPts val="750"/>
              </a:spcAft>
              <a:buClrTx/>
              <a:buSzPct val="100000"/>
              <a:buFont typeface="Arial" panose="020B0604020202020204" pitchFamily="34" charset="0"/>
              <a:buChar char="−"/>
              <a:defRPr sz="1200" baseline="0"/>
            </a:lvl5pPr>
            <a:lvl6pPr marL="267275" indent="-132288">
              <a:spcAft>
                <a:spcPts val="750"/>
              </a:spcAft>
              <a:buFont typeface="Verdana" panose="020B0604030504040204" pitchFamily="34" charset="0"/>
              <a:buChar char="−"/>
              <a:defRPr/>
            </a:lvl6pPr>
            <a:lvl7pPr marL="267275" indent="-132288">
              <a:spcAft>
                <a:spcPts val="750"/>
              </a:spcAft>
              <a:defRPr/>
            </a:lvl7pPr>
            <a:lvl8pPr marL="267275" indent="-132288">
              <a:spcAft>
                <a:spcPts val="750"/>
              </a:spcAft>
              <a:defRPr/>
            </a:lvl8pPr>
            <a:lvl9pPr marL="267275" indent="-132288">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9" y="1851442"/>
            <a:ext cx="3554472" cy="4511260"/>
          </a:xfrm>
        </p:spPr>
        <p:txBody>
          <a:bodyPr>
            <a:noAutofit/>
          </a:bodyPr>
          <a:lstStyle>
            <a:lvl1pPr marL="0" indent="0" algn="l">
              <a:buFontTx/>
              <a:buNone/>
              <a:defRPr sz="1200" b="1">
                <a:solidFill>
                  <a:schemeClr val="accent1"/>
                </a:solidFill>
              </a:defRPr>
            </a:lvl1pPr>
            <a:lvl2pPr marL="104765" indent="-104765" algn="l">
              <a:spcAft>
                <a:spcPts val="750"/>
              </a:spcAft>
              <a:buClrTx/>
              <a:buSzPct val="100000"/>
              <a:buFont typeface="Arial" panose="020B0604020202020204" pitchFamily="34" charset="0"/>
              <a:buChar char="•"/>
              <a:defRPr sz="1200"/>
            </a:lvl2pPr>
            <a:lvl3pPr marL="228578" indent="-104765" algn="l">
              <a:spcAft>
                <a:spcPts val="750"/>
              </a:spcAft>
              <a:buClrTx/>
              <a:buSzPct val="100000"/>
              <a:buFont typeface="Arial" panose="020B0604020202020204" pitchFamily="34" charset="0"/>
              <a:buChar char="−"/>
              <a:defRPr sz="1200"/>
            </a:lvl3pPr>
            <a:lvl4pPr marL="352392" indent="-104765" algn="l">
              <a:spcAft>
                <a:spcPts val="750"/>
              </a:spcAft>
              <a:buClrTx/>
              <a:buSzPct val="100000"/>
              <a:buFont typeface="Arial" panose="020B0604020202020204" pitchFamily="34" charset="0"/>
              <a:buChar char="◦"/>
              <a:defRPr sz="1200"/>
            </a:lvl4pPr>
            <a:lvl5pPr marL="476205" indent="-104765" algn="l">
              <a:spcAft>
                <a:spcPts val="750"/>
              </a:spcAft>
              <a:buClrTx/>
              <a:buSzPct val="100000"/>
              <a:buFont typeface="Arial" panose="020B0604020202020204" pitchFamily="34" charset="0"/>
              <a:buChar char="−"/>
              <a:defRPr sz="1200" baseline="0"/>
            </a:lvl5pPr>
            <a:lvl6pPr marL="267275" indent="-132288">
              <a:spcAft>
                <a:spcPts val="750"/>
              </a:spcAft>
              <a:buFont typeface="Verdana" panose="020B0604030504040204" pitchFamily="34" charset="0"/>
              <a:buChar char="−"/>
              <a:defRPr/>
            </a:lvl6pPr>
            <a:lvl7pPr marL="267275" indent="-132288">
              <a:spcAft>
                <a:spcPts val="750"/>
              </a:spcAft>
              <a:defRPr/>
            </a:lvl7pPr>
            <a:lvl8pPr marL="267275" indent="-132288">
              <a:spcAft>
                <a:spcPts val="750"/>
              </a:spcAft>
              <a:defRPr/>
            </a:lvl8pPr>
            <a:lvl9pPr marL="267275" indent="-132288">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2"/>
            <a:ext cx="3556000" cy="4511260"/>
          </a:xfrm>
        </p:spPr>
        <p:txBody>
          <a:bodyPr>
            <a:noAutofit/>
          </a:bodyPr>
          <a:lstStyle>
            <a:lvl1pPr marL="0" indent="0" algn="l">
              <a:buFontTx/>
              <a:buNone/>
              <a:defRPr sz="1200" b="1">
                <a:solidFill>
                  <a:schemeClr val="accent1"/>
                </a:solidFill>
              </a:defRPr>
            </a:lvl1pPr>
            <a:lvl2pPr marL="104765" indent="-104765" algn="l">
              <a:spcAft>
                <a:spcPts val="750"/>
              </a:spcAft>
              <a:buClrTx/>
              <a:buSzPct val="100000"/>
              <a:buFont typeface="Arial" panose="020B0604020202020204" pitchFamily="34" charset="0"/>
              <a:buChar char="•"/>
              <a:defRPr sz="1200"/>
            </a:lvl2pPr>
            <a:lvl3pPr marL="228578" indent="-104765" algn="l">
              <a:spcAft>
                <a:spcPts val="750"/>
              </a:spcAft>
              <a:buClrTx/>
              <a:buSzPct val="100000"/>
              <a:buFont typeface="Arial" panose="020B0604020202020204" pitchFamily="34" charset="0"/>
              <a:buChar char="−"/>
              <a:defRPr sz="1200"/>
            </a:lvl3pPr>
            <a:lvl4pPr marL="352392" indent="-104765" algn="l">
              <a:spcAft>
                <a:spcPts val="750"/>
              </a:spcAft>
              <a:buClrTx/>
              <a:buSzPct val="100000"/>
              <a:buFont typeface="Arial" panose="020B0604020202020204" pitchFamily="34" charset="0"/>
              <a:buChar char="◦"/>
              <a:defRPr sz="1200"/>
            </a:lvl4pPr>
            <a:lvl5pPr marL="476205" indent="-104765" algn="l">
              <a:spcAft>
                <a:spcPts val="750"/>
              </a:spcAft>
              <a:buClrTx/>
              <a:buSzPct val="100000"/>
              <a:buFont typeface="Arial" panose="020B0604020202020204" pitchFamily="34" charset="0"/>
              <a:buChar char="−"/>
              <a:defRPr sz="1200" baseline="0"/>
            </a:lvl5pPr>
            <a:lvl6pPr marL="267275" indent="-132288">
              <a:spcAft>
                <a:spcPts val="750"/>
              </a:spcAft>
              <a:buFont typeface="Verdana" panose="020B0604030504040204" pitchFamily="34" charset="0"/>
              <a:buChar char="−"/>
              <a:defRPr/>
            </a:lvl6pPr>
            <a:lvl7pPr marL="267275" indent="-132288">
              <a:spcAft>
                <a:spcPts val="750"/>
              </a:spcAft>
              <a:defRPr/>
            </a:lvl7pPr>
            <a:lvl8pPr marL="267275" indent="-132288">
              <a:spcAft>
                <a:spcPts val="750"/>
              </a:spcAft>
              <a:defRPr/>
            </a:lvl8pPr>
            <a:lvl9pPr marL="267275" indent="-132288">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4"/>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3"/>
            <a:ext cx="11277600" cy="334099"/>
          </a:xfrm>
          <a:prstGeom prst="rect">
            <a:avLst/>
          </a:prstGeom>
        </p:spPr>
        <p:txBody>
          <a:bodyPr vert="horz" lIns="0" tIns="0" rIns="0" bIns="0" rtlCol="0" anchor="t" anchorCtr="0">
            <a:noAutofit/>
          </a:bodyPr>
          <a:lstStyle>
            <a:lvl1pPr>
              <a:defRPr sz="2101">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8" y="1715427"/>
            <a:ext cx="3560065"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3" y="1715427"/>
            <a:ext cx="3560065"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7"/>
            <a:ext cx="3560065"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40617799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Divider - Deloitte green">
    <p:bg bwMode="gray">
      <p:bgRef idx="1001">
        <a:schemeClr val="bg2"/>
      </p:bgRef>
    </p:bg>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bwMode="gray">
          <a:xfrm>
            <a:off x="469900" y="3423545"/>
            <a:ext cx="7445376" cy="1566532"/>
          </a:xfrm>
        </p:spPr>
        <p:txBody>
          <a:bodyPr lIns="0" tIns="0" rIns="0" bIns="0">
            <a:noAutofit/>
          </a:bodyPr>
          <a:lstStyle>
            <a:lvl1pPr marL="0" indent="0">
              <a:lnSpc>
                <a:spcPct val="95000"/>
              </a:lnSpc>
              <a:spcAft>
                <a:spcPts val="0"/>
              </a:spcAft>
              <a:buNone/>
              <a:defRPr sz="4000" b="1">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Section subheading </a:t>
            </a:r>
          </a:p>
        </p:txBody>
      </p:sp>
    </p:spTree>
    <p:extLst>
      <p:ext uri="{BB962C8B-B14F-4D97-AF65-F5344CB8AC3E}">
        <p14:creationId xmlns:p14="http://schemas.microsoft.com/office/powerpoint/2010/main" val="36170467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21D28-7367-B96A-82BF-A2F2A5BA3F0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9FAA1CA-2E5D-7D76-D672-490DD03EFC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B71147-A52D-8451-33B5-601F3C87FCA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4E8552-56F6-11D6-3404-419B6EA070B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932D1D-0F5E-6567-3AA3-7E8EFB5BEB1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155BACD-267D-EC0F-CFAC-FD591930E13A}"/>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8" name="Footer Placeholder 7">
            <a:extLst>
              <a:ext uri="{FF2B5EF4-FFF2-40B4-BE49-F238E27FC236}">
                <a16:creationId xmlns:a16="http://schemas.microsoft.com/office/drawing/2014/main" id="{8F0B413C-FDA1-99B3-8C78-5C17D72DBCE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A1F218-1B1F-D8FC-BC0E-7CBEC809C9A9}"/>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2903486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096E99-1A56-3197-B43F-02CA4C1509C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79372F7-485C-308A-71AE-D3DBB22EAEB1}"/>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4" name="Footer Placeholder 3">
            <a:extLst>
              <a:ext uri="{FF2B5EF4-FFF2-40B4-BE49-F238E27FC236}">
                <a16:creationId xmlns:a16="http://schemas.microsoft.com/office/drawing/2014/main" id="{598792F2-3131-CC63-A6FA-BADED3DC24A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90580E-E081-6459-E651-D129676C86B9}"/>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1919747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14CCDD-C17D-EC3D-4EC0-5FDA6441E27E}"/>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3" name="Footer Placeholder 2">
            <a:extLst>
              <a:ext uri="{FF2B5EF4-FFF2-40B4-BE49-F238E27FC236}">
                <a16:creationId xmlns:a16="http://schemas.microsoft.com/office/drawing/2014/main" id="{CBB4F8AE-172C-7B63-4F85-EF8EBBAA58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180168F-5D40-E1BF-BDF9-1EE558F5268D}"/>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4271924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87B32-7271-F6E2-63A8-A33EE9B96A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74B135F-8121-638E-0AF3-9EE2FC3787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B1858A8-B4D5-063E-A3E5-57651D1884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1D6E1B-DD7F-881F-E4BE-C37C14FF1A72}"/>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6" name="Footer Placeholder 5">
            <a:extLst>
              <a:ext uri="{FF2B5EF4-FFF2-40B4-BE49-F238E27FC236}">
                <a16:creationId xmlns:a16="http://schemas.microsoft.com/office/drawing/2014/main" id="{C374D728-9143-999F-7066-6A268DC5D8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175CBF-E725-5739-C79A-DF180C50E14E}"/>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1445060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E2F7D-F5A5-600B-6A9F-EFD92CC9B8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DA95A30-7A5F-6F32-5D72-CFB30EF6EA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CB8F931-B135-374C-E3C5-ADED17398B8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211ABA-3DD0-FED2-5DAF-DF08BCEAF9B8}"/>
              </a:ext>
            </a:extLst>
          </p:cNvPr>
          <p:cNvSpPr>
            <a:spLocks noGrp="1"/>
          </p:cNvSpPr>
          <p:nvPr>
            <p:ph type="dt" sz="half" idx="10"/>
          </p:nvPr>
        </p:nvSpPr>
        <p:spPr/>
        <p:txBody>
          <a:bodyPr/>
          <a:lstStyle/>
          <a:p>
            <a:fld id="{DEF02BDD-3310-4C5C-9D51-DB000AB4CB94}" type="datetimeFigureOut">
              <a:rPr lang="en-US" smtClean="0"/>
              <a:t>7/25/2024</a:t>
            </a:fld>
            <a:endParaRPr lang="en-US"/>
          </a:p>
        </p:txBody>
      </p:sp>
      <p:sp>
        <p:nvSpPr>
          <p:cNvPr id="6" name="Footer Placeholder 5">
            <a:extLst>
              <a:ext uri="{FF2B5EF4-FFF2-40B4-BE49-F238E27FC236}">
                <a16:creationId xmlns:a16="http://schemas.microsoft.com/office/drawing/2014/main" id="{FF1A03B9-4D87-F7D5-E6AB-AD6D8DDE067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0DB166-6CA9-C0A7-B533-6A4337C61D50}"/>
              </a:ext>
            </a:extLst>
          </p:cNvPr>
          <p:cNvSpPr>
            <a:spLocks noGrp="1"/>
          </p:cNvSpPr>
          <p:nvPr>
            <p:ph type="sldNum" sz="quarter" idx="12"/>
          </p:nvPr>
        </p:nvSpPr>
        <p:spPr/>
        <p:txBody>
          <a:bodyPr/>
          <a:lstStyle/>
          <a:p>
            <a:fld id="{BCEFF972-181A-4261-AB77-3D7C7A61C7B4}" type="slidenum">
              <a:rPr lang="en-US" smtClean="0"/>
              <a:t>‹#›</a:t>
            </a:fld>
            <a:endParaRPr lang="en-US"/>
          </a:p>
        </p:txBody>
      </p:sp>
    </p:spTree>
    <p:extLst>
      <p:ext uri="{BB962C8B-B14F-4D97-AF65-F5344CB8AC3E}">
        <p14:creationId xmlns:p14="http://schemas.microsoft.com/office/powerpoint/2010/main" val="31836500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0690A6-CBA0-4333-9F8C-FE3673E2AE75}"/>
              </a:ext>
            </a:extLst>
          </p:cNvPr>
          <p:cNvSpPr/>
          <p:nvPr userDrawn="1"/>
        </p:nvSpPr>
        <p:spPr>
          <a:xfrm>
            <a:off x="3467173" y="6696213"/>
            <a:ext cx="8733453" cy="170413"/>
          </a:xfrm>
          <a:prstGeom prst="rect">
            <a:avLst/>
          </a:prstGeom>
          <a:solidFill>
            <a:srgbClr val="1E33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392749F3-CAFF-7D7A-BDBD-EABF5EDF082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A4EE9E-4859-9117-B61C-78A85C44F9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22F9F9-B76B-7BA4-2222-A2DB522C49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F02BDD-3310-4C5C-9D51-DB000AB4CB94}" type="datetimeFigureOut">
              <a:rPr lang="en-US" smtClean="0"/>
              <a:t>7/25/2024</a:t>
            </a:fld>
            <a:endParaRPr lang="en-US"/>
          </a:p>
        </p:txBody>
      </p:sp>
      <p:sp>
        <p:nvSpPr>
          <p:cNvPr id="5" name="Footer Placeholder 4">
            <a:extLst>
              <a:ext uri="{FF2B5EF4-FFF2-40B4-BE49-F238E27FC236}">
                <a16:creationId xmlns:a16="http://schemas.microsoft.com/office/drawing/2014/main" id="{CFBCFF89-91F4-C3BE-599E-B115C806E0B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B452152-8751-2B89-E2AE-DB10DA9CEC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EFF972-181A-4261-AB77-3D7C7A61C7B4}" type="slidenum">
              <a:rPr lang="en-US" smtClean="0"/>
              <a:t>‹#›</a:t>
            </a:fld>
            <a:endParaRPr lang="en-US"/>
          </a:p>
        </p:txBody>
      </p:sp>
      <p:sp>
        <p:nvSpPr>
          <p:cNvPr id="11" name="Rectangle 10">
            <a:extLst>
              <a:ext uri="{FF2B5EF4-FFF2-40B4-BE49-F238E27FC236}">
                <a16:creationId xmlns:a16="http://schemas.microsoft.com/office/drawing/2014/main" id="{DEA2184A-1546-4770-8E41-C62979217A57}"/>
              </a:ext>
            </a:extLst>
          </p:cNvPr>
          <p:cNvSpPr/>
          <p:nvPr userDrawn="1"/>
        </p:nvSpPr>
        <p:spPr>
          <a:xfrm>
            <a:off x="0" y="0"/>
            <a:ext cx="8733453" cy="170413"/>
          </a:xfrm>
          <a:prstGeom prst="rect">
            <a:avLst/>
          </a:prstGeom>
          <a:solidFill>
            <a:srgbClr val="1E33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439898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hyperlink" Target="https://www.ncei.noaa.gov/access/billions/state-summary/LA"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ncei.noaa.gov/access/billions/state-summary/LA" TargetMode="External"/><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s://gohsep.la.gov/ABOUT/NEWS/aid/343" TargetMode="External"/><Relationship Id="rId7" Type="http://schemas.openxmlformats.org/officeDocument/2006/relationships/diagramColors" Target="../diagrams/colors2.xml"/><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2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14.xml"/><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B0A0E8D-AA73-BF40-7C1F-798C2E9C5DFA}"/>
              </a:ext>
            </a:extLst>
          </p:cNvPr>
          <p:cNvPicPr>
            <a:picLocks noChangeAspect="1"/>
          </p:cNvPicPr>
          <p:nvPr/>
        </p:nvPicPr>
        <p:blipFill rotWithShape="1">
          <a:blip r:embed="rId2">
            <a:alphaModFix amt="50000"/>
            <a:duotone>
              <a:prstClr val="black"/>
              <a:schemeClr val="accent5">
                <a:tint val="45000"/>
                <a:satMod val="400000"/>
              </a:schemeClr>
            </a:duotone>
            <a:extLst>
              <a:ext uri="{28A0092B-C50C-407E-A947-70E740481C1C}">
                <a14:useLocalDpi xmlns:a14="http://schemas.microsoft.com/office/drawing/2010/main" val="0"/>
              </a:ext>
            </a:extLst>
          </a:blip>
          <a:srcRect/>
          <a:stretch/>
        </p:blipFill>
        <p:spPr>
          <a:xfrm>
            <a:off x="0" y="0"/>
            <a:ext cx="12243515" cy="5169431"/>
          </a:xfrm>
          <a:prstGeom prst="rect">
            <a:avLst/>
          </a:prstGeom>
        </p:spPr>
      </p:pic>
      <p:pic>
        <p:nvPicPr>
          <p:cNvPr id="4" name="Picture Placeholder 6" descr="Logo&#10;&#10;Description automatically generated">
            <a:extLst>
              <a:ext uri="{FF2B5EF4-FFF2-40B4-BE49-F238E27FC236}">
                <a16:creationId xmlns:a16="http://schemas.microsoft.com/office/drawing/2014/main" id="{D6125A74-EB67-DC82-7CC1-CCE7933272FF}"/>
              </a:ext>
            </a:extLst>
          </p:cNvPr>
          <p:cNvPicPr>
            <a:picLocks noChangeAspect="1"/>
          </p:cNvPicPr>
          <p:nvPr/>
        </p:nvPicPr>
        <p:blipFill>
          <a:blip r:embed="rId3" cstate="print">
            <a:extLst>
              <a:ext uri="{28A0092B-C50C-407E-A947-70E740481C1C}">
                <a14:useLocalDpi xmlns:a14="http://schemas.microsoft.com/office/drawing/2010/main" val="0"/>
              </a:ext>
            </a:extLst>
          </a:blip>
          <a:srcRect l="15" r="15"/>
          <a:stretch>
            <a:fillRect/>
          </a:stretch>
        </p:blipFill>
        <p:spPr>
          <a:xfrm>
            <a:off x="10537722" y="5399397"/>
            <a:ext cx="1051742" cy="1051742"/>
          </a:xfrm>
          <a:prstGeom prst="rect">
            <a:avLst/>
          </a:prstGeom>
        </p:spPr>
      </p:pic>
      <p:sp>
        <p:nvSpPr>
          <p:cNvPr id="6" name="Title 2">
            <a:extLst>
              <a:ext uri="{FF2B5EF4-FFF2-40B4-BE49-F238E27FC236}">
                <a16:creationId xmlns:a16="http://schemas.microsoft.com/office/drawing/2014/main" id="{FDBA808B-3A1E-636B-1A7C-C703B1C2DAD1}"/>
              </a:ext>
            </a:extLst>
          </p:cNvPr>
          <p:cNvSpPr txBox="1">
            <a:spLocks/>
          </p:cNvSpPr>
          <p:nvPr/>
        </p:nvSpPr>
        <p:spPr bwMode="gray">
          <a:xfrm>
            <a:off x="381435" y="5726414"/>
            <a:ext cx="7172304" cy="603956"/>
          </a:xfrm>
          <a:prstGeom prst="rect">
            <a:avLst/>
          </a:prstGeom>
        </p:spPr>
        <p:txBody>
          <a:bodyPr vert="horz" lIns="0" tIns="0" rIns="0" bIns="0" rtlCol="0" anchor="b" anchorCtr="0">
            <a:noAutofit/>
          </a:bodyPr>
          <a:lstStyle>
            <a:lvl1pPr algn="l" defTabSz="9144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defTabSz="607344">
              <a:lnSpc>
                <a:spcPts val="2125"/>
              </a:lnSpc>
              <a:spcAft>
                <a:spcPts val="492"/>
              </a:spcAft>
              <a:defRPr/>
            </a:pPr>
            <a:r>
              <a:rPr lang="en-GB" sz="2125" b="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Louisiana Resilience Task Force March 4, 2024, 11:00 AM</a:t>
            </a:r>
          </a:p>
          <a:p>
            <a:pPr defTabSz="607344">
              <a:lnSpc>
                <a:spcPts val="2125"/>
              </a:lnSpc>
              <a:spcAft>
                <a:spcPts val="492"/>
              </a:spcAft>
              <a:defRPr/>
            </a:pPr>
            <a:r>
              <a:rPr lang="en-GB" sz="1328" b="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  </a:t>
            </a:r>
            <a:r>
              <a:rPr lang="en-GB" sz="2125" b="0" kern="1200" dirty="0">
                <a:solidFill>
                  <a:srgbClr val="186600"/>
                </a:solidFill>
                <a:latin typeface="Calibri Light" panose="020F0302020204030204" pitchFamily="34" charset="0"/>
                <a:ea typeface="Open Sans" panose="020B0606030504020204" pitchFamily="34" charset="0"/>
                <a:cs typeface="Calibri Light" panose="020F0302020204030204" pitchFamily="34" charset="0"/>
              </a:rPr>
              <a:t/>
            </a:r>
            <a:br>
              <a:rPr lang="en-GB" sz="2125" b="0" kern="1200" dirty="0">
                <a:solidFill>
                  <a:srgbClr val="186600"/>
                </a:solidFill>
                <a:latin typeface="Calibri Light" panose="020F0302020204030204" pitchFamily="34" charset="0"/>
                <a:ea typeface="Open Sans" panose="020B0606030504020204" pitchFamily="34" charset="0"/>
                <a:cs typeface="Calibri Light" panose="020F0302020204030204" pitchFamily="34" charset="0"/>
              </a:rPr>
            </a:br>
            <a:r>
              <a:rPr lang="en-US" sz="1993" b="0" kern="120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Stephen Swiber, Chief Resilience Officer</a:t>
            </a:r>
            <a:endParaRPr kumimoji="0" lang="en-US" sz="3000" b="0" i="0" u="none" strike="noStrike" kern="1200" cap="none" spc="0" normalizeH="0" baseline="0" noProof="0" dirty="0">
              <a:ln>
                <a:noFill/>
              </a:ln>
              <a:solidFill>
                <a:sysClr val="windowText" lastClr="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796131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a:bodyPr>
          <a:lstStyle/>
          <a:p>
            <a:pPr defTabSz="1219165">
              <a:lnSpc>
                <a:spcPct val="150000"/>
              </a:lnSpc>
              <a:spcBef>
                <a:spcPts val="0"/>
              </a:spcBef>
              <a:buSzPct val="100000"/>
              <a:defRPr/>
            </a:pPr>
            <a:r>
              <a:rPr lang="en-US" sz="24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t>Why Resilience Beyond Just Coastal?</a:t>
            </a:r>
            <a:endParaRPr lang="en-US" sz="1600" dirty="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pic>
        <p:nvPicPr>
          <p:cNvPr id="3" name="Picture 2">
            <a:extLst>
              <a:ext uri="{FF2B5EF4-FFF2-40B4-BE49-F238E27FC236}">
                <a16:creationId xmlns:a16="http://schemas.microsoft.com/office/drawing/2014/main" id="{92FA08BB-2AA9-8B4D-3EC1-88EBA03E499A}"/>
              </a:ext>
            </a:extLst>
          </p:cNvPr>
          <p:cNvPicPr>
            <a:picLocks noChangeAspect="1"/>
          </p:cNvPicPr>
          <p:nvPr/>
        </p:nvPicPr>
        <p:blipFill>
          <a:blip r:embed="rId3"/>
          <a:stretch>
            <a:fillRect/>
          </a:stretch>
        </p:blipFill>
        <p:spPr>
          <a:xfrm>
            <a:off x="1723100" y="1834742"/>
            <a:ext cx="8549377" cy="4552747"/>
          </a:xfrm>
          <a:prstGeom prst="rect">
            <a:avLst/>
          </a:prstGeom>
        </p:spPr>
      </p:pic>
      <p:sp>
        <p:nvSpPr>
          <p:cNvPr id="9" name="TextBox 8">
            <a:extLst>
              <a:ext uri="{FF2B5EF4-FFF2-40B4-BE49-F238E27FC236}">
                <a16:creationId xmlns:a16="http://schemas.microsoft.com/office/drawing/2014/main" id="{DD36CE04-B54A-02A4-49D7-CD2F6D33B2C7}"/>
              </a:ext>
            </a:extLst>
          </p:cNvPr>
          <p:cNvSpPr txBox="1"/>
          <p:nvPr/>
        </p:nvSpPr>
        <p:spPr>
          <a:xfrm>
            <a:off x="306270" y="6466395"/>
            <a:ext cx="6107594" cy="215444"/>
          </a:xfrm>
          <a:prstGeom prst="rect">
            <a:avLst/>
          </a:prstGeom>
          <a:noFill/>
        </p:spPr>
        <p:txBody>
          <a:bodyPr wrap="square">
            <a:spAutoFit/>
          </a:bodyPr>
          <a:lstStyle/>
          <a:p>
            <a:r>
              <a:rPr lang="en-US" sz="800" dirty="0">
                <a:hlinkClick r:id="rId4"/>
              </a:rPr>
              <a:t>Louisiana Summary | Billion-Dollar Weather and Climate Disasters | National Centers for Environmental Information (NCEI) (noaa.gov)</a:t>
            </a:r>
            <a:endParaRPr lang="en-US" sz="800" dirty="0"/>
          </a:p>
        </p:txBody>
      </p:sp>
      <p:sp>
        <p:nvSpPr>
          <p:cNvPr id="14" name="TextBox 13">
            <a:extLst>
              <a:ext uri="{FF2B5EF4-FFF2-40B4-BE49-F238E27FC236}">
                <a16:creationId xmlns:a16="http://schemas.microsoft.com/office/drawing/2014/main" id="{C14EB365-A780-1399-FBF1-972099717F84}"/>
              </a:ext>
            </a:extLst>
          </p:cNvPr>
          <p:cNvSpPr txBox="1"/>
          <p:nvPr/>
        </p:nvSpPr>
        <p:spPr>
          <a:xfrm>
            <a:off x="436369" y="1096078"/>
            <a:ext cx="11122840" cy="738664"/>
          </a:xfrm>
          <a:prstGeom prst="rect">
            <a:avLst/>
          </a:prstGeom>
          <a:noFill/>
        </p:spPr>
        <p:txBody>
          <a:bodyPr wrap="square">
            <a:spAutoFit/>
          </a:bodyPr>
          <a:lstStyle/>
          <a:p>
            <a:r>
              <a:rPr lang="en-US" sz="1400" dirty="0">
                <a:latin typeface="Open Sans" panose="020B0606030504020204" pitchFamily="34" charset="0"/>
                <a:ea typeface="Open Sans" panose="020B0606030504020204" pitchFamily="34" charset="0"/>
                <a:cs typeface="Open Sans" panose="020B0606030504020204" pitchFamily="34" charset="0"/>
              </a:rPr>
              <a:t>From 1980-2023 of the 96 separate, billion-dollar weather and climate disasters recorded by NOAA, there were 14 droughts, 10 floods, 1 freeze, 37 severe storm events, 25 tropical cyclones, and 9 winter storm events. Wildfires are a growing threat. </a:t>
            </a:r>
          </a:p>
          <a:p>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666641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a:bodyPr>
          <a:lstStyle/>
          <a:p>
            <a:pPr defTabSz="1219165">
              <a:lnSpc>
                <a:spcPct val="150000"/>
              </a:lnSpc>
              <a:spcBef>
                <a:spcPts val="0"/>
              </a:spcBef>
              <a:buSzPct val="100000"/>
              <a:defRPr/>
            </a:pPr>
            <a:r>
              <a:rPr lang="en-US" sz="24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t>Why Resilience Beyond Just Coastal?</a:t>
            </a:r>
            <a:endParaRPr lang="en-US" sz="1600" dirty="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9" name="TextBox 8">
            <a:extLst>
              <a:ext uri="{FF2B5EF4-FFF2-40B4-BE49-F238E27FC236}">
                <a16:creationId xmlns:a16="http://schemas.microsoft.com/office/drawing/2014/main" id="{DD36CE04-B54A-02A4-49D7-CD2F6D33B2C7}"/>
              </a:ext>
            </a:extLst>
          </p:cNvPr>
          <p:cNvSpPr txBox="1"/>
          <p:nvPr/>
        </p:nvSpPr>
        <p:spPr>
          <a:xfrm>
            <a:off x="306270" y="6466395"/>
            <a:ext cx="6107594" cy="215444"/>
          </a:xfrm>
          <a:prstGeom prst="rect">
            <a:avLst/>
          </a:prstGeom>
          <a:noFill/>
        </p:spPr>
        <p:txBody>
          <a:bodyPr wrap="square">
            <a:spAutoFit/>
          </a:bodyPr>
          <a:lstStyle/>
          <a:p>
            <a:r>
              <a:rPr lang="en-US" sz="800" dirty="0">
                <a:hlinkClick r:id="rId3"/>
              </a:rPr>
              <a:t>Louisiana Summary | Billion-Dollar Weather and Climate Disasters | National Centers for Environmental Information (NCEI) (noaa.gov)</a:t>
            </a:r>
            <a:endParaRPr lang="en-US" sz="800" dirty="0"/>
          </a:p>
        </p:txBody>
      </p:sp>
      <p:sp>
        <p:nvSpPr>
          <p:cNvPr id="14" name="TextBox 13">
            <a:extLst>
              <a:ext uri="{FF2B5EF4-FFF2-40B4-BE49-F238E27FC236}">
                <a16:creationId xmlns:a16="http://schemas.microsoft.com/office/drawing/2014/main" id="{C14EB365-A780-1399-FBF1-972099717F84}"/>
              </a:ext>
            </a:extLst>
          </p:cNvPr>
          <p:cNvSpPr txBox="1"/>
          <p:nvPr/>
        </p:nvSpPr>
        <p:spPr>
          <a:xfrm>
            <a:off x="436369" y="1096078"/>
            <a:ext cx="11122840" cy="523220"/>
          </a:xfrm>
          <a:prstGeom prst="rect">
            <a:avLst/>
          </a:prstGeom>
          <a:noFill/>
        </p:spPr>
        <p:txBody>
          <a:bodyPr wrap="square">
            <a:spAutoFit/>
          </a:bodyPr>
          <a:lstStyle/>
          <a:p>
            <a:r>
              <a:rPr lang="en-US" sz="1400">
                <a:latin typeface="Open Sans" panose="020B0606030504020204" pitchFamily="34" charset="0"/>
                <a:ea typeface="Open Sans" panose="020B0606030504020204" pitchFamily="34" charset="0"/>
                <a:cs typeface="Open Sans" panose="020B0606030504020204" pitchFamily="34" charset="0"/>
              </a:rPr>
              <a:t>Disaster risk is not relegated to only coastal regions of the state, nor is it confined to tropical storm events or flooding. </a:t>
            </a:r>
          </a:p>
          <a:p>
            <a:r>
              <a:rPr lang="en-US" sz="1400">
                <a:latin typeface="Open Sans" panose="020B0606030504020204" pitchFamily="34" charset="0"/>
                <a:ea typeface="Open Sans" panose="020B0606030504020204" pitchFamily="34" charset="0"/>
                <a:cs typeface="Open Sans" panose="020B0606030504020204" pitchFamily="34" charset="0"/>
              </a:rPr>
              <a:t>Resilience efforts must expand to include more hazards, all areas of the state, and additional partners outside of state government</a:t>
            </a:r>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7F4CE161-960B-5A8A-D411-8B6CEFC464F2}"/>
              </a:ext>
            </a:extLst>
          </p:cNvPr>
          <p:cNvPicPr>
            <a:picLocks noChangeAspect="1"/>
          </p:cNvPicPr>
          <p:nvPr/>
        </p:nvPicPr>
        <p:blipFill>
          <a:blip r:embed="rId4"/>
          <a:stretch>
            <a:fillRect/>
          </a:stretch>
        </p:blipFill>
        <p:spPr>
          <a:xfrm>
            <a:off x="1841774" y="1632580"/>
            <a:ext cx="8430703" cy="4683083"/>
          </a:xfrm>
          <a:prstGeom prst="rect">
            <a:avLst/>
          </a:prstGeom>
        </p:spPr>
      </p:pic>
    </p:spTree>
    <p:extLst>
      <p:ext uri="{BB962C8B-B14F-4D97-AF65-F5344CB8AC3E}">
        <p14:creationId xmlns:p14="http://schemas.microsoft.com/office/powerpoint/2010/main" val="17665716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a:bodyPr>
          <a:lstStyle/>
          <a:p>
            <a:pPr defTabSz="1219165">
              <a:lnSpc>
                <a:spcPct val="150000"/>
              </a:lnSpc>
              <a:spcBef>
                <a:spcPts val="0"/>
              </a:spcBef>
              <a:buSzPct val="100000"/>
              <a:defRPr/>
            </a:pPr>
            <a:r>
              <a:rPr lang="en-US" sz="24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t>How can the Chief Resilience Officer Serve You?</a:t>
            </a:r>
            <a:endParaRPr lang="en-US" sz="1600" dirty="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4" name="TextBox 3">
            <a:extLst>
              <a:ext uri="{FF2B5EF4-FFF2-40B4-BE49-F238E27FC236}">
                <a16:creationId xmlns:a16="http://schemas.microsoft.com/office/drawing/2014/main" id="{D6605775-1AF8-333E-D95B-6B8CBFA32D9C}"/>
              </a:ext>
            </a:extLst>
          </p:cNvPr>
          <p:cNvSpPr txBox="1"/>
          <p:nvPr/>
        </p:nvSpPr>
        <p:spPr>
          <a:xfrm>
            <a:off x="460541" y="1080002"/>
            <a:ext cx="6828533" cy="4632037"/>
          </a:xfrm>
          <a:prstGeom prst="rect">
            <a:avLst/>
          </a:prstGeom>
          <a:noFill/>
        </p:spPr>
        <p:txBody>
          <a:bodyPr wrap="square" lIns="0" tIns="0" rIns="0" bIns="0" rtlCol="0">
            <a:spAutoFit/>
          </a:bodyPr>
          <a:lstStyle/>
          <a:p>
            <a:pPr>
              <a:lnSpc>
                <a:spcPct val="150000"/>
              </a:lnSpc>
              <a:spcBef>
                <a:spcPts val="600"/>
              </a:spcBef>
              <a:buSzPct val="100000"/>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As the CRO, I:</a:t>
            </a:r>
          </a:p>
          <a:p>
            <a:pPr marL="285750" indent="-285750">
              <a:lnSpc>
                <a:spcPct val="150000"/>
              </a:lnSpc>
              <a:spcBef>
                <a:spcPts val="600"/>
              </a:spcBef>
              <a:buSzPct val="100000"/>
              <a:buFont typeface="Arial" panose="020B0604020202020204" pitchFamily="34" charset="0"/>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Provide coordination and strategic direction on resilience</a:t>
            </a:r>
          </a:p>
          <a:p>
            <a:pPr marL="285750" indent="-285750">
              <a:lnSpc>
                <a:spcPct val="150000"/>
              </a:lnSpc>
              <a:spcBef>
                <a:spcPts val="600"/>
              </a:spcBef>
              <a:buSzPct val="100000"/>
              <a:buFont typeface="Arial" panose="020B0604020202020204" pitchFamily="34" charset="0"/>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Make recommendations to the legislature and congress with respect to Louisiana’s resilience</a:t>
            </a:r>
          </a:p>
          <a:p>
            <a:pPr marL="285750" indent="-285750">
              <a:lnSpc>
                <a:spcPct val="150000"/>
              </a:lnSpc>
              <a:spcBef>
                <a:spcPts val="600"/>
              </a:spcBef>
              <a:buSzPct val="100000"/>
              <a:buFont typeface="Arial" panose="020B0604020202020204" pitchFamily="34" charset="0"/>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Pursue funding</a:t>
            </a:r>
          </a:p>
          <a:p>
            <a:pPr marL="285750" indent="-285750">
              <a:lnSpc>
                <a:spcPct val="150000"/>
              </a:lnSpc>
              <a:spcBef>
                <a:spcPts val="600"/>
              </a:spcBef>
              <a:buSzPct val="100000"/>
              <a:buFont typeface="Arial" panose="020B0604020202020204" pitchFamily="34" charset="0"/>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Support planning efforts across state agencies</a:t>
            </a:r>
          </a:p>
          <a:p>
            <a:pPr marL="285750" indent="-285750">
              <a:lnSpc>
                <a:spcPct val="150000"/>
              </a:lnSpc>
              <a:spcBef>
                <a:spcPts val="600"/>
              </a:spcBef>
              <a:buSzPct val="100000"/>
              <a:buFont typeface="Arial" panose="020B0604020202020204" pitchFamily="34" charset="0"/>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Provide technical guidance to agencies and local jurisdictions </a:t>
            </a:r>
          </a:p>
          <a:p>
            <a:pPr marL="285750" indent="-285750">
              <a:lnSpc>
                <a:spcPct val="150000"/>
              </a:lnSpc>
              <a:spcBef>
                <a:spcPts val="600"/>
              </a:spcBef>
              <a:buSzPct val="100000"/>
              <a:buFont typeface="Arial" panose="020B0604020202020204" pitchFamily="34" charset="0"/>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Convene, report, and listen to stakeholders and the public</a:t>
            </a:r>
          </a:p>
          <a:p>
            <a:pPr marL="285750" indent="-285750">
              <a:lnSpc>
                <a:spcPct val="150000"/>
              </a:lnSpc>
              <a:spcBef>
                <a:spcPts val="600"/>
              </a:spcBef>
              <a:buSzPct val="100000"/>
              <a:buFont typeface="Arial" panose="020B0604020202020204" pitchFamily="34" charset="0"/>
              <a:buChar char="•"/>
            </a:pPr>
            <a:r>
              <a:rPr lang="en-US">
                <a:solidFill>
                  <a:srgbClr val="313131"/>
                </a:solidFill>
                <a:latin typeface="Open Sans" panose="020B0606030504020204" pitchFamily="34" charset="0"/>
                <a:ea typeface="Open Sans" panose="020B0606030504020204" pitchFamily="34" charset="0"/>
                <a:cs typeface="Open Sans" panose="020B0606030504020204" pitchFamily="34" charset="0"/>
              </a:rPr>
              <a:t>Produce an Annual Report available to the public</a:t>
            </a:r>
            <a:endParaRPr lang="en-US" i="1">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285750" indent="-285750">
              <a:spcBef>
                <a:spcPts val="600"/>
              </a:spcBef>
              <a:buSzPct val="100000"/>
              <a:buFont typeface="Arial" panose="020B0604020202020204" pitchFamily="34" charset="0"/>
              <a:buChar char="•"/>
            </a:pPr>
            <a:endParaRPr lang="en-US">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 name="Group 537">
            <a:extLst>
              <a:ext uri="{FF2B5EF4-FFF2-40B4-BE49-F238E27FC236}">
                <a16:creationId xmlns:a16="http://schemas.microsoft.com/office/drawing/2014/main" id="{60CB6BC4-7608-D72D-EAC5-C4A142CD3C8E}"/>
              </a:ext>
            </a:extLst>
          </p:cNvPr>
          <p:cNvGrpSpPr>
            <a:grpSpLocks noChangeAspect="1"/>
          </p:cNvGrpSpPr>
          <p:nvPr/>
        </p:nvGrpSpPr>
        <p:grpSpPr bwMode="auto">
          <a:xfrm>
            <a:off x="7504692" y="3266118"/>
            <a:ext cx="275987" cy="275988"/>
            <a:chOff x="3877" y="2753"/>
            <a:chExt cx="340" cy="340"/>
          </a:xfrm>
          <a:solidFill>
            <a:schemeClr val="bg1"/>
          </a:solidFill>
        </p:grpSpPr>
        <p:sp>
          <p:nvSpPr>
            <p:cNvPr id="11" name="Freeform 538">
              <a:extLst>
                <a:ext uri="{FF2B5EF4-FFF2-40B4-BE49-F238E27FC236}">
                  <a16:creationId xmlns:a16="http://schemas.microsoft.com/office/drawing/2014/main" id="{9A1D6A51-52EF-8B3A-E1D6-626BD5E06200}"/>
                </a:ext>
              </a:extLst>
            </p:cNvPr>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13" name="Freeform 539">
              <a:extLst>
                <a:ext uri="{FF2B5EF4-FFF2-40B4-BE49-F238E27FC236}">
                  <a16:creationId xmlns:a16="http://schemas.microsoft.com/office/drawing/2014/main" id="{F5C8A6EB-C00E-365C-E459-245C3BA9C8F6}"/>
                </a:ext>
              </a:extLst>
            </p:cNvPr>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grpSp>
      <p:pic>
        <p:nvPicPr>
          <p:cNvPr id="14" name="Picture 13" descr="A diagram of the state of louisiana resilience&#10;&#10;Description automatically generated">
            <a:extLst>
              <a:ext uri="{FF2B5EF4-FFF2-40B4-BE49-F238E27FC236}">
                <a16:creationId xmlns:a16="http://schemas.microsoft.com/office/drawing/2014/main" id="{049A83EE-B85F-32C2-3078-35D7FDA5F7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4692" y="1516102"/>
            <a:ext cx="4013767" cy="4052005"/>
          </a:xfrm>
          <a:prstGeom prst="rect">
            <a:avLst/>
          </a:prstGeom>
        </p:spPr>
      </p:pic>
      <p:sp>
        <p:nvSpPr>
          <p:cNvPr id="18" name="Rectangle 17">
            <a:extLst>
              <a:ext uri="{FF2B5EF4-FFF2-40B4-BE49-F238E27FC236}">
                <a16:creationId xmlns:a16="http://schemas.microsoft.com/office/drawing/2014/main" id="{73218E9C-4821-9D1F-5904-ABAEE39294B7}"/>
              </a:ext>
            </a:extLst>
          </p:cNvPr>
          <p:cNvSpPr/>
          <p:nvPr/>
        </p:nvSpPr>
        <p:spPr bwMode="gray">
          <a:xfrm>
            <a:off x="673541" y="5351288"/>
            <a:ext cx="6101728" cy="1005974"/>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a:solidFill>
                  <a:srgbClr val="002060"/>
                </a:solidFill>
              </a:rPr>
              <a:t>The creation of a CRO at the state level enables leaders to plan effectively across state, parish, and municipal levels, marking significant progress in safeguarding communities</a:t>
            </a:r>
          </a:p>
        </p:txBody>
      </p:sp>
    </p:spTree>
    <p:extLst>
      <p:ext uri="{BB962C8B-B14F-4D97-AF65-F5344CB8AC3E}">
        <p14:creationId xmlns:p14="http://schemas.microsoft.com/office/powerpoint/2010/main" val="215911004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Pillars of Resilience in Louisiana</a:t>
            </a: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grpSp>
        <p:nvGrpSpPr>
          <p:cNvPr id="10" name="Group 537">
            <a:extLst>
              <a:ext uri="{FF2B5EF4-FFF2-40B4-BE49-F238E27FC236}">
                <a16:creationId xmlns:a16="http://schemas.microsoft.com/office/drawing/2014/main" id="{60CB6BC4-7608-D72D-EAC5-C4A142CD3C8E}"/>
              </a:ext>
            </a:extLst>
          </p:cNvPr>
          <p:cNvGrpSpPr>
            <a:grpSpLocks noChangeAspect="1"/>
          </p:cNvGrpSpPr>
          <p:nvPr/>
        </p:nvGrpSpPr>
        <p:grpSpPr bwMode="auto">
          <a:xfrm>
            <a:off x="7504692" y="3266118"/>
            <a:ext cx="275987" cy="275988"/>
            <a:chOff x="3877" y="2753"/>
            <a:chExt cx="340" cy="340"/>
          </a:xfrm>
          <a:solidFill>
            <a:schemeClr val="bg1"/>
          </a:solidFill>
        </p:grpSpPr>
        <p:sp>
          <p:nvSpPr>
            <p:cNvPr id="11" name="Freeform 538">
              <a:extLst>
                <a:ext uri="{FF2B5EF4-FFF2-40B4-BE49-F238E27FC236}">
                  <a16:creationId xmlns:a16="http://schemas.microsoft.com/office/drawing/2014/main" id="{9A1D6A51-52EF-8B3A-E1D6-626BD5E06200}"/>
                </a:ext>
              </a:extLst>
            </p:cNvPr>
            <p:cNvSpPr>
              <a:spLocks noEditPoints="1"/>
            </p:cNvSpPr>
            <p:nvPr/>
          </p:nvSpPr>
          <p:spPr bwMode="auto">
            <a:xfrm>
              <a:off x="3941" y="2817"/>
              <a:ext cx="212" cy="184"/>
            </a:xfrm>
            <a:custGeom>
              <a:avLst/>
              <a:gdLst>
                <a:gd name="T0" fmla="*/ 299 w 320"/>
                <a:gd name="T1" fmla="*/ 256 h 278"/>
                <a:gd name="T2" fmla="*/ 288 w 320"/>
                <a:gd name="T3" fmla="*/ 107 h 278"/>
                <a:gd name="T4" fmla="*/ 245 w 320"/>
                <a:gd name="T5" fmla="*/ 64 h 278"/>
                <a:gd name="T6" fmla="*/ 224 w 320"/>
                <a:gd name="T7" fmla="*/ 64 h 278"/>
                <a:gd name="T8" fmla="*/ 171 w 320"/>
                <a:gd name="T9" fmla="*/ 107 h 278"/>
                <a:gd name="T10" fmla="*/ 160 w 320"/>
                <a:gd name="T11" fmla="*/ 54 h 278"/>
                <a:gd name="T12" fmla="*/ 149 w 320"/>
                <a:gd name="T13" fmla="*/ 107 h 278"/>
                <a:gd name="T14" fmla="*/ 96 w 320"/>
                <a:gd name="T15" fmla="*/ 64 h 278"/>
                <a:gd name="T16" fmla="*/ 75 w 320"/>
                <a:gd name="T17" fmla="*/ 64 h 278"/>
                <a:gd name="T18" fmla="*/ 32 w 320"/>
                <a:gd name="T19" fmla="*/ 107 h 278"/>
                <a:gd name="T20" fmla="*/ 21 w 320"/>
                <a:gd name="T21" fmla="*/ 256 h 278"/>
                <a:gd name="T22" fmla="*/ 0 w 320"/>
                <a:gd name="T23" fmla="*/ 267 h 278"/>
                <a:gd name="T24" fmla="*/ 32 w 320"/>
                <a:gd name="T25" fmla="*/ 278 h 278"/>
                <a:gd name="T26" fmla="*/ 309 w 320"/>
                <a:gd name="T27" fmla="*/ 278 h 278"/>
                <a:gd name="T28" fmla="*/ 309 w 320"/>
                <a:gd name="T29" fmla="*/ 256 h 278"/>
                <a:gd name="T30" fmla="*/ 277 w 320"/>
                <a:gd name="T31" fmla="*/ 179 h 278"/>
                <a:gd name="T32" fmla="*/ 237 w 320"/>
                <a:gd name="T33" fmla="*/ 160 h 278"/>
                <a:gd name="T34" fmla="*/ 186 w 320"/>
                <a:gd name="T35" fmla="*/ 182 h 278"/>
                <a:gd name="T36" fmla="*/ 134 w 320"/>
                <a:gd name="T37" fmla="*/ 160 h 278"/>
                <a:gd name="T38" fmla="*/ 83 w 320"/>
                <a:gd name="T39" fmla="*/ 182 h 278"/>
                <a:gd name="T40" fmla="*/ 43 w 320"/>
                <a:gd name="T41" fmla="*/ 161 h 278"/>
                <a:gd name="T42" fmla="*/ 277 w 320"/>
                <a:gd name="T43" fmla="*/ 128 h 278"/>
                <a:gd name="T44" fmla="*/ 43 w 320"/>
                <a:gd name="T45" fmla="*/ 184 h 278"/>
                <a:gd name="T46" fmla="*/ 83 w 320"/>
                <a:gd name="T47" fmla="*/ 203 h 278"/>
                <a:gd name="T48" fmla="*/ 134 w 320"/>
                <a:gd name="T49" fmla="*/ 182 h 278"/>
                <a:gd name="T50" fmla="*/ 186 w 320"/>
                <a:gd name="T51" fmla="*/ 203 h 278"/>
                <a:gd name="T52" fmla="*/ 237 w 320"/>
                <a:gd name="T53" fmla="*/ 182 h 278"/>
                <a:gd name="T54" fmla="*/ 277 w 320"/>
                <a:gd name="T55" fmla="*/ 202 h 278"/>
                <a:gd name="T56" fmla="*/ 43 w 320"/>
                <a:gd name="T57" fmla="*/ 256 h 278"/>
                <a:gd name="T58" fmla="*/ 75 w 320"/>
                <a:gd name="T59" fmla="*/ 11 h 278"/>
                <a:gd name="T60" fmla="*/ 96 w 320"/>
                <a:gd name="T61" fmla="*/ 11 h 278"/>
                <a:gd name="T62" fmla="*/ 85 w 320"/>
                <a:gd name="T63" fmla="*/ 32 h 278"/>
                <a:gd name="T64" fmla="*/ 149 w 320"/>
                <a:gd name="T65" fmla="*/ 22 h 278"/>
                <a:gd name="T66" fmla="*/ 160 w 320"/>
                <a:gd name="T67" fmla="*/ 0 h 278"/>
                <a:gd name="T68" fmla="*/ 171 w 320"/>
                <a:gd name="T69" fmla="*/ 22 h 278"/>
                <a:gd name="T70" fmla="*/ 149 w 320"/>
                <a:gd name="T71" fmla="*/ 22 h 278"/>
                <a:gd name="T72" fmla="*/ 224 w 320"/>
                <a:gd name="T73" fmla="*/ 11 h 278"/>
                <a:gd name="T74" fmla="*/ 245 w 320"/>
                <a:gd name="T75" fmla="*/ 11 h 278"/>
                <a:gd name="T76" fmla="*/ 235 w 320"/>
                <a:gd name="T77" fmla="*/ 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0" h="278">
                  <a:moveTo>
                    <a:pt x="309" y="256"/>
                  </a:moveTo>
                  <a:cubicBezTo>
                    <a:pt x="299" y="256"/>
                    <a:pt x="299" y="256"/>
                    <a:pt x="299" y="256"/>
                  </a:cubicBezTo>
                  <a:cubicBezTo>
                    <a:pt x="299" y="118"/>
                    <a:pt x="299" y="118"/>
                    <a:pt x="299" y="118"/>
                  </a:cubicBezTo>
                  <a:cubicBezTo>
                    <a:pt x="299" y="112"/>
                    <a:pt x="294" y="107"/>
                    <a:pt x="288" y="107"/>
                  </a:cubicBezTo>
                  <a:cubicBezTo>
                    <a:pt x="245" y="107"/>
                    <a:pt x="245" y="107"/>
                    <a:pt x="245" y="107"/>
                  </a:cubicBezTo>
                  <a:cubicBezTo>
                    <a:pt x="245" y="64"/>
                    <a:pt x="245" y="64"/>
                    <a:pt x="245" y="64"/>
                  </a:cubicBezTo>
                  <a:cubicBezTo>
                    <a:pt x="245" y="58"/>
                    <a:pt x="241" y="54"/>
                    <a:pt x="235" y="54"/>
                  </a:cubicBezTo>
                  <a:cubicBezTo>
                    <a:pt x="229" y="54"/>
                    <a:pt x="224" y="58"/>
                    <a:pt x="224" y="64"/>
                  </a:cubicBezTo>
                  <a:cubicBezTo>
                    <a:pt x="224" y="107"/>
                    <a:pt x="224" y="107"/>
                    <a:pt x="224" y="107"/>
                  </a:cubicBezTo>
                  <a:cubicBezTo>
                    <a:pt x="171" y="107"/>
                    <a:pt x="171" y="107"/>
                    <a:pt x="171" y="107"/>
                  </a:cubicBezTo>
                  <a:cubicBezTo>
                    <a:pt x="171" y="64"/>
                    <a:pt x="171" y="64"/>
                    <a:pt x="171" y="64"/>
                  </a:cubicBezTo>
                  <a:cubicBezTo>
                    <a:pt x="171" y="58"/>
                    <a:pt x="166" y="54"/>
                    <a:pt x="160" y="54"/>
                  </a:cubicBezTo>
                  <a:cubicBezTo>
                    <a:pt x="154" y="54"/>
                    <a:pt x="149" y="58"/>
                    <a:pt x="149" y="64"/>
                  </a:cubicBezTo>
                  <a:cubicBezTo>
                    <a:pt x="149" y="107"/>
                    <a:pt x="149" y="107"/>
                    <a:pt x="149" y="107"/>
                  </a:cubicBezTo>
                  <a:cubicBezTo>
                    <a:pt x="96" y="107"/>
                    <a:pt x="96" y="107"/>
                    <a:pt x="96" y="107"/>
                  </a:cubicBezTo>
                  <a:cubicBezTo>
                    <a:pt x="96" y="64"/>
                    <a:pt x="96" y="64"/>
                    <a:pt x="96" y="64"/>
                  </a:cubicBezTo>
                  <a:cubicBezTo>
                    <a:pt x="96" y="58"/>
                    <a:pt x="91" y="54"/>
                    <a:pt x="85" y="54"/>
                  </a:cubicBezTo>
                  <a:cubicBezTo>
                    <a:pt x="79" y="54"/>
                    <a:pt x="75" y="58"/>
                    <a:pt x="75" y="64"/>
                  </a:cubicBezTo>
                  <a:cubicBezTo>
                    <a:pt x="75" y="107"/>
                    <a:pt x="75" y="107"/>
                    <a:pt x="75" y="107"/>
                  </a:cubicBezTo>
                  <a:cubicBezTo>
                    <a:pt x="32" y="107"/>
                    <a:pt x="32" y="107"/>
                    <a:pt x="32" y="107"/>
                  </a:cubicBezTo>
                  <a:cubicBezTo>
                    <a:pt x="26" y="107"/>
                    <a:pt x="21" y="112"/>
                    <a:pt x="21" y="118"/>
                  </a:cubicBezTo>
                  <a:cubicBezTo>
                    <a:pt x="21" y="256"/>
                    <a:pt x="21" y="256"/>
                    <a:pt x="21" y="256"/>
                  </a:cubicBezTo>
                  <a:cubicBezTo>
                    <a:pt x="11" y="256"/>
                    <a:pt x="11" y="256"/>
                    <a:pt x="11" y="256"/>
                  </a:cubicBezTo>
                  <a:cubicBezTo>
                    <a:pt x="5" y="256"/>
                    <a:pt x="0" y="261"/>
                    <a:pt x="0" y="267"/>
                  </a:cubicBezTo>
                  <a:cubicBezTo>
                    <a:pt x="0" y="273"/>
                    <a:pt x="5" y="278"/>
                    <a:pt x="11" y="278"/>
                  </a:cubicBezTo>
                  <a:cubicBezTo>
                    <a:pt x="32" y="278"/>
                    <a:pt x="32" y="278"/>
                    <a:pt x="32" y="278"/>
                  </a:cubicBezTo>
                  <a:cubicBezTo>
                    <a:pt x="288" y="278"/>
                    <a:pt x="288" y="278"/>
                    <a:pt x="288" y="278"/>
                  </a:cubicBezTo>
                  <a:cubicBezTo>
                    <a:pt x="309" y="278"/>
                    <a:pt x="309" y="278"/>
                    <a:pt x="309" y="278"/>
                  </a:cubicBezTo>
                  <a:cubicBezTo>
                    <a:pt x="315" y="278"/>
                    <a:pt x="320" y="273"/>
                    <a:pt x="320" y="267"/>
                  </a:cubicBezTo>
                  <a:cubicBezTo>
                    <a:pt x="320" y="261"/>
                    <a:pt x="315" y="256"/>
                    <a:pt x="309" y="256"/>
                  </a:cubicBezTo>
                  <a:close/>
                  <a:moveTo>
                    <a:pt x="277" y="128"/>
                  </a:moveTo>
                  <a:cubicBezTo>
                    <a:pt x="277" y="179"/>
                    <a:pt x="277" y="179"/>
                    <a:pt x="277" y="179"/>
                  </a:cubicBezTo>
                  <a:cubicBezTo>
                    <a:pt x="275" y="178"/>
                    <a:pt x="272" y="176"/>
                    <a:pt x="269" y="173"/>
                  </a:cubicBezTo>
                  <a:cubicBezTo>
                    <a:pt x="262" y="168"/>
                    <a:pt x="253" y="160"/>
                    <a:pt x="237" y="160"/>
                  </a:cubicBezTo>
                  <a:cubicBezTo>
                    <a:pt x="220" y="160"/>
                    <a:pt x="211" y="168"/>
                    <a:pt x="204" y="173"/>
                  </a:cubicBezTo>
                  <a:cubicBezTo>
                    <a:pt x="198" y="178"/>
                    <a:pt x="194" y="182"/>
                    <a:pt x="186" y="182"/>
                  </a:cubicBezTo>
                  <a:cubicBezTo>
                    <a:pt x="177" y="182"/>
                    <a:pt x="173" y="178"/>
                    <a:pt x="167" y="173"/>
                  </a:cubicBezTo>
                  <a:cubicBezTo>
                    <a:pt x="160" y="168"/>
                    <a:pt x="151" y="160"/>
                    <a:pt x="134" y="160"/>
                  </a:cubicBezTo>
                  <a:cubicBezTo>
                    <a:pt x="118" y="160"/>
                    <a:pt x="109" y="168"/>
                    <a:pt x="102" y="173"/>
                  </a:cubicBezTo>
                  <a:cubicBezTo>
                    <a:pt x="96" y="178"/>
                    <a:pt x="92" y="182"/>
                    <a:pt x="83" y="182"/>
                  </a:cubicBezTo>
                  <a:cubicBezTo>
                    <a:pt x="74" y="182"/>
                    <a:pt x="70" y="178"/>
                    <a:pt x="64" y="173"/>
                  </a:cubicBezTo>
                  <a:cubicBezTo>
                    <a:pt x="59" y="169"/>
                    <a:pt x="53" y="164"/>
                    <a:pt x="43" y="161"/>
                  </a:cubicBezTo>
                  <a:cubicBezTo>
                    <a:pt x="43" y="128"/>
                    <a:pt x="43" y="128"/>
                    <a:pt x="43" y="128"/>
                  </a:cubicBezTo>
                  <a:lnTo>
                    <a:pt x="277" y="128"/>
                  </a:lnTo>
                  <a:close/>
                  <a:moveTo>
                    <a:pt x="43" y="256"/>
                  </a:moveTo>
                  <a:cubicBezTo>
                    <a:pt x="43" y="184"/>
                    <a:pt x="43" y="184"/>
                    <a:pt x="43" y="184"/>
                  </a:cubicBezTo>
                  <a:cubicBezTo>
                    <a:pt x="45" y="185"/>
                    <a:pt x="48" y="187"/>
                    <a:pt x="51" y="190"/>
                  </a:cubicBezTo>
                  <a:cubicBezTo>
                    <a:pt x="58" y="196"/>
                    <a:pt x="66" y="203"/>
                    <a:pt x="83" y="203"/>
                  </a:cubicBezTo>
                  <a:cubicBezTo>
                    <a:pt x="100" y="203"/>
                    <a:pt x="109" y="196"/>
                    <a:pt x="116" y="190"/>
                  </a:cubicBezTo>
                  <a:cubicBezTo>
                    <a:pt x="121" y="185"/>
                    <a:pt x="125" y="182"/>
                    <a:pt x="134" y="182"/>
                  </a:cubicBezTo>
                  <a:cubicBezTo>
                    <a:pt x="143" y="182"/>
                    <a:pt x="147" y="185"/>
                    <a:pt x="153" y="190"/>
                  </a:cubicBezTo>
                  <a:cubicBezTo>
                    <a:pt x="160" y="196"/>
                    <a:pt x="169" y="203"/>
                    <a:pt x="186" y="203"/>
                  </a:cubicBezTo>
                  <a:cubicBezTo>
                    <a:pt x="202" y="203"/>
                    <a:pt x="211" y="196"/>
                    <a:pt x="218" y="190"/>
                  </a:cubicBezTo>
                  <a:cubicBezTo>
                    <a:pt x="224" y="185"/>
                    <a:pt x="228" y="182"/>
                    <a:pt x="237" y="182"/>
                  </a:cubicBezTo>
                  <a:cubicBezTo>
                    <a:pt x="246" y="182"/>
                    <a:pt x="250" y="185"/>
                    <a:pt x="256" y="190"/>
                  </a:cubicBezTo>
                  <a:cubicBezTo>
                    <a:pt x="261" y="194"/>
                    <a:pt x="267" y="200"/>
                    <a:pt x="277" y="202"/>
                  </a:cubicBezTo>
                  <a:cubicBezTo>
                    <a:pt x="277" y="256"/>
                    <a:pt x="277" y="256"/>
                    <a:pt x="277" y="256"/>
                  </a:cubicBezTo>
                  <a:lnTo>
                    <a:pt x="43" y="256"/>
                  </a:lnTo>
                  <a:close/>
                  <a:moveTo>
                    <a:pt x="75" y="22"/>
                  </a:moveTo>
                  <a:cubicBezTo>
                    <a:pt x="75" y="11"/>
                    <a:pt x="75" y="11"/>
                    <a:pt x="75" y="11"/>
                  </a:cubicBezTo>
                  <a:cubicBezTo>
                    <a:pt x="75" y="5"/>
                    <a:pt x="79" y="0"/>
                    <a:pt x="85" y="0"/>
                  </a:cubicBezTo>
                  <a:cubicBezTo>
                    <a:pt x="91" y="0"/>
                    <a:pt x="96" y="5"/>
                    <a:pt x="96" y="11"/>
                  </a:cubicBezTo>
                  <a:cubicBezTo>
                    <a:pt x="96" y="22"/>
                    <a:pt x="96" y="22"/>
                    <a:pt x="96" y="22"/>
                  </a:cubicBezTo>
                  <a:cubicBezTo>
                    <a:pt x="96" y="28"/>
                    <a:pt x="91" y="32"/>
                    <a:pt x="85" y="32"/>
                  </a:cubicBezTo>
                  <a:cubicBezTo>
                    <a:pt x="79" y="32"/>
                    <a:pt x="75" y="28"/>
                    <a:pt x="75" y="22"/>
                  </a:cubicBezTo>
                  <a:close/>
                  <a:moveTo>
                    <a:pt x="149" y="22"/>
                  </a:moveTo>
                  <a:cubicBezTo>
                    <a:pt x="149" y="11"/>
                    <a:pt x="149" y="11"/>
                    <a:pt x="149" y="11"/>
                  </a:cubicBezTo>
                  <a:cubicBezTo>
                    <a:pt x="149" y="5"/>
                    <a:pt x="154" y="0"/>
                    <a:pt x="160" y="0"/>
                  </a:cubicBezTo>
                  <a:cubicBezTo>
                    <a:pt x="166" y="0"/>
                    <a:pt x="171" y="5"/>
                    <a:pt x="171" y="11"/>
                  </a:cubicBezTo>
                  <a:cubicBezTo>
                    <a:pt x="171" y="22"/>
                    <a:pt x="171" y="22"/>
                    <a:pt x="171" y="22"/>
                  </a:cubicBezTo>
                  <a:cubicBezTo>
                    <a:pt x="171" y="28"/>
                    <a:pt x="166" y="32"/>
                    <a:pt x="160" y="32"/>
                  </a:cubicBezTo>
                  <a:cubicBezTo>
                    <a:pt x="154" y="32"/>
                    <a:pt x="149" y="28"/>
                    <a:pt x="149" y="22"/>
                  </a:cubicBezTo>
                  <a:close/>
                  <a:moveTo>
                    <a:pt x="224" y="22"/>
                  </a:moveTo>
                  <a:cubicBezTo>
                    <a:pt x="224" y="11"/>
                    <a:pt x="224" y="11"/>
                    <a:pt x="224" y="11"/>
                  </a:cubicBezTo>
                  <a:cubicBezTo>
                    <a:pt x="224" y="5"/>
                    <a:pt x="229" y="0"/>
                    <a:pt x="235" y="0"/>
                  </a:cubicBezTo>
                  <a:cubicBezTo>
                    <a:pt x="241" y="0"/>
                    <a:pt x="245" y="5"/>
                    <a:pt x="245" y="11"/>
                  </a:cubicBezTo>
                  <a:cubicBezTo>
                    <a:pt x="245" y="22"/>
                    <a:pt x="245" y="22"/>
                    <a:pt x="245" y="22"/>
                  </a:cubicBezTo>
                  <a:cubicBezTo>
                    <a:pt x="245" y="28"/>
                    <a:pt x="241" y="32"/>
                    <a:pt x="235" y="32"/>
                  </a:cubicBezTo>
                  <a:cubicBezTo>
                    <a:pt x="229" y="32"/>
                    <a:pt x="224" y="28"/>
                    <a:pt x="22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13" name="Freeform 539">
              <a:extLst>
                <a:ext uri="{FF2B5EF4-FFF2-40B4-BE49-F238E27FC236}">
                  <a16:creationId xmlns:a16="http://schemas.microsoft.com/office/drawing/2014/main" id="{F5C8A6EB-C00E-365C-E459-245C3BA9C8F6}"/>
                </a:ext>
              </a:extLst>
            </p:cNvPr>
            <p:cNvSpPr>
              <a:spLocks noEditPoints="1"/>
            </p:cNvSpPr>
            <p:nvPr/>
          </p:nvSpPr>
          <p:spPr bwMode="auto">
            <a:xfrm>
              <a:off x="3877" y="275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grpSp>
      <p:pic>
        <p:nvPicPr>
          <p:cNvPr id="2" name="Picture 1" descr="image">
            <a:extLst>
              <a:ext uri="{FF2B5EF4-FFF2-40B4-BE49-F238E27FC236}">
                <a16:creationId xmlns:a16="http://schemas.microsoft.com/office/drawing/2014/main" id="{3064B0F0-AF7D-B893-E6CB-46671C63BE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540" y="1477051"/>
            <a:ext cx="11183379" cy="40356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646830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t>Legislative History of the Resilience Task Force</a:t>
            </a:r>
            <a:r>
              <a:rPr lang="en-US" sz="16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dirty="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11" name="TextBox 10">
            <a:extLst>
              <a:ext uri="{FF2B5EF4-FFF2-40B4-BE49-F238E27FC236}">
                <a16:creationId xmlns:a16="http://schemas.microsoft.com/office/drawing/2014/main" id="{8D1FA664-CA92-56DD-8319-A63BDD7CC077}"/>
              </a:ext>
            </a:extLst>
          </p:cNvPr>
          <p:cNvSpPr txBox="1"/>
          <p:nvPr/>
        </p:nvSpPr>
        <p:spPr>
          <a:xfrm>
            <a:off x="616286" y="1122996"/>
            <a:ext cx="11004996" cy="4893647"/>
          </a:xfrm>
          <a:prstGeom prst="rect">
            <a:avLst/>
          </a:prstGeom>
          <a:noFill/>
        </p:spPr>
        <p:txBody>
          <a:bodyPr wrap="square">
            <a:spAutoFit/>
          </a:bodyPr>
          <a:lstStyle/>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220.46. Louisiana Resilience Task Force</a:t>
            </a:r>
          </a:p>
          <a:p>
            <a:pPr marL="0" marR="0" lvl="0" indent="0" algn="l" defTabSz="1024506" rtl="0" eaLnBrk="1" fontAlgn="auto" latinLnBrk="0" hangingPunct="1">
              <a:lnSpc>
                <a:spcPct val="100000"/>
              </a:lnSpc>
              <a:spcBef>
                <a:spcPts val="0"/>
              </a:spcBef>
              <a:spcAft>
                <a:spcPts val="0"/>
              </a:spcAft>
              <a:buClrTx/>
              <a:buSzTx/>
              <a:buFontTx/>
              <a:buNone/>
              <a:tabLst/>
              <a:defRPr/>
            </a:pPr>
            <a:endParaRPr lang="en-US" sz="1200" kern="0" dirty="0">
              <a:solidFill>
                <a:srgbClr val="000000"/>
              </a:solidFill>
              <a:latin typeface="Open Sans"/>
              <a:ea typeface="Open Sans Light" panose="020B0306030504020204" pitchFamily="34" charset="0"/>
              <a:cs typeface="Open Sans Light" panose="020B0306030504020204" pitchFamily="34" charset="0"/>
            </a:endParaRP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A. There is hereby established a Louisiana Resilience Task Force to provide strategic direction to resilience efforts across the state and to make recommendations to the chief resilience officer.</a:t>
            </a:r>
          </a:p>
          <a:p>
            <a:pPr marL="0" marR="0" lvl="0" indent="0" algn="l" defTabSz="1024506" rtl="0" eaLnBrk="1" fontAlgn="auto" latinLnBrk="0" hangingPunct="1">
              <a:lnSpc>
                <a:spcPct val="100000"/>
              </a:lnSpc>
              <a:spcBef>
                <a:spcPts val="0"/>
              </a:spcBef>
              <a:spcAft>
                <a:spcPts val="0"/>
              </a:spcAft>
              <a:buClrTx/>
              <a:buSzTx/>
              <a:buFontTx/>
              <a:buNone/>
              <a:tabLst/>
              <a:defRPr/>
            </a:pPr>
            <a:endParaRPr lang="en-US" sz="1200" kern="0" dirty="0">
              <a:solidFill>
                <a:srgbClr val="000000"/>
              </a:solidFill>
              <a:latin typeface="Open Sans"/>
              <a:ea typeface="Open Sans Light" panose="020B0306030504020204" pitchFamily="34" charset="0"/>
              <a:cs typeface="Open Sans Light" panose="020B0306030504020204" pitchFamily="34" charset="0"/>
            </a:endParaRP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B. The task force shall be composed of the following members:</a:t>
            </a:r>
          </a:p>
          <a:p>
            <a:pPr marL="0" marR="0" lvl="0" indent="0" algn="l" defTabSz="1024506" rtl="0" eaLnBrk="1" fontAlgn="auto" latinLnBrk="0" hangingPunct="1">
              <a:lnSpc>
                <a:spcPct val="100000"/>
              </a:lnSpc>
              <a:spcBef>
                <a:spcPts val="0"/>
              </a:spcBef>
              <a:spcAft>
                <a:spcPts val="0"/>
              </a:spcAft>
              <a:buClrTx/>
              <a:buSzTx/>
              <a:buFontTx/>
              <a:buNone/>
              <a:tabLst/>
              <a:defRPr/>
            </a:pPr>
            <a:endParaRPr lang="en-US" sz="1200" kern="0" dirty="0">
              <a:solidFill>
                <a:srgbClr val="000000"/>
              </a:solidFill>
              <a:latin typeface="Open Sans"/>
              <a:ea typeface="Open Sans Light" panose="020B0306030504020204" pitchFamily="34" charset="0"/>
              <a:cs typeface="Open Sans Light" panose="020B0306030504020204" pitchFamily="34" charset="0"/>
            </a:endParaRP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1) The chief resilience officer, who shall serve as chair and shall represent the views of the Interagency Resilience Coordination Team.</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2) The director of the Governor's Office of Homeland Security and Emergency Preparedness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3) The Governor's Executive Assistant for Coastal Activities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4) The commissioner of the division of administration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5) The commissioner of insurance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6) The secretary of the Department of Transportation and Development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7) The executive director of the Police Jury Association of Louisiana, Inc.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8) The executive director of the Parish Presidents of Louisiana Association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9) The speaker of the House of Representatives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10) The president of the Senate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11) The executive director of the Louisiana Municipal Association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12) A member from the Public Service Commission.</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13) The commissioner of higher education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14) The secretary of the Department of Children and Family Services or his designee.</a:t>
            </a:r>
          </a:p>
          <a:p>
            <a:pPr marL="0" marR="0" lvl="0" indent="0" algn="l" defTabSz="1024506" rtl="0" eaLnBrk="1" fontAlgn="auto" latinLnBrk="0" hangingPunct="1">
              <a:lnSpc>
                <a:spcPct val="100000"/>
              </a:lnSpc>
              <a:spcBef>
                <a:spcPts val="0"/>
              </a:spcBef>
              <a:spcAft>
                <a:spcPts val="0"/>
              </a:spcAft>
              <a:buClrTx/>
              <a:buSzTx/>
              <a:buFontTx/>
              <a:buNone/>
              <a:tabLst/>
              <a:defRPr/>
            </a:pPr>
            <a:endParaRPr lang="en-US" sz="1200" kern="0" dirty="0">
              <a:solidFill>
                <a:srgbClr val="000000"/>
              </a:solidFill>
              <a:latin typeface="Open Sans"/>
              <a:ea typeface="Open Sans Light" panose="020B0306030504020204" pitchFamily="34" charset="0"/>
              <a:cs typeface="Open Sans Light" panose="020B0306030504020204" pitchFamily="34" charset="0"/>
            </a:endParaRP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C. The task force shall meet quarterly and at the call of the chair.</a:t>
            </a:r>
          </a:p>
          <a:p>
            <a:pPr marL="0" marR="0" lvl="0" indent="0" algn="l" defTabSz="1024506" rtl="0" eaLnBrk="1" fontAlgn="auto" latinLnBrk="0" hangingPunct="1">
              <a:lnSpc>
                <a:spcPct val="100000"/>
              </a:lnSpc>
              <a:spcBef>
                <a:spcPts val="0"/>
              </a:spcBef>
              <a:spcAft>
                <a:spcPts val="0"/>
              </a:spcAft>
              <a:buClrTx/>
              <a:buSzTx/>
              <a:buFontTx/>
              <a:buNone/>
              <a:tabLst/>
              <a:defRPr/>
            </a:pPr>
            <a:endParaRPr lang="en-US" sz="1200" kern="0" dirty="0">
              <a:solidFill>
                <a:srgbClr val="000000"/>
              </a:solidFill>
              <a:latin typeface="Open Sans"/>
              <a:ea typeface="Open Sans Light" panose="020B0306030504020204" pitchFamily="34" charset="0"/>
              <a:cs typeface="Open Sans Light" panose="020B0306030504020204" pitchFamily="34" charset="0"/>
            </a:endParaRPr>
          </a:p>
          <a:p>
            <a:pPr marL="0" marR="0" lvl="0" indent="0" algn="l" defTabSz="1024506" rtl="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Open Sans"/>
                <a:ea typeface="Open Sans Light" panose="020B0306030504020204" pitchFamily="34" charset="0"/>
                <a:cs typeface="Open Sans Light" panose="020B0306030504020204" pitchFamily="34" charset="0"/>
              </a:rPr>
              <a:t>            Acts 2023, No. 315, §1, eff. June 13, 2023</a:t>
            </a:r>
            <a:endParaRPr kumimoji="0" lang="en-US" sz="1200" b="0" u="none" strike="noStrike" kern="0" cap="none" spc="0" normalizeH="0" baseline="0" noProof="0" dirty="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54111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Resilience Stakeholders in Louisiana </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25" name="Rectangle 24">
            <a:extLst>
              <a:ext uri="{FF2B5EF4-FFF2-40B4-BE49-F238E27FC236}">
                <a16:creationId xmlns:a16="http://schemas.microsoft.com/office/drawing/2014/main" id="{2CCE477A-F1AB-2031-476E-8A078267D914}"/>
              </a:ext>
            </a:extLst>
          </p:cNvPr>
          <p:cNvSpPr/>
          <p:nvPr/>
        </p:nvSpPr>
        <p:spPr bwMode="gray">
          <a:xfrm>
            <a:off x="6799531" y="5052266"/>
            <a:ext cx="4946056" cy="1269674"/>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a:solidFill>
                  <a:srgbClr val="002060"/>
                </a:solidFill>
              </a:rPr>
              <a:t>All the above stakeholders operate in public view, recognizing that the citizens of Louisiana are the most important stakeholders in enhancing resilience in our state.</a:t>
            </a:r>
          </a:p>
        </p:txBody>
      </p:sp>
      <p:sp>
        <p:nvSpPr>
          <p:cNvPr id="4" name="Oval 2">
            <a:extLst>
              <a:ext uri="{FF2B5EF4-FFF2-40B4-BE49-F238E27FC236}">
                <a16:creationId xmlns:a16="http://schemas.microsoft.com/office/drawing/2014/main" id="{B0646838-B041-189C-CD3B-59898D5781D8}"/>
              </a:ext>
            </a:extLst>
          </p:cNvPr>
          <p:cNvSpPr/>
          <p:nvPr/>
        </p:nvSpPr>
        <p:spPr bwMode="gray">
          <a:xfrm>
            <a:off x="222225" y="2388050"/>
            <a:ext cx="5832339" cy="4314595"/>
          </a:xfrm>
          <a:custGeom>
            <a:avLst/>
            <a:gdLst>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 name="connsiteX10" fmla="*/ 3171425 w 4173172"/>
              <a:gd name="connsiteY10" fmla="*/ 291724 h 3351800"/>
              <a:gd name="connsiteX11" fmla="*/ 4039314 w 4173172"/>
              <a:gd name="connsiteY11" fmla="*/ 291724 h 3351800"/>
              <a:gd name="connsiteX12" fmla="*/ 3171425 w 4173172"/>
              <a:gd name="connsiteY12" fmla="*/ 291724 h 3351800"/>
              <a:gd name="connsiteX0" fmla="*/ 389298 w 4173172"/>
              <a:gd name="connsiteY0" fmla="*/ 0 h 3351800"/>
              <a:gd name="connsiteX1" fmla="*/ 389298 w 4173172"/>
              <a:gd name="connsiteY1" fmla="*/ 9553 h 3351800"/>
              <a:gd name="connsiteX2" fmla="*/ 671470 w 4173172"/>
              <a:gd name="connsiteY2" fmla="*/ 291725 h 3351800"/>
              <a:gd name="connsiteX3" fmla="*/ 2837142 w 4173172"/>
              <a:gd name="connsiteY3" fmla="*/ 291725 h 3351800"/>
              <a:gd name="connsiteX4" fmla="*/ 2837142 w 4173172"/>
              <a:gd name="connsiteY4" fmla="*/ 1551661 h 3351800"/>
              <a:gd name="connsiteX5" fmla="*/ 3089136 w 4173172"/>
              <a:gd name="connsiteY5" fmla="*/ 1803655 h 3351800"/>
              <a:gd name="connsiteX6" fmla="*/ 4173172 w 4173172"/>
              <a:gd name="connsiteY6" fmla="*/ 1803655 h 3351800"/>
              <a:gd name="connsiteX7" fmla="*/ 2127565 w 4173172"/>
              <a:gd name="connsiteY7" fmla="*/ 3351800 h 3351800"/>
              <a:gd name="connsiteX8" fmla="*/ 0 w 4173172"/>
              <a:gd name="connsiteY8" fmla="*/ 1224235 h 3351800"/>
              <a:gd name="connsiteX9" fmla="*/ 389298 w 4173172"/>
              <a:gd name="connsiteY9" fmla="*/ 0 h 335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3172" h="3351800">
                <a:moveTo>
                  <a:pt x="389298" y="0"/>
                </a:moveTo>
                <a:lnTo>
                  <a:pt x="389298" y="9553"/>
                </a:lnTo>
                <a:cubicBezTo>
                  <a:pt x="389298" y="165392"/>
                  <a:pt x="515631" y="291725"/>
                  <a:pt x="671470" y="291725"/>
                </a:cubicBezTo>
                <a:lnTo>
                  <a:pt x="2837142" y="291725"/>
                </a:lnTo>
                <a:lnTo>
                  <a:pt x="2837142" y="1551661"/>
                </a:lnTo>
                <a:cubicBezTo>
                  <a:pt x="2837142" y="1690833"/>
                  <a:pt x="2949964" y="1803655"/>
                  <a:pt x="3089136" y="1803655"/>
                </a:cubicBezTo>
                <a:lnTo>
                  <a:pt x="4173172" y="1803655"/>
                </a:lnTo>
                <a:cubicBezTo>
                  <a:pt x="3922639" y="2697346"/>
                  <a:pt x="3101531" y="3351800"/>
                  <a:pt x="2127565" y="3351800"/>
                </a:cubicBezTo>
                <a:cubicBezTo>
                  <a:pt x="952543" y="3351800"/>
                  <a:pt x="0" y="2399257"/>
                  <a:pt x="0" y="1224235"/>
                </a:cubicBezTo>
                <a:cubicBezTo>
                  <a:pt x="0" y="768074"/>
                  <a:pt x="143559" y="345443"/>
                  <a:pt x="389298" y="0"/>
                </a:cubicBezTo>
                <a:close/>
              </a:path>
            </a:pathLst>
          </a:custGeom>
          <a:solidFill>
            <a:srgbClr val="1F325C"/>
          </a:solidFill>
          <a:ln w="19050" algn="ctr">
            <a:noFill/>
            <a:miter lim="800000"/>
            <a:headEnd/>
            <a:tailEnd/>
          </a:ln>
        </p:spPr>
        <p:txBody>
          <a:bodyPr wrap="square" lIns="66675" tIns="66675" rIns="66675" bIns="66675" rtlCol="0" anchor="ctr"/>
          <a:lstStyle/>
          <a:p>
            <a:pPr algn="ctr">
              <a:lnSpc>
                <a:spcPct val="106000"/>
              </a:lnSpc>
            </a:pPr>
            <a:endParaRPr lang="en-US" sz="1200" b="1">
              <a:solidFill>
                <a:schemeClr val="bg1"/>
              </a:solidFill>
            </a:endParaRPr>
          </a:p>
        </p:txBody>
      </p:sp>
      <p:sp>
        <p:nvSpPr>
          <p:cNvPr id="9" name="Round Diagonal Corner Rectangle 28">
            <a:extLst>
              <a:ext uri="{FF2B5EF4-FFF2-40B4-BE49-F238E27FC236}">
                <a16:creationId xmlns:a16="http://schemas.microsoft.com/office/drawing/2014/main" id="{48121949-F4A9-7A87-6432-6D7559A7FCCC}"/>
              </a:ext>
            </a:extLst>
          </p:cNvPr>
          <p:cNvSpPr/>
          <p:nvPr/>
        </p:nvSpPr>
        <p:spPr bwMode="gray">
          <a:xfrm>
            <a:off x="5474718" y="942705"/>
            <a:ext cx="4539674" cy="1753758"/>
          </a:xfrm>
          <a:prstGeom prst="round2DiagRect">
            <a:avLst/>
          </a:prstGeom>
          <a:solidFill>
            <a:srgbClr val="1F325C"/>
          </a:solidFill>
          <a:ln w="19050" algn="ctr">
            <a:noFill/>
            <a:miter lim="800000"/>
            <a:headEnd/>
            <a:tailEnd/>
          </a:ln>
        </p:spPr>
        <p:txBody>
          <a:bodyPr wrap="square" lIns="66675" tIns="66675" rIns="66675" bIns="66675" rtlCol="0" anchor="ctr"/>
          <a:lstStyle/>
          <a:p>
            <a:pPr algn="ctr">
              <a:lnSpc>
                <a:spcPct val="106000"/>
              </a:lnSpc>
            </a:pPr>
            <a:endParaRPr lang="en-US" sz="1200" b="1">
              <a:solidFill>
                <a:schemeClr val="bg1"/>
              </a:solidFill>
            </a:endParaRPr>
          </a:p>
        </p:txBody>
      </p:sp>
      <p:sp>
        <p:nvSpPr>
          <p:cNvPr id="11" name="Round Diagonal Corner Rectangle 29">
            <a:extLst>
              <a:ext uri="{FF2B5EF4-FFF2-40B4-BE49-F238E27FC236}">
                <a16:creationId xmlns:a16="http://schemas.microsoft.com/office/drawing/2014/main" id="{321A06C0-D90A-8DF6-81BF-5E640AB24274}"/>
              </a:ext>
            </a:extLst>
          </p:cNvPr>
          <p:cNvSpPr/>
          <p:nvPr/>
        </p:nvSpPr>
        <p:spPr bwMode="gray">
          <a:xfrm flipH="1">
            <a:off x="4257573" y="2773069"/>
            <a:ext cx="4861246" cy="1912784"/>
          </a:xfrm>
          <a:prstGeom prst="round2DiagRect">
            <a:avLst/>
          </a:prstGeom>
          <a:solidFill>
            <a:srgbClr val="1F325C"/>
          </a:solidFill>
          <a:ln w="19050" algn="ctr">
            <a:noFill/>
            <a:miter lim="800000"/>
            <a:headEnd/>
            <a:tailEnd/>
          </a:ln>
        </p:spPr>
        <p:txBody>
          <a:bodyPr wrap="square" lIns="66675" tIns="66675" rIns="66675" bIns="66675" rtlCol="0" anchor="ctr"/>
          <a:lstStyle/>
          <a:p>
            <a:pPr algn="ctr">
              <a:lnSpc>
                <a:spcPct val="106000"/>
              </a:lnSpc>
            </a:pPr>
            <a:endParaRPr lang="en-US" sz="1200" b="1">
              <a:solidFill>
                <a:schemeClr val="bg1"/>
              </a:solidFill>
            </a:endParaRPr>
          </a:p>
        </p:txBody>
      </p:sp>
      <p:sp>
        <p:nvSpPr>
          <p:cNvPr id="13" name="Round Diagonal Corner Rectangle 30">
            <a:extLst>
              <a:ext uri="{FF2B5EF4-FFF2-40B4-BE49-F238E27FC236}">
                <a16:creationId xmlns:a16="http://schemas.microsoft.com/office/drawing/2014/main" id="{17D96D60-B320-20E2-33BD-F93CCE913A6D}"/>
              </a:ext>
            </a:extLst>
          </p:cNvPr>
          <p:cNvSpPr/>
          <p:nvPr/>
        </p:nvSpPr>
        <p:spPr bwMode="gray">
          <a:xfrm flipH="1">
            <a:off x="849138" y="1796471"/>
            <a:ext cx="4578509" cy="901065"/>
          </a:xfrm>
          <a:prstGeom prst="round2DiagRect">
            <a:avLst/>
          </a:prstGeom>
          <a:solidFill>
            <a:srgbClr val="1F325C"/>
          </a:solidFill>
          <a:ln w="19050" algn="ctr">
            <a:noFill/>
            <a:miter lim="800000"/>
            <a:headEnd/>
            <a:tailEnd/>
          </a:ln>
        </p:spPr>
        <p:txBody>
          <a:bodyPr wrap="square" lIns="66675" tIns="66675" rIns="66675" bIns="66675" rtlCol="0" anchor="ctr"/>
          <a:lstStyle/>
          <a:p>
            <a:pPr algn="ctr">
              <a:lnSpc>
                <a:spcPct val="106000"/>
              </a:lnSpc>
            </a:pPr>
            <a:endParaRPr lang="en-US" sz="1200" b="1">
              <a:solidFill>
                <a:schemeClr val="bg1"/>
              </a:solidFill>
            </a:endParaRPr>
          </a:p>
        </p:txBody>
      </p:sp>
      <p:sp>
        <p:nvSpPr>
          <p:cNvPr id="26" name="Rectangle 25">
            <a:extLst>
              <a:ext uri="{FF2B5EF4-FFF2-40B4-BE49-F238E27FC236}">
                <a16:creationId xmlns:a16="http://schemas.microsoft.com/office/drawing/2014/main" id="{AD1EAF11-E412-6004-483B-1EFC96201169}"/>
              </a:ext>
            </a:extLst>
          </p:cNvPr>
          <p:cNvSpPr/>
          <p:nvPr/>
        </p:nvSpPr>
        <p:spPr>
          <a:xfrm>
            <a:off x="687028" y="3137686"/>
            <a:ext cx="3326492" cy="2098010"/>
          </a:xfrm>
          <a:prstGeom prst="rect">
            <a:avLst/>
          </a:prstGeom>
        </p:spPr>
        <p:txBody>
          <a:bodyPr wrap="square" lIns="0" tIns="0" rIns="0" bIns="0">
            <a:spAutoFit/>
          </a:bodyPr>
          <a:lstStyle/>
          <a:p>
            <a:pPr>
              <a:spcBef>
                <a:spcPts val="450"/>
              </a:spcBef>
            </a:pPr>
            <a:r>
              <a:rPr lang="en-US" sz="2000" b="1" u="sng">
                <a:solidFill>
                  <a:schemeClr val="bg1"/>
                </a:solidFill>
              </a:rPr>
              <a:t>Chief Resilience Officer</a:t>
            </a:r>
          </a:p>
          <a:p>
            <a:pPr>
              <a:spcBef>
                <a:spcPts val="450"/>
              </a:spcBef>
            </a:pPr>
            <a:r>
              <a:rPr lang="en-US" sz="2000" b="1">
                <a:solidFill>
                  <a:schemeClr val="bg1"/>
                </a:solidFill>
              </a:rPr>
              <a:t>Provides strategic direction for enhancing resilience in the State of Louisiana Resilience through coordination from the public-level to federal-level.</a:t>
            </a:r>
          </a:p>
          <a:p>
            <a:pPr>
              <a:spcBef>
                <a:spcPts val="450"/>
              </a:spcBef>
            </a:pPr>
            <a:endParaRPr lang="en-US" sz="800">
              <a:solidFill>
                <a:schemeClr val="bg1"/>
              </a:solidFill>
            </a:endParaRPr>
          </a:p>
        </p:txBody>
      </p:sp>
      <p:sp>
        <p:nvSpPr>
          <p:cNvPr id="27" name="Rectangle 26">
            <a:extLst>
              <a:ext uri="{FF2B5EF4-FFF2-40B4-BE49-F238E27FC236}">
                <a16:creationId xmlns:a16="http://schemas.microsoft.com/office/drawing/2014/main" id="{F99E61F3-FF4C-349B-E4CF-89A2E4A3F388}"/>
              </a:ext>
            </a:extLst>
          </p:cNvPr>
          <p:cNvSpPr/>
          <p:nvPr/>
        </p:nvSpPr>
        <p:spPr>
          <a:xfrm>
            <a:off x="5671704" y="1038936"/>
            <a:ext cx="4468600" cy="1944122"/>
          </a:xfrm>
          <a:prstGeom prst="rect">
            <a:avLst/>
          </a:prstGeom>
        </p:spPr>
        <p:txBody>
          <a:bodyPr wrap="square" lIns="0" tIns="0" rIns="0" bIns="0">
            <a:spAutoFit/>
          </a:bodyPr>
          <a:lstStyle/>
          <a:p>
            <a:pPr>
              <a:spcBef>
                <a:spcPts val="450"/>
              </a:spcBef>
            </a:pPr>
            <a:r>
              <a:rPr lang="en-US" sz="1400" b="1" u="sng">
                <a:solidFill>
                  <a:schemeClr val="bg1"/>
                </a:solidFill>
              </a:rPr>
              <a:t>Resilience Officers</a:t>
            </a:r>
          </a:p>
          <a:p>
            <a:pPr>
              <a:spcBef>
                <a:spcPts val="450"/>
              </a:spcBef>
            </a:pPr>
            <a:r>
              <a:rPr lang="en-US" sz="1400">
                <a:solidFill>
                  <a:schemeClr val="bg1"/>
                </a:solidFill>
                <a:latin typeface="Calibri" panose="020F0502020204030204" pitchFamily="34" charset="0"/>
                <a:ea typeface="Calibri" panose="020F0502020204030204" pitchFamily="34" charset="0"/>
                <a:cs typeface="Times New Roman" panose="02020603050405020304" pitchFamily="18" charset="0"/>
              </a:rPr>
              <a:t>L</a:t>
            </a:r>
            <a:r>
              <a:rPr lang="en-US" sz="14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eaders within their agencies. They help to move agencies forward in their ability to adapt, conduct research, create programs, listen to communities, and educate peers. They are also the lead coordinators for vulnerability assessments and strategic action plans within their agency as they prioritize immediate next steps toward building resilience.</a:t>
            </a:r>
          </a:p>
          <a:p>
            <a:pPr>
              <a:spcBef>
                <a:spcPts val="450"/>
              </a:spcBef>
            </a:pPr>
            <a:endParaRPr lang="en-US" sz="2000">
              <a:solidFill>
                <a:schemeClr val="bg1"/>
              </a:solidFill>
            </a:endParaRPr>
          </a:p>
        </p:txBody>
      </p:sp>
      <p:sp>
        <p:nvSpPr>
          <p:cNvPr id="28" name="Rectangle 27">
            <a:extLst>
              <a:ext uri="{FF2B5EF4-FFF2-40B4-BE49-F238E27FC236}">
                <a16:creationId xmlns:a16="http://schemas.microsoft.com/office/drawing/2014/main" id="{B0FF4B81-7D20-F60E-E3A9-14C9F59170FA}"/>
              </a:ext>
            </a:extLst>
          </p:cNvPr>
          <p:cNvSpPr/>
          <p:nvPr/>
        </p:nvSpPr>
        <p:spPr>
          <a:xfrm>
            <a:off x="964157" y="1837414"/>
            <a:ext cx="4468600" cy="710451"/>
          </a:xfrm>
          <a:prstGeom prst="rect">
            <a:avLst/>
          </a:prstGeom>
        </p:spPr>
        <p:txBody>
          <a:bodyPr wrap="square" lIns="0" tIns="0" rIns="0" bIns="0">
            <a:spAutoFit/>
          </a:bodyPr>
          <a:lstStyle/>
          <a:p>
            <a:pPr>
              <a:spcBef>
                <a:spcPts val="450"/>
              </a:spcBef>
            </a:pPr>
            <a:r>
              <a:rPr lang="en-US" sz="1400" b="1" u="sng">
                <a:solidFill>
                  <a:schemeClr val="bg1"/>
                </a:solidFill>
              </a:rPr>
              <a:t>Interagency Resilience Coordination Team</a:t>
            </a:r>
          </a:p>
          <a:p>
            <a:pPr>
              <a:spcBef>
                <a:spcPts val="450"/>
              </a:spcBef>
            </a:pPr>
            <a:r>
              <a:rPr lang="en-US" sz="1400">
                <a:solidFill>
                  <a:schemeClr val="bg1"/>
                </a:solidFill>
              </a:rPr>
              <a:t> Team meets regularly to promote increased communication and adaptation across government and programs. </a:t>
            </a:r>
          </a:p>
        </p:txBody>
      </p:sp>
      <p:sp>
        <p:nvSpPr>
          <p:cNvPr id="29" name="General_Fill_113">
            <a:extLst>
              <a:ext uri="{FF2B5EF4-FFF2-40B4-BE49-F238E27FC236}">
                <a16:creationId xmlns:a16="http://schemas.microsoft.com/office/drawing/2014/main" id="{5D26CDB5-1D1E-7AB0-2346-19381E542580}"/>
              </a:ext>
            </a:extLst>
          </p:cNvPr>
          <p:cNvSpPr>
            <a:spLocks noChangeAspect="1" noEditPoints="1"/>
          </p:cNvSpPr>
          <p:nvPr/>
        </p:nvSpPr>
        <p:spPr bwMode="auto">
          <a:xfrm>
            <a:off x="-1193076" y="8709"/>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30" name="Rectangle 29">
            <a:extLst>
              <a:ext uri="{FF2B5EF4-FFF2-40B4-BE49-F238E27FC236}">
                <a16:creationId xmlns:a16="http://schemas.microsoft.com/office/drawing/2014/main" id="{B1C61378-3418-D05C-7DD4-DB9F8A69F8F6}"/>
              </a:ext>
            </a:extLst>
          </p:cNvPr>
          <p:cNvSpPr/>
          <p:nvPr/>
        </p:nvSpPr>
        <p:spPr>
          <a:xfrm>
            <a:off x="4379392" y="2828357"/>
            <a:ext cx="4670659" cy="1787669"/>
          </a:xfrm>
          <a:prstGeom prst="rect">
            <a:avLst/>
          </a:prstGeom>
        </p:spPr>
        <p:txBody>
          <a:bodyPr wrap="square" lIns="0" tIns="0" rIns="0" bIns="0">
            <a:spAutoFit/>
          </a:bodyPr>
          <a:lstStyle/>
          <a:p>
            <a:pPr>
              <a:spcBef>
                <a:spcPts val="450"/>
              </a:spcBef>
            </a:pPr>
            <a:r>
              <a:rPr lang="en-US" sz="1400" b="1" u="sng">
                <a:solidFill>
                  <a:schemeClr val="bg1"/>
                </a:solidFill>
              </a:rPr>
              <a:t>Louisiana Resilience Task Force</a:t>
            </a:r>
          </a:p>
          <a:p>
            <a:pPr>
              <a:spcBef>
                <a:spcPts val="450"/>
              </a:spcBef>
            </a:pPr>
            <a:r>
              <a:rPr lang="en-US" sz="1400">
                <a:solidFill>
                  <a:schemeClr val="bg1"/>
                </a:solidFill>
              </a:rPr>
              <a:t>Task Force provides strategic direction to the state's resilience efforts and make recommendations to the Chief Resilience Officer. The Task Force is comprised of cabinet-level officials, Legislators, the Commission of Higher Education, the Public Service Commission, and representatives from the Policy Jury Association, the Parish Presidents Association, and the Louisiana Municipal Association.</a:t>
            </a:r>
          </a:p>
        </p:txBody>
      </p:sp>
    </p:spTree>
    <p:extLst>
      <p:ext uri="{BB962C8B-B14F-4D97-AF65-F5344CB8AC3E}">
        <p14:creationId xmlns:p14="http://schemas.microsoft.com/office/powerpoint/2010/main" val="65198446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DA36A18-5A03-F875-5879-7EF5EDA2786A}"/>
              </a:ext>
            </a:extLst>
          </p:cNvPr>
          <p:cNvSpPr>
            <a:spLocks noGrp="1"/>
          </p:cNvSpPr>
          <p:nvPr>
            <p:ph type="title" idx="4294967295"/>
          </p:nvPr>
        </p:nvSpPr>
        <p:spPr>
          <a:xfrm>
            <a:off x="400326" y="4784908"/>
            <a:ext cx="8972274" cy="562846"/>
          </a:xfrm>
        </p:spPr>
        <p:txBody>
          <a:bodyPr>
            <a:noAutofit/>
          </a:bodyPr>
          <a:lstStyle/>
          <a:p>
            <a:r>
              <a:rPr lang="en-US" sz="8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sk Force Members</a:t>
            </a:r>
          </a:p>
        </p:txBody>
      </p:sp>
    </p:spTree>
    <p:extLst>
      <p:ext uri="{BB962C8B-B14F-4D97-AF65-F5344CB8AC3E}">
        <p14:creationId xmlns:p14="http://schemas.microsoft.com/office/powerpoint/2010/main" val="101987300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4C392-09A2-E445-9D14-5EA880AFE202}"/>
              </a:ext>
            </a:extLst>
          </p:cNvPr>
          <p:cNvSpPr>
            <a:spLocks noGrp="1"/>
          </p:cNvSpPr>
          <p:nvPr>
            <p:ph type="title"/>
          </p:nvPr>
        </p:nvSpPr>
        <p:spPr>
          <a:xfrm>
            <a:off x="838200" y="2658860"/>
            <a:ext cx="10515600" cy="2629172"/>
          </a:xfrm>
        </p:spPr>
        <p:txBody>
          <a:bodyPr>
            <a:noAutofit/>
          </a:bodyPr>
          <a:lstStyle/>
          <a:p>
            <a:pPr algn="ctr"/>
            <a: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
            </a:r>
            <a:b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br>
            <a: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
            </a:r>
            <a:b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br>
            <a: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
            </a:r>
            <a:b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br>
            <a: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Please introduce your name, agency and your recommendations for building a resilient Louisiana? </a:t>
            </a:r>
            <a:b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br>
            <a: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
            </a:r>
            <a:b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br>
            <a:endPar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26939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Defining Resilience</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grpSp>
        <p:nvGrpSpPr>
          <p:cNvPr id="2" name="Group 1">
            <a:extLst>
              <a:ext uri="{FF2B5EF4-FFF2-40B4-BE49-F238E27FC236}">
                <a16:creationId xmlns:a16="http://schemas.microsoft.com/office/drawing/2014/main" id="{24C802CC-6C4E-9264-9A3E-63D300B89D22}"/>
              </a:ext>
            </a:extLst>
          </p:cNvPr>
          <p:cNvGrpSpPr/>
          <p:nvPr/>
        </p:nvGrpSpPr>
        <p:grpSpPr>
          <a:xfrm>
            <a:off x="0" y="1694504"/>
            <a:ext cx="8197607" cy="3713149"/>
            <a:chOff x="572494" y="1430668"/>
            <a:chExt cx="9144000" cy="4141823"/>
          </a:xfrm>
        </p:grpSpPr>
        <p:grpSp>
          <p:nvGrpSpPr>
            <p:cNvPr id="4" name="Group 3">
              <a:extLst>
                <a:ext uri="{FF2B5EF4-FFF2-40B4-BE49-F238E27FC236}">
                  <a16:creationId xmlns:a16="http://schemas.microsoft.com/office/drawing/2014/main" id="{8C6B8BE2-EFF2-A862-07AC-DCF06934FC6A}"/>
                </a:ext>
              </a:extLst>
            </p:cNvPr>
            <p:cNvGrpSpPr/>
            <p:nvPr/>
          </p:nvGrpSpPr>
          <p:grpSpPr>
            <a:xfrm>
              <a:off x="5057699" y="1430668"/>
              <a:ext cx="4658795" cy="1538514"/>
              <a:chOff x="4485205" y="1478376"/>
              <a:chExt cx="4658795" cy="1538514"/>
            </a:xfrm>
          </p:grpSpPr>
          <p:sp>
            <p:nvSpPr>
              <p:cNvPr id="26" name="Hexagon 25">
                <a:extLst>
                  <a:ext uri="{FF2B5EF4-FFF2-40B4-BE49-F238E27FC236}">
                    <a16:creationId xmlns:a16="http://schemas.microsoft.com/office/drawing/2014/main" id="{5DC4AE22-BAEE-C61E-E104-9F9DB0E56394}"/>
                  </a:ext>
                </a:extLst>
              </p:cNvPr>
              <p:cNvSpPr/>
              <p:nvPr/>
            </p:nvSpPr>
            <p:spPr bwMode="gray">
              <a:xfrm>
                <a:off x="4485205" y="1478376"/>
                <a:ext cx="1784676" cy="1538514"/>
              </a:xfrm>
              <a:prstGeom prst="hexagon">
                <a:avLst/>
              </a:prstGeom>
              <a:solidFill>
                <a:srgbClr val="00A3E0"/>
              </a:solidFill>
              <a:ln w="19050" algn="ctr">
                <a:noFill/>
                <a:miter lim="800000"/>
                <a:headEnd/>
                <a:tailEnd/>
              </a:ln>
            </p:spPr>
            <p:txBody>
              <a:bodyPr wrap="square" lIns="66675" tIns="66675" rIns="66675" bIns="66675" rtlCol="0" anchor="ctr"/>
              <a:lstStyle/>
              <a:p>
                <a:pPr algn="ctr" defTabSz="685800">
                  <a:lnSpc>
                    <a:spcPct val="106000"/>
                  </a:lnSpc>
                  <a:defRPr/>
                </a:pPr>
                <a:endParaRPr lang="en-US" sz="1200" b="1">
                  <a:solidFill>
                    <a:prstClr val="white"/>
                  </a:solidFill>
                  <a:latin typeface="Calibri Light"/>
                </a:endParaRPr>
              </a:p>
            </p:txBody>
          </p:sp>
          <p:grpSp>
            <p:nvGrpSpPr>
              <p:cNvPr id="27" name="Group 26">
                <a:extLst>
                  <a:ext uri="{FF2B5EF4-FFF2-40B4-BE49-F238E27FC236}">
                    <a16:creationId xmlns:a16="http://schemas.microsoft.com/office/drawing/2014/main" id="{9D995D23-34CA-E09C-68EE-CDA000D28A71}"/>
                  </a:ext>
                </a:extLst>
              </p:cNvPr>
              <p:cNvGrpSpPr/>
              <p:nvPr/>
            </p:nvGrpSpPr>
            <p:grpSpPr>
              <a:xfrm>
                <a:off x="4740162" y="1715886"/>
                <a:ext cx="4403838" cy="1068855"/>
                <a:chOff x="4561486" y="1984708"/>
                <a:chExt cx="4403838" cy="1068855"/>
              </a:xfrm>
            </p:grpSpPr>
            <p:sp>
              <p:nvSpPr>
                <p:cNvPr id="28" name="Pentagon 3">
                  <a:extLst>
                    <a:ext uri="{FF2B5EF4-FFF2-40B4-BE49-F238E27FC236}">
                      <a16:creationId xmlns:a16="http://schemas.microsoft.com/office/drawing/2014/main" id="{415C3525-A4E0-7F1F-56B8-CF497A29A180}"/>
                    </a:ext>
                  </a:extLst>
                </p:cNvPr>
                <p:cNvSpPr/>
                <p:nvPr/>
              </p:nvSpPr>
              <p:spPr bwMode="gray">
                <a:xfrm flipH="1">
                  <a:off x="4561486" y="1984708"/>
                  <a:ext cx="4403838"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66675" tIns="66675" rIns="66675" bIns="66675" rtlCol="0" anchor="ctr"/>
                <a:lstStyle/>
                <a:p>
                  <a:pPr algn="ctr" defTabSz="685800">
                    <a:lnSpc>
                      <a:spcPct val="106000"/>
                    </a:lnSpc>
                    <a:defRPr/>
                  </a:pPr>
                  <a:endParaRPr lang="en-US" sz="1200" b="1">
                    <a:solidFill>
                      <a:prstClr val="white"/>
                    </a:solidFill>
                    <a:latin typeface="Calibri Light"/>
                  </a:endParaRPr>
                </a:p>
              </p:txBody>
            </p:sp>
            <p:sp>
              <p:nvSpPr>
                <p:cNvPr id="29" name="Rectangle 28">
                  <a:extLst>
                    <a:ext uri="{FF2B5EF4-FFF2-40B4-BE49-F238E27FC236}">
                      <a16:creationId xmlns:a16="http://schemas.microsoft.com/office/drawing/2014/main" id="{54CE0714-457F-A8EB-BDC6-E7EF6F80D52B}"/>
                    </a:ext>
                  </a:extLst>
                </p:cNvPr>
                <p:cNvSpPr/>
                <p:nvPr/>
              </p:nvSpPr>
              <p:spPr>
                <a:xfrm>
                  <a:off x="5615241" y="2249588"/>
                  <a:ext cx="1321452" cy="411970"/>
                </a:xfrm>
                <a:prstGeom prst="rect">
                  <a:avLst/>
                </a:prstGeom>
              </p:spPr>
              <p:txBody>
                <a:bodyPr wrap="none">
                  <a:spAutoFit/>
                </a:bodyPr>
                <a:lstStyle/>
                <a:p>
                  <a:pPr defTabSz="685800">
                    <a:defRPr/>
                  </a:pPr>
                  <a:r>
                    <a:rPr lang="en-US" b="1">
                      <a:solidFill>
                        <a:srgbClr val="00A3E0"/>
                      </a:solidFill>
                      <a:latin typeface="Open Sans" panose="020B0606030504020204" pitchFamily="34" charset="0"/>
                      <a:ea typeface="Open Sans" panose="020B0606030504020204" pitchFamily="34" charset="0"/>
                      <a:cs typeface="Open Sans" panose="020B0606030504020204" pitchFamily="34" charset="0"/>
                    </a:rPr>
                    <a:t>PREPARE</a:t>
                  </a:r>
                  <a:endParaRPr lang="hu-HU" b="1">
                    <a:solidFill>
                      <a:srgbClr val="00A3E0"/>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 name="Group 8">
              <a:extLst>
                <a:ext uri="{FF2B5EF4-FFF2-40B4-BE49-F238E27FC236}">
                  <a16:creationId xmlns:a16="http://schemas.microsoft.com/office/drawing/2014/main" id="{815AD6B0-ECB5-9319-55F2-0B01B65A15EA}"/>
                </a:ext>
              </a:extLst>
            </p:cNvPr>
            <p:cNvGrpSpPr/>
            <p:nvPr/>
          </p:nvGrpSpPr>
          <p:grpSpPr>
            <a:xfrm>
              <a:off x="5057699" y="3091646"/>
              <a:ext cx="4658795" cy="1538514"/>
              <a:chOff x="4485205" y="3139354"/>
              <a:chExt cx="4658795" cy="1538514"/>
            </a:xfrm>
          </p:grpSpPr>
          <p:sp>
            <p:nvSpPr>
              <p:cNvPr id="22" name="Hexagon 21">
                <a:extLst>
                  <a:ext uri="{FF2B5EF4-FFF2-40B4-BE49-F238E27FC236}">
                    <a16:creationId xmlns:a16="http://schemas.microsoft.com/office/drawing/2014/main" id="{093D4329-EE4B-3B1D-9658-D3C3E1EAE7FE}"/>
                  </a:ext>
                </a:extLst>
              </p:cNvPr>
              <p:cNvSpPr/>
              <p:nvPr/>
            </p:nvSpPr>
            <p:spPr bwMode="gray">
              <a:xfrm>
                <a:off x="4485205" y="3139354"/>
                <a:ext cx="1784676" cy="1538514"/>
              </a:xfrm>
              <a:prstGeom prst="hexagon">
                <a:avLst/>
              </a:prstGeom>
              <a:solidFill>
                <a:srgbClr val="005587"/>
              </a:solidFill>
              <a:ln w="19050" algn="ctr">
                <a:noFill/>
                <a:miter lim="800000"/>
                <a:headEnd/>
                <a:tailEnd/>
              </a:ln>
            </p:spPr>
            <p:txBody>
              <a:bodyPr wrap="square" lIns="66675" tIns="66675" rIns="66675" bIns="66675" rtlCol="0" anchor="ctr"/>
              <a:lstStyle/>
              <a:p>
                <a:pPr algn="ctr" defTabSz="685800">
                  <a:lnSpc>
                    <a:spcPct val="106000"/>
                  </a:lnSpc>
                  <a:defRPr/>
                </a:pPr>
                <a:endParaRPr lang="en-US" sz="1200" b="1">
                  <a:solidFill>
                    <a:prstClr val="white"/>
                  </a:solidFill>
                  <a:latin typeface="Calibri Light"/>
                </a:endParaRPr>
              </a:p>
            </p:txBody>
          </p:sp>
          <p:grpSp>
            <p:nvGrpSpPr>
              <p:cNvPr id="23" name="Group 22">
                <a:extLst>
                  <a:ext uri="{FF2B5EF4-FFF2-40B4-BE49-F238E27FC236}">
                    <a16:creationId xmlns:a16="http://schemas.microsoft.com/office/drawing/2014/main" id="{EE00793E-C832-AC95-C9B2-77F8F6073183}"/>
                  </a:ext>
                </a:extLst>
              </p:cNvPr>
              <p:cNvGrpSpPr/>
              <p:nvPr/>
            </p:nvGrpSpPr>
            <p:grpSpPr>
              <a:xfrm>
                <a:off x="4742870" y="3374184"/>
                <a:ext cx="4401130" cy="1068855"/>
                <a:chOff x="4561485" y="3645687"/>
                <a:chExt cx="4401130" cy="1068855"/>
              </a:xfrm>
            </p:grpSpPr>
            <p:sp>
              <p:nvSpPr>
                <p:cNvPr id="24" name="Pentagon 13">
                  <a:extLst>
                    <a:ext uri="{FF2B5EF4-FFF2-40B4-BE49-F238E27FC236}">
                      <a16:creationId xmlns:a16="http://schemas.microsoft.com/office/drawing/2014/main" id="{5F66E3EA-34B9-B29C-47C9-9C50677049F4}"/>
                    </a:ext>
                  </a:extLst>
                </p:cNvPr>
                <p:cNvSpPr/>
                <p:nvPr/>
              </p:nvSpPr>
              <p:spPr bwMode="gray">
                <a:xfrm flipH="1">
                  <a:off x="4561485" y="3645687"/>
                  <a:ext cx="4401130"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66675" tIns="66675" rIns="66675" bIns="66675" rtlCol="0" anchor="ctr"/>
                <a:lstStyle/>
                <a:p>
                  <a:pPr algn="ctr" defTabSz="685800">
                    <a:lnSpc>
                      <a:spcPct val="106000"/>
                    </a:lnSpc>
                    <a:defRPr/>
                  </a:pPr>
                  <a:endParaRPr lang="en-US" sz="1200" b="1">
                    <a:solidFill>
                      <a:prstClr val="white"/>
                    </a:solidFill>
                    <a:latin typeface="Calibri Light"/>
                  </a:endParaRPr>
                </a:p>
              </p:txBody>
            </p:sp>
            <p:sp>
              <p:nvSpPr>
                <p:cNvPr id="25" name="Rectangle 24">
                  <a:extLst>
                    <a:ext uri="{FF2B5EF4-FFF2-40B4-BE49-F238E27FC236}">
                      <a16:creationId xmlns:a16="http://schemas.microsoft.com/office/drawing/2014/main" id="{2DBBB243-03E6-5479-FFBC-EEC84E0113FF}"/>
                    </a:ext>
                  </a:extLst>
                </p:cNvPr>
                <p:cNvSpPr/>
                <p:nvPr/>
              </p:nvSpPr>
              <p:spPr>
                <a:xfrm>
                  <a:off x="5649938" y="3964165"/>
                  <a:ext cx="1246640" cy="411970"/>
                </a:xfrm>
                <a:prstGeom prst="rect">
                  <a:avLst/>
                </a:prstGeom>
              </p:spPr>
              <p:txBody>
                <a:bodyPr wrap="none">
                  <a:spAutoFit/>
                </a:bodyPr>
                <a:lstStyle/>
                <a:p>
                  <a:pPr defTabSz="685800">
                    <a:defRPr/>
                  </a:pPr>
                  <a:r>
                    <a:rPr lang="en-US" b="1">
                      <a:solidFill>
                        <a:srgbClr val="005587"/>
                      </a:solidFill>
                      <a:latin typeface="Open Sans" panose="020B0606030504020204" pitchFamily="34" charset="0"/>
                      <a:ea typeface="Open Sans" panose="020B0606030504020204" pitchFamily="34" charset="0"/>
                      <a:cs typeface="Open Sans" panose="020B0606030504020204" pitchFamily="34" charset="0"/>
                    </a:rPr>
                    <a:t>ABSORB</a:t>
                  </a:r>
                </a:p>
              </p:txBody>
            </p:sp>
          </p:grpSp>
        </p:grpSp>
        <p:grpSp>
          <p:nvGrpSpPr>
            <p:cNvPr id="10" name="Group 9">
              <a:extLst>
                <a:ext uri="{FF2B5EF4-FFF2-40B4-BE49-F238E27FC236}">
                  <a16:creationId xmlns:a16="http://schemas.microsoft.com/office/drawing/2014/main" id="{D2FD53DF-4E7A-B3B8-D98E-44BB06727596}"/>
                </a:ext>
              </a:extLst>
            </p:cNvPr>
            <p:cNvGrpSpPr/>
            <p:nvPr/>
          </p:nvGrpSpPr>
          <p:grpSpPr>
            <a:xfrm>
              <a:off x="572494" y="2322389"/>
              <a:ext cx="4658795" cy="1538514"/>
              <a:chOff x="0" y="2370097"/>
              <a:chExt cx="4658795" cy="1538514"/>
            </a:xfrm>
          </p:grpSpPr>
          <p:sp>
            <p:nvSpPr>
              <p:cNvPr id="19" name="Hexagon 18">
                <a:extLst>
                  <a:ext uri="{FF2B5EF4-FFF2-40B4-BE49-F238E27FC236}">
                    <a16:creationId xmlns:a16="http://schemas.microsoft.com/office/drawing/2014/main" id="{613705A5-2145-B319-3D0E-0FFE457BDD96}"/>
                  </a:ext>
                </a:extLst>
              </p:cNvPr>
              <p:cNvSpPr/>
              <p:nvPr/>
            </p:nvSpPr>
            <p:spPr bwMode="gray">
              <a:xfrm>
                <a:off x="2874119" y="2370097"/>
                <a:ext cx="1784676" cy="1538514"/>
              </a:xfrm>
              <a:prstGeom prst="hexagon">
                <a:avLst/>
              </a:prstGeom>
              <a:solidFill>
                <a:schemeClr val="accent4"/>
              </a:solidFill>
              <a:ln w="19050" algn="ctr">
                <a:noFill/>
                <a:miter lim="800000"/>
                <a:headEnd/>
                <a:tailEnd/>
              </a:ln>
            </p:spPr>
            <p:txBody>
              <a:bodyPr wrap="square" lIns="66675" tIns="66675" rIns="66675" bIns="66675" rtlCol="0" anchor="ctr"/>
              <a:lstStyle/>
              <a:p>
                <a:pPr algn="ctr" defTabSz="685800">
                  <a:lnSpc>
                    <a:spcPct val="106000"/>
                  </a:lnSpc>
                  <a:defRPr/>
                </a:pPr>
                <a:endParaRPr lang="en-US" sz="1200" b="1">
                  <a:solidFill>
                    <a:prstClr val="white"/>
                  </a:solidFill>
                  <a:latin typeface="Calibri Light"/>
                </a:endParaRPr>
              </a:p>
            </p:txBody>
          </p:sp>
          <p:sp>
            <p:nvSpPr>
              <p:cNvPr id="20" name="Pentagon 14">
                <a:extLst>
                  <a:ext uri="{FF2B5EF4-FFF2-40B4-BE49-F238E27FC236}">
                    <a16:creationId xmlns:a16="http://schemas.microsoft.com/office/drawing/2014/main" id="{8CA91247-07D2-38EF-AF31-EFA0646C2F60}"/>
                  </a:ext>
                </a:extLst>
              </p:cNvPr>
              <p:cNvSpPr/>
              <p:nvPr/>
            </p:nvSpPr>
            <p:spPr bwMode="gray">
              <a:xfrm>
                <a:off x="0" y="2604927"/>
                <a:ext cx="4374345"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66675" tIns="66675" rIns="66675" bIns="66675" rtlCol="0" anchor="ctr"/>
              <a:lstStyle/>
              <a:p>
                <a:pPr algn="ctr" defTabSz="685800">
                  <a:lnSpc>
                    <a:spcPct val="106000"/>
                  </a:lnSpc>
                  <a:defRPr/>
                </a:pPr>
                <a:endParaRPr lang="en-US" sz="1200" b="1">
                  <a:solidFill>
                    <a:prstClr val="white"/>
                  </a:solidFill>
                  <a:latin typeface="Calibri Light"/>
                </a:endParaRPr>
              </a:p>
            </p:txBody>
          </p:sp>
          <p:sp>
            <p:nvSpPr>
              <p:cNvPr id="21" name="Rectangle 20">
                <a:extLst>
                  <a:ext uri="{FF2B5EF4-FFF2-40B4-BE49-F238E27FC236}">
                    <a16:creationId xmlns:a16="http://schemas.microsoft.com/office/drawing/2014/main" id="{618A55C7-BE83-697B-07B4-11171FFA8D5E}"/>
                  </a:ext>
                </a:extLst>
              </p:cNvPr>
              <p:cNvSpPr/>
              <p:nvPr/>
            </p:nvSpPr>
            <p:spPr>
              <a:xfrm>
                <a:off x="2094914" y="2933369"/>
                <a:ext cx="1055531" cy="411970"/>
              </a:xfrm>
              <a:prstGeom prst="rect">
                <a:avLst/>
              </a:prstGeom>
            </p:spPr>
            <p:txBody>
              <a:bodyPr wrap="none">
                <a:spAutoFit/>
              </a:bodyPr>
              <a:lstStyle/>
              <a:p>
                <a:pPr defTabSz="685800">
                  <a:defRPr/>
                </a:pPr>
                <a:r>
                  <a:rPr lang="en-US" b="1">
                    <a:solidFill>
                      <a:schemeClr val="accent4"/>
                    </a:solidFill>
                    <a:latin typeface="Open Sans" panose="020B0606030504020204" pitchFamily="34" charset="0"/>
                    <a:ea typeface="Open Sans" panose="020B0606030504020204" pitchFamily="34" charset="0"/>
                    <a:cs typeface="Open Sans" panose="020B0606030504020204" pitchFamily="34" charset="0"/>
                  </a:rPr>
                  <a:t>ADAPT</a:t>
                </a:r>
                <a:endParaRPr lang="hu-HU" b="1">
                  <a:solidFill>
                    <a:schemeClr val="accent4"/>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 name="Group 10">
              <a:extLst>
                <a:ext uri="{FF2B5EF4-FFF2-40B4-BE49-F238E27FC236}">
                  <a16:creationId xmlns:a16="http://schemas.microsoft.com/office/drawing/2014/main" id="{4DB871F8-874A-A0BE-5200-97F56E93E81D}"/>
                </a:ext>
              </a:extLst>
            </p:cNvPr>
            <p:cNvGrpSpPr/>
            <p:nvPr/>
          </p:nvGrpSpPr>
          <p:grpSpPr>
            <a:xfrm>
              <a:off x="572494" y="4033977"/>
              <a:ext cx="4655892" cy="1538514"/>
              <a:chOff x="0" y="4081685"/>
              <a:chExt cx="4655892" cy="1538514"/>
            </a:xfrm>
          </p:grpSpPr>
          <p:sp>
            <p:nvSpPr>
              <p:cNvPr id="14" name="Hexagon 13">
                <a:extLst>
                  <a:ext uri="{FF2B5EF4-FFF2-40B4-BE49-F238E27FC236}">
                    <a16:creationId xmlns:a16="http://schemas.microsoft.com/office/drawing/2014/main" id="{F66BF777-D673-E914-C825-D8FD45EC84CD}"/>
                  </a:ext>
                </a:extLst>
              </p:cNvPr>
              <p:cNvSpPr/>
              <p:nvPr/>
            </p:nvSpPr>
            <p:spPr bwMode="gray">
              <a:xfrm>
                <a:off x="2871216" y="4081685"/>
                <a:ext cx="1784676" cy="1538514"/>
              </a:xfrm>
              <a:prstGeom prst="hexagon">
                <a:avLst/>
              </a:prstGeom>
              <a:solidFill>
                <a:schemeClr val="tx2">
                  <a:lumMod val="75000"/>
                </a:schemeClr>
              </a:solidFill>
              <a:ln w="19050" algn="ctr">
                <a:noFill/>
                <a:miter lim="800000"/>
                <a:headEnd/>
                <a:tailEnd/>
              </a:ln>
            </p:spPr>
            <p:txBody>
              <a:bodyPr wrap="square" lIns="66675" tIns="66675" rIns="66675" bIns="66675" rtlCol="0" anchor="ctr"/>
              <a:lstStyle/>
              <a:p>
                <a:pPr algn="ctr" defTabSz="685800">
                  <a:lnSpc>
                    <a:spcPct val="106000"/>
                  </a:lnSpc>
                  <a:defRPr/>
                </a:pPr>
                <a:endParaRPr lang="en-US" sz="1200" b="1">
                  <a:solidFill>
                    <a:prstClr val="white"/>
                  </a:solidFill>
                  <a:latin typeface="Calibri Light"/>
                </a:endParaRPr>
              </a:p>
            </p:txBody>
          </p:sp>
          <p:grpSp>
            <p:nvGrpSpPr>
              <p:cNvPr id="15" name="Group 14">
                <a:extLst>
                  <a:ext uri="{FF2B5EF4-FFF2-40B4-BE49-F238E27FC236}">
                    <a16:creationId xmlns:a16="http://schemas.microsoft.com/office/drawing/2014/main" id="{642862B3-7189-D950-A595-A978CDBA4D3F}"/>
                  </a:ext>
                </a:extLst>
              </p:cNvPr>
              <p:cNvGrpSpPr/>
              <p:nvPr/>
            </p:nvGrpSpPr>
            <p:grpSpPr>
              <a:xfrm>
                <a:off x="0" y="4316515"/>
                <a:ext cx="4398227" cy="1068855"/>
                <a:chOff x="-23882" y="2955804"/>
                <a:chExt cx="4398227" cy="1068855"/>
              </a:xfrm>
            </p:grpSpPr>
            <p:sp>
              <p:nvSpPr>
                <p:cNvPr id="17" name="Pentagon 34">
                  <a:extLst>
                    <a:ext uri="{FF2B5EF4-FFF2-40B4-BE49-F238E27FC236}">
                      <a16:creationId xmlns:a16="http://schemas.microsoft.com/office/drawing/2014/main" id="{38A4DF2F-8F90-E068-6EAC-EAADE7A4F2AE}"/>
                    </a:ext>
                  </a:extLst>
                </p:cNvPr>
                <p:cNvSpPr/>
                <p:nvPr/>
              </p:nvSpPr>
              <p:spPr bwMode="gray">
                <a:xfrm>
                  <a:off x="-23882" y="2955804"/>
                  <a:ext cx="4398227" cy="1068855"/>
                </a:xfrm>
                <a:prstGeom prst="homePlate">
                  <a:avLst>
                    <a:gd name="adj" fmla="val 29778"/>
                  </a:avLst>
                </a:prstGeom>
                <a:ln>
                  <a:noFill/>
                  <a:headEnd/>
                  <a:tailEnd/>
                </a:ln>
                <a:effectLst/>
              </p:spPr>
              <p:style>
                <a:lnRef idx="2">
                  <a:schemeClr val="accent1"/>
                </a:lnRef>
                <a:fillRef idx="1">
                  <a:schemeClr val="lt1"/>
                </a:fillRef>
                <a:effectRef idx="0">
                  <a:schemeClr val="accent1"/>
                </a:effectRef>
                <a:fontRef idx="minor">
                  <a:schemeClr val="dk1"/>
                </a:fontRef>
              </p:style>
              <p:txBody>
                <a:bodyPr wrap="square" lIns="66675" tIns="66675" rIns="66675" bIns="66675" rtlCol="0" anchor="ctr"/>
                <a:lstStyle/>
                <a:p>
                  <a:pPr algn="ctr" defTabSz="685800">
                    <a:lnSpc>
                      <a:spcPct val="106000"/>
                    </a:lnSpc>
                    <a:defRPr/>
                  </a:pPr>
                  <a:endParaRPr lang="en-US" sz="1200" b="1">
                    <a:solidFill>
                      <a:prstClr val="white"/>
                    </a:solidFill>
                    <a:latin typeface="Calibri Light"/>
                  </a:endParaRPr>
                </a:p>
              </p:txBody>
            </p:sp>
            <p:sp>
              <p:nvSpPr>
                <p:cNvPr id="18" name="Rectangle 17">
                  <a:extLst>
                    <a:ext uri="{FF2B5EF4-FFF2-40B4-BE49-F238E27FC236}">
                      <a16:creationId xmlns:a16="http://schemas.microsoft.com/office/drawing/2014/main" id="{307C057C-47D1-6982-67B4-95266D9FC84A}"/>
                    </a:ext>
                  </a:extLst>
                </p:cNvPr>
                <p:cNvSpPr/>
                <p:nvPr/>
              </p:nvSpPr>
              <p:spPr>
                <a:xfrm>
                  <a:off x="1930304" y="3271991"/>
                  <a:ext cx="1365939" cy="411970"/>
                </a:xfrm>
                <a:prstGeom prst="rect">
                  <a:avLst/>
                </a:prstGeom>
              </p:spPr>
              <p:txBody>
                <a:bodyPr wrap="none">
                  <a:spAutoFit/>
                </a:bodyPr>
                <a:lstStyle/>
                <a:p>
                  <a:pPr defTabSz="685800">
                    <a:defRPr/>
                  </a:pPr>
                  <a:r>
                    <a:rPr lang="en-US" b="1">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RECOVER</a:t>
                  </a:r>
                </a:p>
              </p:txBody>
            </p:sp>
          </p:grpSp>
        </p:grpSp>
      </p:grpSp>
      <p:sp>
        <p:nvSpPr>
          <p:cNvPr id="30" name="Freeform 268">
            <a:extLst>
              <a:ext uri="{FF2B5EF4-FFF2-40B4-BE49-F238E27FC236}">
                <a16:creationId xmlns:a16="http://schemas.microsoft.com/office/drawing/2014/main" id="{2BEBBD21-BEFD-26AC-996B-69A0F3ABC8A1}"/>
              </a:ext>
            </a:extLst>
          </p:cNvPr>
          <p:cNvSpPr>
            <a:spLocks noEditPoints="1"/>
          </p:cNvSpPr>
          <p:nvPr/>
        </p:nvSpPr>
        <p:spPr bwMode="auto">
          <a:xfrm>
            <a:off x="4597770" y="2133353"/>
            <a:ext cx="552042" cy="410286"/>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solidFill>
            <a:srgbClr val="00A3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nvGrpSpPr>
          <p:cNvPr id="31" name="General_Border_29">
            <a:extLst>
              <a:ext uri="{FF2B5EF4-FFF2-40B4-BE49-F238E27FC236}">
                <a16:creationId xmlns:a16="http://schemas.microsoft.com/office/drawing/2014/main" id="{C304DCF7-97A1-EAB6-40DA-6C71E65B648E}"/>
              </a:ext>
            </a:extLst>
          </p:cNvPr>
          <p:cNvGrpSpPr>
            <a:grpSpLocks noChangeAspect="1"/>
          </p:cNvGrpSpPr>
          <p:nvPr/>
        </p:nvGrpSpPr>
        <p:grpSpPr bwMode="auto">
          <a:xfrm>
            <a:off x="3231713" y="2969782"/>
            <a:ext cx="108325" cy="395940"/>
            <a:chOff x="3617" y="2096"/>
            <a:chExt cx="58" cy="212"/>
          </a:xfrm>
          <a:solidFill>
            <a:schemeClr val="accent4"/>
          </a:solidFill>
        </p:grpSpPr>
        <p:sp>
          <p:nvSpPr>
            <p:cNvPr id="32" name="Freeform 522">
              <a:extLst>
                <a:ext uri="{FF2B5EF4-FFF2-40B4-BE49-F238E27FC236}">
                  <a16:creationId xmlns:a16="http://schemas.microsoft.com/office/drawing/2014/main" id="{315818F9-D966-F7CE-7A5E-9A42DB8B4205}"/>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523">
              <a:extLst>
                <a:ext uri="{FF2B5EF4-FFF2-40B4-BE49-F238E27FC236}">
                  <a16:creationId xmlns:a16="http://schemas.microsoft.com/office/drawing/2014/main" id="{3EE1D0C5-0104-BA9D-B6F5-B888A4AB44AB}"/>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34" name="Freeform 845">
            <a:extLst>
              <a:ext uri="{FF2B5EF4-FFF2-40B4-BE49-F238E27FC236}">
                <a16:creationId xmlns:a16="http://schemas.microsoft.com/office/drawing/2014/main" id="{3E9BDC9C-EC8A-E23C-886B-DDD2E2D7182F}"/>
              </a:ext>
            </a:extLst>
          </p:cNvPr>
          <p:cNvSpPr>
            <a:spLocks noEditPoints="1"/>
          </p:cNvSpPr>
          <p:nvPr/>
        </p:nvSpPr>
        <p:spPr bwMode="auto">
          <a:xfrm>
            <a:off x="4671671" y="3645008"/>
            <a:ext cx="398256" cy="456409"/>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solidFill>
            <a:schemeClr val="accent6">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94">
            <a:extLst>
              <a:ext uri="{FF2B5EF4-FFF2-40B4-BE49-F238E27FC236}">
                <a16:creationId xmlns:a16="http://schemas.microsoft.com/office/drawing/2014/main" id="{8B772FF6-E491-1619-0356-2286EDC8BAFB}"/>
              </a:ext>
            </a:extLst>
          </p:cNvPr>
          <p:cNvSpPr>
            <a:spLocks noEditPoints="1"/>
          </p:cNvSpPr>
          <p:nvPr/>
        </p:nvSpPr>
        <p:spPr bwMode="auto">
          <a:xfrm>
            <a:off x="3043825" y="4536266"/>
            <a:ext cx="486097" cy="33982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tx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9" name="Rectangle 768">
            <a:extLst>
              <a:ext uri="{FF2B5EF4-FFF2-40B4-BE49-F238E27FC236}">
                <a16:creationId xmlns:a16="http://schemas.microsoft.com/office/drawing/2014/main" id="{C08C0294-7FE8-8F57-5AF3-2CEB0B9377D4}"/>
              </a:ext>
            </a:extLst>
          </p:cNvPr>
          <p:cNvSpPr/>
          <p:nvPr/>
        </p:nvSpPr>
        <p:spPr bwMode="gray">
          <a:xfrm>
            <a:off x="8355468" y="2064556"/>
            <a:ext cx="2983194" cy="3314980"/>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70" name="Rectangle 769">
            <a:extLst>
              <a:ext uri="{FF2B5EF4-FFF2-40B4-BE49-F238E27FC236}">
                <a16:creationId xmlns:a16="http://schemas.microsoft.com/office/drawing/2014/main" id="{33D46206-3D05-F2F5-F206-0F2906493C02}"/>
              </a:ext>
            </a:extLst>
          </p:cNvPr>
          <p:cNvSpPr/>
          <p:nvPr/>
        </p:nvSpPr>
        <p:spPr>
          <a:xfrm>
            <a:off x="8466107" y="1976437"/>
            <a:ext cx="2761916" cy="338554"/>
          </a:xfrm>
          <a:prstGeom prst="rect">
            <a:avLst/>
          </a:prstGeom>
          <a:solidFill>
            <a:srgbClr val="1F325C"/>
          </a:solidFill>
          <a:effectLst>
            <a:outerShdw blurRad="50800" dist="38100" dir="2700000" algn="tl" rotWithShape="0">
              <a:prstClr val="black">
                <a:alpha val="40000"/>
              </a:prstClr>
            </a:outerShdw>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chemeClr val="bg1"/>
                </a:solidFill>
                <a:effectLst/>
                <a:uLnTx/>
                <a:uFillTx/>
                <a:latin typeface="Open Sans"/>
                <a:ea typeface="+mn-ea"/>
                <a:cs typeface="+mn-cs"/>
              </a:rPr>
              <a:t>Resilience</a:t>
            </a:r>
          </a:p>
        </p:txBody>
      </p:sp>
      <p:sp>
        <p:nvSpPr>
          <p:cNvPr id="772" name="TextBox 771">
            <a:extLst>
              <a:ext uri="{FF2B5EF4-FFF2-40B4-BE49-F238E27FC236}">
                <a16:creationId xmlns:a16="http://schemas.microsoft.com/office/drawing/2014/main" id="{9F2EF69E-70D9-12F5-7A75-3FEA91C8C150}"/>
              </a:ext>
            </a:extLst>
          </p:cNvPr>
          <p:cNvSpPr txBox="1"/>
          <p:nvPr/>
        </p:nvSpPr>
        <p:spPr>
          <a:xfrm>
            <a:off x="8478379" y="3168048"/>
            <a:ext cx="2717508" cy="1938992"/>
          </a:xfrm>
          <a:prstGeom prst="rect">
            <a:avLst/>
          </a:prstGeom>
          <a:noFill/>
        </p:spPr>
        <p:txBody>
          <a:bodyPr wrap="square" lIns="0" tIns="0" rIns="0" bIns="0" rtlCol="0">
            <a:spAutoFit/>
          </a:bodyPr>
          <a:lstStyle/>
          <a:p>
            <a:pPr algn="ctr">
              <a:spcBef>
                <a:spcPts val="600"/>
              </a:spcBef>
              <a:buSzPct val="100000"/>
            </a:pPr>
            <a:r>
              <a:rPr lang="en-US" b="1" i="1">
                <a:solidFill>
                  <a:srgbClr val="002060"/>
                </a:solidFill>
                <a:latin typeface="Open Sans" panose="020B0606030504020204" pitchFamily="34" charset="0"/>
                <a:ea typeface="Open Sans" panose="020B0606030504020204" pitchFamily="34" charset="0"/>
                <a:cs typeface="Open Sans" panose="020B0606030504020204" pitchFamily="34" charset="0"/>
              </a:rPr>
              <a:t>A key step in building a resilient Louisiana is to define what resilience means for the State and create measurable goals the CRO will report on annually.</a:t>
            </a:r>
          </a:p>
        </p:txBody>
      </p:sp>
      <p:cxnSp>
        <p:nvCxnSpPr>
          <p:cNvPr id="773" name="Straight Arrow Connector 772">
            <a:extLst>
              <a:ext uri="{FF2B5EF4-FFF2-40B4-BE49-F238E27FC236}">
                <a16:creationId xmlns:a16="http://schemas.microsoft.com/office/drawing/2014/main" id="{05484C84-BADD-5802-C7EB-48DD4E6EE158}"/>
              </a:ext>
            </a:extLst>
          </p:cNvPr>
          <p:cNvCxnSpPr>
            <a:cxnSpLocks/>
          </p:cNvCxnSpPr>
          <p:nvPr/>
        </p:nvCxnSpPr>
        <p:spPr>
          <a:xfrm flipV="1">
            <a:off x="7928532" y="1574225"/>
            <a:ext cx="0" cy="4489172"/>
          </a:xfrm>
          <a:prstGeom prst="straightConnector1">
            <a:avLst/>
          </a:prstGeom>
          <a:ln w="19050">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9019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Defining Resilience</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grpSp>
        <p:nvGrpSpPr>
          <p:cNvPr id="1564" name="General_Border_111">
            <a:extLst>
              <a:ext uri="{FF2B5EF4-FFF2-40B4-BE49-F238E27FC236}">
                <a16:creationId xmlns:a16="http://schemas.microsoft.com/office/drawing/2014/main" id="{A7D4A6A0-831D-2613-79BE-D36487521F10}"/>
              </a:ext>
            </a:extLst>
          </p:cNvPr>
          <p:cNvGrpSpPr>
            <a:grpSpLocks noChangeAspect="1"/>
          </p:cNvGrpSpPr>
          <p:nvPr/>
        </p:nvGrpSpPr>
        <p:grpSpPr bwMode="auto">
          <a:xfrm>
            <a:off x="358471" y="1754095"/>
            <a:ext cx="509901" cy="509901"/>
            <a:chOff x="1926" y="792"/>
            <a:chExt cx="340" cy="340"/>
          </a:xfrm>
          <a:solidFill>
            <a:schemeClr val="tx1"/>
          </a:solidFill>
        </p:grpSpPr>
        <p:sp>
          <p:nvSpPr>
            <p:cNvPr id="1565" name="Freeform 267">
              <a:extLst>
                <a:ext uri="{FF2B5EF4-FFF2-40B4-BE49-F238E27FC236}">
                  <a16:creationId xmlns:a16="http://schemas.microsoft.com/office/drawing/2014/main" id="{7E582813-2590-FBF4-34F0-D981B7146D4E}"/>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6" name="Freeform 268">
              <a:extLst>
                <a:ext uri="{FF2B5EF4-FFF2-40B4-BE49-F238E27FC236}">
                  <a16:creationId xmlns:a16="http://schemas.microsoft.com/office/drawing/2014/main" id="{62384B4D-85D6-8BDC-833A-39D8F85BE56F}"/>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568" name="General_Border_29">
            <a:extLst>
              <a:ext uri="{FF2B5EF4-FFF2-40B4-BE49-F238E27FC236}">
                <a16:creationId xmlns:a16="http://schemas.microsoft.com/office/drawing/2014/main" id="{3ED3096D-4C9E-D272-009B-EE37B92B67CF}"/>
              </a:ext>
            </a:extLst>
          </p:cNvPr>
          <p:cNvGrpSpPr>
            <a:grpSpLocks noChangeAspect="1"/>
          </p:cNvGrpSpPr>
          <p:nvPr/>
        </p:nvGrpSpPr>
        <p:grpSpPr bwMode="auto">
          <a:xfrm>
            <a:off x="3476" y="2032"/>
            <a:ext cx="340" cy="340"/>
            <a:chOff x="3476" y="2032"/>
            <a:chExt cx="340" cy="340"/>
          </a:xfrm>
          <a:solidFill>
            <a:schemeClr val="accent6"/>
          </a:solidFill>
        </p:grpSpPr>
        <p:sp>
          <p:nvSpPr>
            <p:cNvPr id="1569" name="Freeform 522">
              <a:extLst>
                <a:ext uri="{FF2B5EF4-FFF2-40B4-BE49-F238E27FC236}">
                  <a16:creationId xmlns:a16="http://schemas.microsoft.com/office/drawing/2014/main" id="{8DDBACF8-A91F-B10B-CB3D-E36D3FD00B94}"/>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0" name="Freeform 523">
              <a:extLst>
                <a:ext uri="{FF2B5EF4-FFF2-40B4-BE49-F238E27FC236}">
                  <a16:creationId xmlns:a16="http://schemas.microsoft.com/office/drawing/2014/main" id="{486F1018-1558-5405-7B77-D27FA71C66FA}"/>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1" name="Freeform 524">
              <a:extLst>
                <a:ext uri="{FF2B5EF4-FFF2-40B4-BE49-F238E27FC236}">
                  <a16:creationId xmlns:a16="http://schemas.microsoft.com/office/drawing/2014/main" id="{C25D3ABB-5F52-063D-87C2-6EB59FBF59D7}"/>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572" name="General_Border_29">
            <a:extLst>
              <a:ext uri="{FF2B5EF4-FFF2-40B4-BE49-F238E27FC236}">
                <a16:creationId xmlns:a16="http://schemas.microsoft.com/office/drawing/2014/main" id="{475B64D1-225B-5B19-1567-311BAF00FCD9}"/>
              </a:ext>
            </a:extLst>
          </p:cNvPr>
          <p:cNvGrpSpPr>
            <a:grpSpLocks noChangeAspect="1"/>
          </p:cNvGrpSpPr>
          <p:nvPr/>
        </p:nvGrpSpPr>
        <p:grpSpPr bwMode="auto">
          <a:xfrm>
            <a:off x="358566" y="2800419"/>
            <a:ext cx="509900" cy="509902"/>
            <a:chOff x="3476" y="2032"/>
            <a:chExt cx="340" cy="340"/>
          </a:xfrm>
          <a:solidFill>
            <a:schemeClr val="tx1"/>
          </a:solidFill>
        </p:grpSpPr>
        <p:sp>
          <p:nvSpPr>
            <p:cNvPr id="1573" name="Freeform 522">
              <a:extLst>
                <a:ext uri="{FF2B5EF4-FFF2-40B4-BE49-F238E27FC236}">
                  <a16:creationId xmlns:a16="http://schemas.microsoft.com/office/drawing/2014/main" id="{C46B8298-9B7C-F967-1192-8CBC26A43CA1}"/>
                </a:ext>
              </a:extLst>
            </p:cNvPr>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4" name="Freeform 523">
              <a:extLst>
                <a:ext uri="{FF2B5EF4-FFF2-40B4-BE49-F238E27FC236}">
                  <a16:creationId xmlns:a16="http://schemas.microsoft.com/office/drawing/2014/main" id="{07FDBE06-6C56-408F-8871-0C065F3E2C79}"/>
                </a:ext>
              </a:extLst>
            </p:cNvPr>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5" name="Freeform 524">
              <a:extLst>
                <a:ext uri="{FF2B5EF4-FFF2-40B4-BE49-F238E27FC236}">
                  <a16:creationId xmlns:a16="http://schemas.microsoft.com/office/drawing/2014/main" id="{EFC82996-64AB-6EE1-869C-1B9A1DF8F417}"/>
                </a:ext>
              </a:extLst>
            </p:cNvPr>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576" name="General_Border_89">
            <a:extLst>
              <a:ext uri="{FF2B5EF4-FFF2-40B4-BE49-F238E27FC236}">
                <a16:creationId xmlns:a16="http://schemas.microsoft.com/office/drawing/2014/main" id="{0D811514-B1EE-00FA-6719-25927466536D}"/>
              </a:ext>
            </a:extLst>
          </p:cNvPr>
          <p:cNvGrpSpPr>
            <a:grpSpLocks noChangeAspect="1"/>
          </p:cNvGrpSpPr>
          <p:nvPr/>
        </p:nvGrpSpPr>
        <p:grpSpPr bwMode="auto">
          <a:xfrm>
            <a:off x="353051" y="3846943"/>
            <a:ext cx="509902" cy="509901"/>
            <a:chOff x="380" y="3102"/>
            <a:chExt cx="340" cy="340"/>
          </a:xfrm>
          <a:solidFill>
            <a:schemeClr val="tx1"/>
          </a:solidFill>
        </p:grpSpPr>
        <p:sp>
          <p:nvSpPr>
            <p:cNvPr id="1577" name="Freeform 845">
              <a:extLst>
                <a:ext uri="{FF2B5EF4-FFF2-40B4-BE49-F238E27FC236}">
                  <a16:creationId xmlns:a16="http://schemas.microsoft.com/office/drawing/2014/main" id="{F1C39681-0CB4-EC35-7180-7FCF2C525011}"/>
                </a:ext>
              </a:extLst>
            </p:cNvPr>
            <p:cNvSpPr>
              <a:spLocks noEditPoints="1"/>
            </p:cNvSpPr>
            <p:nvPr/>
          </p:nvSpPr>
          <p:spPr bwMode="auto">
            <a:xfrm>
              <a:off x="472" y="3166"/>
              <a:ext cx="156" cy="212"/>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8" name="Freeform 846">
              <a:extLst>
                <a:ext uri="{FF2B5EF4-FFF2-40B4-BE49-F238E27FC236}">
                  <a16:creationId xmlns:a16="http://schemas.microsoft.com/office/drawing/2014/main" id="{E831D0C8-0405-7C8C-528B-74F7422371E9}"/>
                </a:ext>
              </a:extLst>
            </p:cNvPr>
            <p:cNvSpPr>
              <a:spLocks noEditPoints="1"/>
            </p:cNvSpPr>
            <p:nvPr/>
          </p:nvSpPr>
          <p:spPr bwMode="auto">
            <a:xfrm>
              <a:off x="380"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579" name="General_Border_38">
            <a:extLst>
              <a:ext uri="{FF2B5EF4-FFF2-40B4-BE49-F238E27FC236}">
                <a16:creationId xmlns:a16="http://schemas.microsoft.com/office/drawing/2014/main" id="{2924C60C-2F3B-9D47-289D-30A8544E267D}"/>
              </a:ext>
            </a:extLst>
          </p:cNvPr>
          <p:cNvGrpSpPr>
            <a:grpSpLocks noChangeAspect="1"/>
          </p:cNvGrpSpPr>
          <p:nvPr/>
        </p:nvGrpSpPr>
        <p:grpSpPr bwMode="auto">
          <a:xfrm>
            <a:off x="353050" y="4893367"/>
            <a:ext cx="509901" cy="509901"/>
            <a:chOff x="378" y="713"/>
            <a:chExt cx="340" cy="340"/>
          </a:xfrm>
          <a:solidFill>
            <a:schemeClr val="tx1"/>
          </a:solidFill>
        </p:grpSpPr>
        <p:sp>
          <p:nvSpPr>
            <p:cNvPr id="1580" name="Freeform 193">
              <a:extLst>
                <a:ext uri="{FF2B5EF4-FFF2-40B4-BE49-F238E27FC236}">
                  <a16:creationId xmlns:a16="http://schemas.microsoft.com/office/drawing/2014/main" id="{437D5670-512A-C9FE-917F-3C592B950B9D}"/>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1" name="Freeform 194">
              <a:extLst>
                <a:ext uri="{FF2B5EF4-FFF2-40B4-BE49-F238E27FC236}">
                  <a16:creationId xmlns:a16="http://schemas.microsoft.com/office/drawing/2014/main" id="{7FC90292-F12E-174F-48F5-7C6A43E876CB}"/>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583" name="TextBox 1582">
            <a:extLst>
              <a:ext uri="{FF2B5EF4-FFF2-40B4-BE49-F238E27FC236}">
                <a16:creationId xmlns:a16="http://schemas.microsoft.com/office/drawing/2014/main" id="{AFD1CEF9-2414-5EBA-0A4F-48D07A144033}"/>
              </a:ext>
            </a:extLst>
          </p:cNvPr>
          <p:cNvSpPr txBox="1"/>
          <p:nvPr/>
        </p:nvSpPr>
        <p:spPr>
          <a:xfrm>
            <a:off x="943739" y="1740776"/>
            <a:ext cx="5075654" cy="523220"/>
          </a:xfrm>
          <a:prstGeom prst="rect">
            <a:avLst/>
          </a:prstGeom>
          <a:noFill/>
        </p:spPr>
        <p:txBody>
          <a:bodyPr wrap="square" lIns="0" tIns="0" rIns="0" bIns="0" rtlCol="0">
            <a:spAutoFit/>
          </a:bodyPr>
          <a:lstStyle/>
          <a:p>
            <a:pPr>
              <a:spcBef>
                <a:spcPts val="600"/>
              </a:spcBef>
              <a:buSzPct val="100000"/>
            </a:pPr>
            <a:r>
              <a:rPr lang="en-US" b="1" i="1">
                <a:solidFill>
                  <a:srgbClr val="313131"/>
                </a:solidFill>
                <a:latin typeface="Open Sans" panose="020B0606030504020204" pitchFamily="34" charset="0"/>
                <a:ea typeface="Open Sans" panose="020B0606030504020204" pitchFamily="34" charset="0"/>
                <a:cs typeface="Open Sans" panose="020B0606030504020204" pitchFamily="34" charset="0"/>
              </a:rPr>
              <a:t>PREPARE: </a:t>
            </a:r>
            <a:r>
              <a:rPr lang="en-US" sz="1600">
                <a:solidFill>
                  <a:srgbClr val="313131"/>
                </a:solidFill>
                <a:latin typeface="Open Sans" panose="020B0606030504020204" pitchFamily="34" charset="0"/>
                <a:ea typeface="Open Sans" panose="020B0606030504020204" pitchFamily="34" charset="0"/>
                <a:cs typeface="Open Sans" panose="020B0606030504020204" pitchFamily="34" charset="0"/>
              </a:rPr>
              <a:t>Create risk-informed plans, provide technical guidance and create resilience projects.</a:t>
            </a:r>
            <a:endParaRPr lang="en-US">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4" name="TextBox 1583">
            <a:extLst>
              <a:ext uri="{FF2B5EF4-FFF2-40B4-BE49-F238E27FC236}">
                <a16:creationId xmlns:a16="http://schemas.microsoft.com/office/drawing/2014/main" id="{8BFBC54D-CC07-BA9E-D912-BCE4639B1FE6}"/>
              </a:ext>
            </a:extLst>
          </p:cNvPr>
          <p:cNvSpPr txBox="1"/>
          <p:nvPr/>
        </p:nvSpPr>
        <p:spPr>
          <a:xfrm>
            <a:off x="943739" y="2744167"/>
            <a:ext cx="5075654" cy="523220"/>
          </a:xfrm>
          <a:prstGeom prst="rect">
            <a:avLst/>
          </a:prstGeom>
          <a:noFill/>
        </p:spPr>
        <p:txBody>
          <a:bodyPr wrap="square" lIns="0" tIns="0" rIns="0" bIns="0" rtlCol="0">
            <a:spAutoFit/>
          </a:bodyPr>
          <a:lstStyle/>
          <a:p>
            <a:pPr>
              <a:spcBef>
                <a:spcPts val="600"/>
              </a:spcBef>
              <a:buSzPct val="100000"/>
            </a:pPr>
            <a:r>
              <a:rPr lang="en-US" b="1" i="1">
                <a:solidFill>
                  <a:srgbClr val="313131"/>
                </a:solidFill>
                <a:latin typeface="Open Sans" panose="020B0606030504020204" pitchFamily="34" charset="0"/>
                <a:ea typeface="Open Sans" panose="020B0606030504020204" pitchFamily="34" charset="0"/>
                <a:cs typeface="Open Sans" panose="020B0606030504020204" pitchFamily="34" charset="0"/>
              </a:rPr>
              <a:t>ADAPT: </a:t>
            </a:r>
            <a:r>
              <a:rPr lang="en-US" sz="1600">
                <a:solidFill>
                  <a:srgbClr val="313131"/>
                </a:solidFill>
                <a:latin typeface="Open Sans" panose="020B0606030504020204" pitchFamily="34" charset="0"/>
                <a:ea typeface="Open Sans" panose="020B0606030504020204" pitchFamily="34" charset="0"/>
                <a:cs typeface="Open Sans" panose="020B0606030504020204" pitchFamily="34" charset="0"/>
              </a:rPr>
              <a:t>Ensure plans are flexible and built through an </a:t>
            </a:r>
            <a:r>
              <a:rPr lang="en-US" sz="1600" err="1">
                <a:solidFill>
                  <a:srgbClr val="313131"/>
                </a:solidFill>
                <a:latin typeface="Open Sans" panose="020B0606030504020204" pitchFamily="34" charset="0"/>
                <a:ea typeface="Open Sans" panose="020B0606030504020204" pitchFamily="34" charset="0"/>
                <a:cs typeface="Open Sans" panose="020B0606030504020204" pitchFamily="34" charset="0"/>
              </a:rPr>
              <a:t>all-hazards</a:t>
            </a:r>
            <a:r>
              <a:rPr lang="en-US" sz="1600">
                <a:solidFill>
                  <a:srgbClr val="313131"/>
                </a:solidFill>
                <a:latin typeface="Open Sans" panose="020B0606030504020204" pitchFamily="34" charset="0"/>
                <a:ea typeface="Open Sans" panose="020B0606030504020204" pitchFamily="34" charset="0"/>
                <a:cs typeface="Open Sans" panose="020B0606030504020204" pitchFamily="34" charset="0"/>
              </a:rPr>
              <a:t> and whole community approach</a:t>
            </a:r>
            <a:endParaRPr lang="en-US" b="1">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5" name="TextBox 1584">
            <a:extLst>
              <a:ext uri="{FF2B5EF4-FFF2-40B4-BE49-F238E27FC236}">
                <a16:creationId xmlns:a16="http://schemas.microsoft.com/office/drawing/2014/main" id="{BAFDA123-70E5-1205-468B-1C0AFCF5C4AA}"/>
              </a:ext>
            </a:extLst>
          </p:cNvPr>
          <p:cNvSpPr txBox="1"/>
          <p:nvPr/>
        </p:nvSpPr>
        <p:spPr>
          <a:xfrm>
            <a:off x="943739" y="3846943"/>
            <a:ext cx="5075654" cy="523220"/>
          </a:xfrm>
          <a:prstGeom prst="rect">
            <a:avLst/>
          </a:prstGeom>
          <a:noFill/>
        </p:spPr>
        <p:txBody>
          <a:bodyPr wrap="square" lIns="0" tIns="0" rIns="0" bIns="0" rtlCol="0">
            <a:spAutoFit/>
          </a:bodyPr>
          <a:lstStyle/>
          <a:p>
            <a:pPr>
              <a:spcBef>
                <a:spcPts val="600"/>
              </a:spcBef>
              <a:buSzPct val="100000"/>
            </a:pPr>
            <a:r>
              <a:rPr lang="en-US" b="1" i="1">
                <a:solidFill>
                  <a:srgbClr val="313131"/>
                </a:solidFill>
                <a:latin typeface="Open Sans" panose="020B0606030504020204" pitchFamily="34" charset="0"/>
                <a:ea typeface="Open Sans" panose="020B0606030504020204" pitchFamily="34" charset="0"/>
                <a:cs typeface="Open Sans" panose="020B0606030504020204" pitchFamily="34" charset="0"/>
              </a:rPr>
              <a:t>ABSORB: </a:t>
            </a:r>
            <a:r>
              <a:rPr lang="en-US" sz="1600">
                <a:solidFill>
                  <a:srgbClr val="313131"/>
                </a:solidFill>
                <a:latin typeface="Open Sans" panose="020B0606030504020204" pitchFamily="34" charset="0"/>
                <a:ea typeface="Open Sans" panose="020B0606030504020204" pitchFamily="34" charset="0"/>
                <a:cs typeface="Open Sans" panose="020B0606030504020204" pitchFamily="34" charset="0"/>
              </a:rPr>
              <a:t>Resilience projects should mitigate impact of a disruptive event or crisis for Louisiana.</a:t>
            </a:r>
            <a:endParaRPr lang="en-US">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6" name="TextBox 1585">
            <a:extLst>
              <a:ext uri="{FF2B5EF4-FFF2-40B4-BE49-F238E27FC236}">
                <a16:creationId xmlns:a16="http://schemas.microsoft.com/office/drawing/2014/main" id="{51C54882-8BD8-9396-511A-B75D4B3ACECA}"/>
              </a:ext>
            </a:extLst>
          </p:cNvPr>
          <p:cNvSpPr txBox="1"/>
          <p:nvPr/>
        </p:nvSpPr>
        <p:spPr>
          <a:xfrm>
            <a:off x="943739" y="4821379"/>
            <a:ext cx="5075654" cy="1015663"/>
          </a:xfrm>
          <a:prstGeom prst="rect">
            <a:avLst/>
          </a:prstGeom>
          <a:noFill/>
        </p:spPr>
        <p:txBody>
          <a:bodyPr wrap="square" lIns="0" tIns="0" rIns="0" bIns="0" rtlCol="0">
            <a:spAutoFit/>
          </a:bodyPr>
          <a:lstStyle/>
          <a:p>
            <a:pPr>
              <a:spcBef>
                <a:spcPts val="600"/>
              </a:spcBef>
              <a:buSzPct val="100000"/>
            </a:pPr>
            <a:r>
              <a:rPr lang="en-US" b="1" i="1">
                <a:solidFill>
                  <a:srgbClr val="313131"/>
                </a:solidFill>
                <a:latin typeface="Open Sans" panose="020B0606030504020204" pitchFamily="34" charset="0"/>
                <a:ea typeface="Open Sans" panose="020B0606030504020204" pitchFamily="34" charset="0"/>
                <a:cs typeface="Open Sans" panose="020B0606030504020204" pitchFamily="34" charset="0"/>
              </a:rPr>
              <a:t>RECOVER: </a:t>
            </a:r>
            <a:r>
              <a:rPr lang="en-US" sz="1600">
                <a:solidFill>
                  <a:srgbClr val="313131"/>
                </a:solidFill>
                <a:latin typeface="Open Sans" panose="020B0606030504020204" pitchFamily="34" charset="0"/>
                <a:ea typeface="Open Sans" panose="020B0606030504020204" pitchFamily="34" charset="0"/>
                <a:cs typeface="Open Sans" panose="020B0606030504020204" pitchFamily="34" charset="0"/>
              </a:rPr>
              <a:t>Actively support efforts, such as pursing post-disaster mitigation funding, to improve after a disruptive event or crisis to better prepare for the future.</a:t>
            </a:r>
            <a:endParaRPr lang="en-US" b="1" i="1">
              <a:solidFill>
                <a:srgbClr val="31313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7" name="TextBox 1586">
            <a:extLst>
              <a:ext uri="{FF2B5EF4-FFF2-40B4-BE49-F238E27FC236}">
                <a16:creationId xmlns:a16="http://schemas.microsoft.com/office/drawing/2014/main" id="{66019389-AEC0-5EB1-940E-79C11921FF44}"/>
              </a:ext>
            </a:extLst>
          </p:cNvPr>
          <p:cNvSpPr txBox="1"/>
          <p:nvPr/>
        </p:nvSpPr>
        <p:spPr>
          <a:xfrm>
            <a:off x="6974698" y="4893367"/>
            <a:ext cx="4591559" cy="984885"/>
          </a:xfrm>
          <a:prstGeom prst="rect">
            <a:avLst/>
          </a:prstGeom>
          <a:noFill/>
        </p:spPr>
        <p:txBody>
          <a:bodyPr wrap="square" lIns="0" tIns="0" rIns="0" bIns="0" rtlCol="0">
            <a:spAutoFit/>
          </a:bodyPr>
          <a:lstStyle/>
          <a:p>
            <a:pPr algn="ctr">
              <a:spcBef>
                <a:spcPts val="600"/>
              </a:spcBef>
              <a:buSzPct val="100000"/>
            </a:pPr>
            <a:r>
              <a:rPr lang="en-US" sz="1600" b="1" i="1">
                <a:solidFill>
                  <a:srgbClr val="002060"/>
                </a:solidFill>
                <a:latin typeface="Open Sans" panose="020B0606030504020204" pitchFamily="34" charset="0"/>
                <a:ea typeface="Open Sans" panose="020B0606030504020204" pitchFamily="34" charset="0"/>
                <a:cs typeface="Open Sans" panose="020B0606030504020204" pitchFamily="34" charset="0"/>
              </a:rPr>
              <a:t>Louisiana’s resilience spoke and hub structure allows for coordination in resilience building across the state with the Chief Resilience Officer at the helm.</a:t>
            </a:r>
          </a:p>
        </p:txBody>
      </p:sp>
      <p:pic>
        <p:nvPicPr>
          <p:cNvPr id="2" name="Picture 2" descr="SubTab1Image">
            <a:extLst>
              <a:ext uri="{FF2B5EF4-FFF2-40B4-BE49-F238E27FC236}">
                <a16:creationId xmlns:a16="http://schemas.microsoft.com/office/drawing/2014/main" id="{B5F76CCA-198C-A9AD-087A-153B58D76C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0168" y="1103306"/>
            <a:ext cx="3698093" cy="37290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562815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B1C60B8-081F-4059-994B-4CDA804F7A89}"/>
              </a:ext>
            </a:extLst>
          </p:cNvPr>
          <p:cNvSpPr/>
          <p:nvPr/>
        </p:nvSpPr>
        <p:spPr>
          <a:xfrm>
            <a:off x="-16897" y="-1"/>
            <a:ext cx="3575105" cy="6919476"/>
          </a:xfrm>
          <a:prstGeom prst="rect">
            <a:avLst/>
          </a:prstGeom>
          <a:solidFill>
            <a:srgbClr val="1E335D"/>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7" name="Object 36" hidden="1">
            <a:extLst>
              <a:ext uri="{FF2B5EF4-FFF2-40B4-BE49-F238E27FC236}">
                <a16:creationId xmlns:a16="http://schemas.microsoft.com/office/drawing/2014/main" id="{CD0360F4-338D-4B8B-8DDC-979C2A1E10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395" imgH="396" progId="TCLayout.ActiveDocument.1">
                  <p:embed/>
                </p:oleObj>
              </mc:Choice>
              <mc:Fallback>
                <p:oleObj name="think-cell Slide" r:id="rId5" imgW="395" imgH="396" progId="TCLayout.ActiveDocument.1">
                  <p:embed/>
                  <p:pic>
                    <p:nvPicPr>
                      <p:cNvPr id="37" name="Object 36" hidden="1">
                        <a:extLst>
                          <a:ext uri="{FF2B5EF4-FFF2-40B4-BE49-F238E27FC236}">
                            <a16:creationId xmlns:a16="http://schemas.microsoft.com/office/drawing/2014/main" id="{CD0360F4-338D-4B8B-8DDC-979C2A1E10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8B0BA8CE-2839-4205-9FF6-947F119B9082}"/>
              </a:ext>
            </a:extLst>
          </p:cNvPr>
          <p:cNvSpPr/>
          <p:nvPr/>
        </p:nvSpPr>
        <p:spPr>
          <a:xfrm>
            <a:off x="312758" y="815753"/>
            <a:ext cx="2745251" cy="2862322"/>
          </a:xfrm>
          <a:prstGeom prst="rect">
            <a:avLst/>
          </a:prstGeom>
        </p:spPr>
        <p:txBody>
          <a:bodyPr vert="horz" lIns="0" tIns="0" rIns="0" bIns="0" rtlCol="0" anchor="t">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Agenda</a:t>
            </a:r>
            <a:endParaRPr kumimoji="0" lang="en-US" sz="4000" b="0" i="0" u="none" strike="sng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 name="TextBox 2">
            <a:extLst>
              <a:ext uri="{FF2B5EF4-FFF2-40B4-BE49-F238E27FC236}">
                <a16:creationId xmlns:a16="http://schemas.microsoft.com/office/drawing/2014/main" id="{6DB0FD1B-2C6B-9039-E3EF-1AAFE91BED20}"/>
              </a:ext>
            </a:extLst>
          </p:cNvPr>
          <p:cNvSpPr txBox="1"/>
          <p:nvPr/>
        </p:nvSpPr>
        <p:spPr>
          <a:xfrm>
            <a:off x="3717316" y="436675"/>
            <a:ext cx="7863752" cy="5665525"/>
          </a:xfrm>
          <a:prstGeom prst="rect">
            <a:avLst/>
          </a:prstGeom>
          <a:noFill/>
        </p:spPr>
        <p:txBody>
          <a:bodyPr wrap="square">
            <a:spAutoFit/>
          </a:bodyPr>
          <a:lstStyle/>
          <a:p>
            <a:pPr marL="458666" indent="-457200">
              <a:lnSpc>
                <a:spcPct val="150000"/>
              </a:lnSpc>
              <a:buClr>
                <a:srgbClr val="000000"/>
              </a:buClr>
              <a:buFont typeface="+mj-lt"/>
              <a:buAutoNum type="arabicPeriod"/>
              <a:defRPr/>
            </a:pPr>
            <a:r>
              <a:rPr kumimoji="0" lang="en-US" sz="1800" b="1"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Welcome and </a:t>
            </a:r>
            <a:r>
              <a:rPr lang="en-US" sz="18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Call to Order</a:t>
            </a:r>
          </a:p>
          <a:p>
            <a:pPr marL="458666" indent="-457200">
              <a:lnSpc>
                <a:spcPct val="150000"/>
              </a:lnSpc>
              <a:buClr>
                <a:srgbClr val="000000"/>
              </a:buClr>
              <a:buFont typeface="+mj-lt"/>
              <a:buAutoNum type="arabicPeriod"/>
              <a:defRPr/>
            </a:pPr>
            <a:r>
              <a:rPr kumimoji="0" lang="en-US" sz="1800" b="1"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Roll </a:t>
            </a:r>
            <a:r>
              <a:rPr kumimoji="0" lang="en-US" sz="1800" b="1" i="0" u="none" strike="noStrike" kern="1200" cap="none" spc="0" normalizeH="0" baseline="0" noProof="0" dirty="0" smtClean="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Call</a:t>
            </a:r>
          </a:p>
          <a:p>
            <a:pPr marL="458666" indent="-457200">
              <a:lnSpc>
                <a:spcPct val="150000"/>
              </a:lnSpc>
              <a:buClr>
                <a:srgbClr val="000000"/>
              </a:buClr>
              <a:buFont typeface="+mj-lt"/>
              <a:buAutoNum type="arabicPeriod"/>
              <a:defRPr/>
            </a:pPr>
            <a:r>
              <a:rPr lang="en-US" b="1" dirty="0" smtClean="0">
                <a:solidFill>
                  <a:srgbClr val="002060"/>
                </a:solidFill>
                <a:latin typeface="Open Sans" panose="020B0606030504020204" pitchFamily="34" charset="0"/>
                <a:ea typeface="Open Sans" panose="020B0606030504020204" pitchFamily="34" charset="0"/>
                <a:cs typeface="Open Sans" panose="020B0606030504020204" pitchFamily="34" charset="0"/>
              </a:rPr>
              <a:t>Public Comment</a:t>
            </a:r>
          </a:p>
          <a:p>
            <a:pPr marL="458666" indent="-457200">
              <a:lnSpc>
                <a:spcPct val="150000"/>
              </a:lnSpc>
              <a:buClr>
                <a:srgbClr val="000000"/>
              </a:buClr>
              <a:buFont typeface="+mj-lt"/>
              <a:buAutoNum type="arabicPeriod"/>
              <a:defRPr/>
            </a:pPr>
            <a:r>
              <a:rPr lang="en-US" sz="1800" b="1" dirty="0" smtClean="0">
                <a:solidFill>
                  <a:srgbClr val="002060"/>
                </a:solidFill>
                <a:latin typeface="Open Sans" panose="020B0606030504020204" pitchFamily="34" charset="0"/>
                <a:ea typeface="Open Sans" panose="020B0606030504020204" pitchFamily="34" charset="0"/>
                <a:cs typeface="Open Sans" panose="020B0606030504020204" pitchFamily="34" charset="0"/>
              </a:rPr>
              <a:t>Approval </a:t>
            </a:r>
            <a:r>
              <a:rPr lang="en-US" sz="18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of </a:t>
            </a:r>
            <a:r>
              <a:rPr lang="en-US" sz="1800" b="1" dirty="0" smtClean="0">
                <a:solidFill>
                  <a:srgbClr val="002060"/>
                </a:solidFill>
                <a:latin typeface="Open Sans" panose="020B0606030504020204" pitchFamily="34" charset="0"/>
                <a:ea typeface="Open Sans" panose="020B0606030504020204" pitchFamily="34" charset="0"/>
                <a:cs typeface="Open Sans" panose="020B0606030504020204" pitchFamily="34" charset="0"/>
              </a:rPr>
              <a:t>Agenda</a:t>
            </a:r>
          </a:p>
          <a:p>
            <a:pPr marL="458666" indent="-457200">
              <a:lnSpc>
                <a:spcPct val="150000"/>
              </a:lnSpc>
              <a:buClr>
                <a:srgbClr val="000000"/>
              </a:buClr>
              <a:buFont typeface="+mj-lt"/>
              <a:buAutoNum type="arabicPeriod"/>
              <a:defRPr/>
            </a:pPr>
            <a:r>
              <a:rPr lang="en-US" b="1" dirty="0" smtClean="0">
                <a:solidFill>
                  <a:srgbClr val="002060"/>
                </a:solidFill>
                <a:latin typeface="Open Sans" panose="020B0606030504020204" pitchFamily="34" charset="0"/>
                <a:ea typeface="Open Sans" panose="020B0606030504020204" pitchFamily="34" charset="0"/>
                <a:cs typeface="Open Sans" panose="020B0606030504020204" pitchFamily="34" charset="0"/>
              </a:rPr>
              <a:t>Introduction of Task Force Members- </a:t>
            </a:r>
            <a:r>
              <a:rPr lang="en-US" i="1" dirty="0">
                <a:solidFill>
                  <a:srgbClr val="002060"/>
                </a:solidFill>
                <a:latin typeface="Open Sans" panose="020B0606030504020204" pitchFamily="34" charset="0"/>
                <a:ea typeface="Open Sans" panose="020B0606030504020204" pitchFamily="34" charset="0"/>
                <a:cs typeface="Open Sans" panose="020B0606030504020204" pitchFamily="34" charset="0"/>
              </a:rPr>
              <a:t>Task Force Members</a:t>
            </a:r>
            <a:endParaRPr lang="en-US" b="1"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458666" indent="-457200">
              <a:lnSpc>
                <a:spcPct val="150000"/>
              </a:lnSpc>
              <a:buClr>
                <a:srgbClr val="000000"/>
              </a:buClr>
              <a:buFont typeface="+mj-lt"/>
              <a:buAutoNum type="arabicPeriod"/>
              <a:defRPr/>
            </a:pPr>
            <a:r>
              <a:rPr lang="en-US" sz="1800" b="1" dirty="0" smtClean="0">
                <a:solidFill>
                  <a:srgbClr val="002060"/>
                </a:solidFill>
                <a:latin typeface="Open Sans" panose="020B0606030504020204" pitchFamily="34" charset="0"/>
                <a:ea typeface="Open Sans" panose="020B0606030504020204" pitchFamily="34" charset="0"/>
                <a:cs typeface="Open Sans" panose="020B0606030504020204" pitchFamily="34" charset="0"/>
              </a:rPr>
              <a:t>History of Resilience Work to Date- </a:t>
            </a:r>
            <a:r>
              <a:rPr lang="en-US" i="1" dirty="0">
                <a:solidFill>
                  <a:srgbClr val="002060"/>
                </a:solidFill>
                <a:latin typeface="Open Sans" panose="020B0606030504020204" pitchFamily="34" charset="0"/>
                <a:ea typeface="Open Sans" panose="020B0606030504020204" pitchFamily="34" charset="0"/>
                <a:cs typeface="Open Sans" panose="020B0606030504020204" pitchFamily="34" charset="0"/>
              </a:rPr>
              <a:t>Stephen Swiber, Office of the </a:t>
            </a:r>
            <a:r>
              <a:rPr lang="en-US" i="1" dirty="0" smtClean="0">
                <a:solidFill>
                  <a:srgbClr val="002060"/>
                </a:solidFill>
                <a:latin typeface="Open Sans" panose="020B0606030504020204" pitchFamily="34" charset="0"/>
                <a:ea typeface="Open Sans" panose="020B0606030504020204" pitchFamily="34" charset="0"/>
                <a:cs typeface="Open Sans" panose="020B0606030504020204" pitchFamily="34" charset="0"/>
              </a:rPr>
              <a:t>Governor</a:t>
            </a:r>
            <a:endParaRPr lang="en-US" sz="1800" b="1"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458666" indent="-457200">
              <a:lnSpc>
                <a:spcPct val="150000"/>
              </a:lnSpc>
              <a:buClr>
                <a:srgbClr val="000000"/>
              </a:buClr>
              <a:buFont typeface="+mj-lt"/>
              <a:buAutoNum type="arabicPeriod"/>
              <a:defRPr/>
            </a:pPr>
            <a:r>
              <a:rPr kumimoji="0" lang="en-US" sz="1800" b="1" i="0" u="none" strike="noStrike" kern="1200" cap="none" spc="0" normalizeH="0" baseline="0" noProof="0" dirty="0" smtClean="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Overview</a:t>
            </a:r>
            <a:r>
              <a:rPr kumimoji="0" lang="en-US" sz="1800" b="1" i="0" u="none" strike="noStrike" kern="1200" cap="none" spc="0" normalizeH="0" noProof="0" dirty="0" smtClean="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 of Act 315</a:t>
            </a:r>
            <a:r>
              <a:rPr kumimoji="0" lang="en-US" sz="1800" b="1" i="0" u="none" strike="noStrike" kern="1200" cap="none" spc="0" normalizeH="0" baseline="0" noProof="0" dirty="0" smtClean="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800" i="1"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Stephen Swiber, Office of the Governor</a:t>
            </a:r>
          </a:p>
          <a:p>
            <a:pPr marL="458666" indent="-457200">
              <a:lnSpc>
                <a:spcPct val="150000"/>
              </a:lnSpc>
              <a:buClr>
                <a:srgbClr val="000000"/>
              </a:buClr>
              <a:buFont typeface="+mj-lt"/>
              <a:buAutoNum type="arabicPeriod"/>
              <a:defRPr/>
            </a:pPr>
            <a:r>
              <a:rPr kumimoji="0" lang="en-US" sz="1800" b="1" i="0" u="none" strike="noStrike" kern="1200" cap="none" spc="0" normalizeH="0" baseline="0" noProof="0" dirty="0" smtClean="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Resilience Report Overview and Discussion– </a:t>
            </a:r>
            <a:r>
              <a:rPr kumimoji="0" lang="en-US" sz="1800" i="1"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Stephen Swiber, Office of the Governor</a:t>
            </a:r>
            <a:endParaRPr kumimoji="0" lang="en-US" sz="1800" b="1"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458666" indent="-457200">
              <a:lnSpc>
                <a:spcPct val="150000"/>
              </a:lnSpc>
              <a:buClr>
                <a:srgbClr val="000000"/>
              </a:buClr>
              <a:buFont typeface="+mj-lt"/>
              <a:buAutoNum type="arabicPeriod"/>
              <a:defRPr/>
            </a:pPr>
            <a:r>
              <a:rPr lang="en-US" sz="1800" b="1" dirty="0" smtClean="0">
                <a:solidFill>
                  <a:srgbClr val="002060"/>
                </a:solidFill>
                <a:latin typeface="Open Sans" panose="020B0606030504020204" pitchFamily="34" charset="0"/>
                <a:ea typeface="Open Sans" panose="020B0606030504020204" pitchFamily="34" charset="0"/>
                <a:cs typeface="Open Sans" panose="020B0606030504020204" pitchFamily="34" charset="0"/>
              </a:rPr>
              <a:t>Strategic Discussion, Direction for Resilience Office</a:t>
            </a:r>
            <a:r>
              <a:rPr kumimoji="0" lang="en-US" sz="1800" b="1" i="0" u="none" strike="noStrike" kern="1200" cap="none" spc="0" normalizeH="0" baseline="0" noProof="0" dirty="0" smtClean="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800" i="1" u="none" strike="noStrike" kern="1200" cap="none" spc="0" normalizeH="0" baseline="0" noProof="0" dirty="0" smtClean="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Task Force Members</a:t>
            </a:r>
            <a:endParaRPr lang="en-US" sz="1800" b="1"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458666" indent="-457200">
              <a:lnSpc>
                <a:spcPct val="150000"/>
              </a:lnSpc>
              <a:buClr>
                <a:srgbClr val="000000"/>
              </a:buClr>
              <a:buFont typeface="+mj-lt"/>
              <a:buAutoNum type="arabicPeriod"/>
              <a:defRPr/>
            </a:pPr>
            <a:r>
              <a:rPr kumimoji="0" lang="en-US" sz="1800" b="1"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Grant </a:t>
            </a:r>
            <a:r>
              <a:rPr kumimoji="0" lang="en-US" sz="1800" b="1" i="0" u="none" strike="noStrike" kern="1200" cap="none" spc="0" normalizeH="0" baseline="0" noProof="0" dirty="0" smtClean="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Opportunities </a:t>
            </a:r>
            <a:r>
              <a:rPr kumimoji="0" lang="en-US" sz="1800" b="1"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800" i="1"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Stephen Swiber, Office of the Governor &amp; Task Force Members</a:t>
            </a:r>
            <a:endParaRPr kumimoji="0" lang="en-US" sz="1800" b="1"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458666" indent="-457200">
              <a:lnSpc>
                <a:spcPct val="150000"/>
              </a:lnSpc>
              <a:buClr>
                <a:srgbClr val="000000"/>
              </a:buClr>
              <a:buFont typeface="+mj-lt"/>
              <a:buAutoNum type="arabicPeriod"/>
              <a:defRPr/>
            </a:pPr>
            <a:r>
              <a:rPr lang="en-US" sz="18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Updates and Announcements– </a:t>
            </a:r>
            <a:r>
              <a:rPr lang="en-US" i="1" dirty="0">
                <a:solidFill>
                  <a:srgbClr val="002060"/>
                </a:solidFill>
                <a:latin typeface="Open Sans" panose="020B0606030504020204" pitchFamily="34" charset="0"/>
                <a:ea typeface="Open Sans" panose="020B0606030504020204" pitchFamily="34" charset="0"/>
                <a:cs typeface="Open Sans" panose="020B0606030504020204" pitchFamily="34" charset="0"/>
              </a:rPr>
              <a:t>Task Force M</a:t>
            </a:r>
            <a:r>
              <a:rPr lang="en-US" sz="1800" i="1" dirty="0">
                <a:solidFill>
                  <a:srgbClr val="002060"/>
                </a:solidFill>
                <a:latin typeface="Open Sans" panose="020B0606030504020204" pitchFamily="34" charset="0"/>
                <a:ea typeface="Open Sans" panose="020B0606030504020204" pitchFamily="34" charset="0"/>
                <a:cs typeface="Open Sans" panose="020B0606030504020204" pitchFamily="34" charset="0"/>
              </a:rPr>
              <a:t>embers</a:t>
            </a:r>
            <a:endParaRPr lang="en-US" sz="1800" b="1"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marL="458666" indent="-457200">
              <a:lnSpc>
                <a:spcPct val="150000"/>
              </a:lnSpc>
              <a:buClr>
                <a:srgbClr val="000000"/>
              </a:buClr>
              <a:buFont typeface="+mj-lt"/>
              <a:buAutoNum type="arabicPeriod"/>
              <a:defRPr/>
            </a:pPr>
            <a:r>
              <a:rPr lang="en-US" sz="1800" b="1" dirty="0" smtClean="0">
                <a:solidFill>
                  <a:srgbClr val="002060"/>
                </a:solidFill>
                <a:latin typeface="Open Sans" panose="020B0606030504020204" pitchFamily="34" charset="0"/>
                <a:ea typeface="Open Sans" panose="020B0606030504020204" pitchFamily="34" charset="0"/>
                <a:cs typeface="Open Sans" panose="020B0606030504020204" pitchFamily="34" charset="0"/>
              </a:rPr>
              <a:t>Adjourn</a:t>
            </a:r>
            <a:endParaRPr kumimoji="0" lang="en-US" sz="1800" b="1" i="0"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458666" indent="-457200">
              <a:lnSpc>
                <a:spcPct val="106000"/>
              </a:lnSpc>
              <a:buClr>
                <a:srgbClr val="000000"/>
              </a:buClr>
              <a:buFont typeface="+mj-lt"/>
              <a:buAutoNum type="arabicPeriod"/>
              <a:defRPr/>
            </a:pPr>
            <a:endParaRPr kumimoji="0" lang="en-US" sz="18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466" marR="0" lvl="0" indent="0" defTabSz="914400" rtl="0" eaLnBrk="1" fontAlgn="auto" latinLnBrk="0" hangingPunct="1">
              <a:lnSpc>
                <a:spcPct val="106000"/>
              </a:lnSpc>
              <a:spcBef>
                <a:spcPts val="0"/>
              </a:spcBef>
              <a:spcAft>
                <a:spcPts val="0"/>
              </a:spcAft>
              <a:buClr>
                <a:srgbClr val="000000"/>
              </a:buClr>
              <a:buSzTx/>
              <a:buFontTx/>
              <a:buNone/>
              <a:tabLst/>
              <a:defRPr/>
            </a:pPr>
            <a:endParaRPr kumimoji="0" lang="en-US" sz="18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582491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Louisiana’s Resilient Priorities </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7" name="Rectangle 46">
            <a:extLst>
              <a:ext uri="{FF2B5EF4-FFF2-40B4-BE49-F238E27FC236}">
                <a16:creationId xmlns:a16="http://schemas.microsoft.com/office/drawing/2014/main" id="{BFAE086C-296E-8F56-4EFA-AE30F67DA78E}"/>
              </a:ext>
            </a:extLst>
          </p:cNvPr>
          <p:cNvSpPr/>
          <p:nvPr/>
        </p:nvSpPr>
        <p:spPr>
          <a:xfrm>
            <a:off x="821273" y="1673829"/>
            <a:ext cx="3801831" cy="2645265"/>
          </a:xfrm>
          <a:prstGeom prst="rect">
            <a:avLst/>
          </a:prstGeom>
          <a:noFill/>
          <a:ln w="22225" cap="flat" cmpd="sng" algn="ctr">
            <a:solidFill>
              <a:srgbClr val="297FD5">
                <a:lumMod val="50000"/>
              </a:srgbClr>
            </a:solidFill>
            <a:prstDash val="solid"/>
            <a:miter lim="800000"/>
          </a:ln>
          <a:effectLst/>
        </p:spPr>
        <p:txBody>
          <a:bodyPr lIns="91440" tIns="91440" rIns="91440" bIns="9144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Open Sans"/>
              <a:ea typeface="Calibri" panose="020F0502020204030204" pitchFamily="34" charset="0"/>
            </a:endParaRPr>
          </a:p>
        </p:txBody>
      </p:sp>
      <p:sp>
        <p:nvSpPr>
          <p:cNvPr id="48" name="Rectangle 47">
            <a:extLst>
              <a:ext uri="{FF2B5EF4-FFF2-40B4-BE49-F238E27FC236}">
                <a16:creationId xmlns:a16="http://schemas.microsoft.com/office/drawing/2014/main" id="{6ADDC5D9-E665-C4A3-C4A4-EC83C53A5E24}"/>
              </a:ext>
            </a:extLst>
          </p:cNvPr>
          <p:cNvSpPr/>
          <p:nvPr/>
        </p:nvSpPr>
        <p:spPr>
          <a:xfrm>
            <a:off x="1236365" y="1381770"/>
            <a:ext cx="3000661" cy="527361"/>
          </a:xfrm>
          <a:prstGeom prst="rect">
            <a:avLst/>
          </a:prstGeom>
          <a:solidFill>
            <a:srgbClr val="E0F0FA"/>
          </a:solidFill>
          <a:ln w="22225" cap="flat" cmpd="sng" algn="ctr">
            <a:solidFill>
              <a:srgbClr val="297FD5">
                <a:lumMod val="50000"/>
              </a:srgbClr>
            </a:solidFill>
            <a:prstDash val="solid"/>
            <a:miter lim="800000"/>
          </a:ln>
          <a:effectLst/>
        </p:spPr>
        <p:txBody>
          <a:bodyPr lIns="91440" tIns="91440" rIns="91440" bIns="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Rectangle 48">
            <a:extLst>
              <a:ext uri="{FF2B5EF4-FFF2-40B4-BE49-F238E27FC236}">
                <a16:creationId xmlns:a16="http://schemas.microsoft.com/office/drawing/2014/main" id="{C706F780-F439-336C-9E01-ED6280099E19}"/>
              </a:ext>
            </a:extLst>
          </p:cNvPr>
          <p:cNvSpPr/>
          <p:nvPr/>
        </p:nvSpPr>
        <p:spPr>
          <a:xfrm>
            <a:off x="830337" y="4849201"/>
            <a:ext cx="10489901" cy="1592577"/>
          </a:xfrm>
          <a:prstGeom prst="rect">
            <a:avLst/>
          </a:prstGeom>
          <a:noFill/>
          <a:ln w="28575" cap="flat" cmpd="sng" algn="ctr">
            <a:solidFill>
              <a:srgbClr val="297FD5">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ndParaRPr>
          </a:p>
        </p:txBody>
      </p:sp>
      <p:sp>
        <p:nvSpPr>
          <p:cNvPr id="52" name="TextBox 51">
            <a:extLst>
              <a:ext uri="{FF2B5EF4-FFF2-40B4-BE49-F238E27FC236}">
                <a16:creationId xmlns:a16="http://schemas.microsoft.com/office/drawing/2014/main" id="{6BDA2E1B-56E7-2989-F50C-DF545EB98378}"/>
              </a:ext>
            </a:extLst>
          </p:cNvPr>
          <p:cNvSpPr txBox="1"/>
          <p:nvPr/>
        </p:nvSpPr>
        <p:spPr>
          <a:xfrm>
            <a:off x="1171323" y="1401513"/>
            <a:ext cx="3130744" cy="795089"/>
          </a:xfrm>
          <a:prstGeom prst="rect">
            <a:avLst/>
          </a:prstGeom>
          <a:noFill/>
        </p:spPr>
        <p:txBody>
          <a:bodyPr vert="horz" wrap="square" lIns="0" tIns="0" rIns="0" bIns="0" rtlCol="0">
            <a:spAutoFit/>
          </a:bodyPr>
          <a:lstStyle/>
          <a:p>
            <a:pPr algn="ctr">
              <a:spcBef>
                <a:spcPts val="200"/>
              </a:spcBef>
              <a:buSzPct val="100000"/>
              <a:defRPr/>
            </a:pPr>
            <a:r>
              <a:rPr lang="en-US" sz="1600" b="1" kern="0">
                <a:solidFill>
                  <a:prstClr val="black"/>
                </a:solidFill>
                <a:latin typeface="Open Sans" panose="020B0606030504020204" pitchFamily="34" charset="0"/>
                <a:ea typeface="Open Sans" panose="020B0606030504020204" pitchFamily="34" charset="0"/>
                <a:cs typeface="Open Sans" panose="020B0606030504020204" pitchFamily="34" charset="0"/>
              </a:rPr>
              <a:t>Putting Plans into Action through Maximizing Funding</a:t>
            </a:r>
          </a:p>
          <a:p>
            <a:pPr algn="ctr">
              <a:spcBef>
                <a:spcPts val="200"/>
              </a:spcBef>
              <a:buSzPct val="100000"/>
              <a:defRPr/>
            </a:pPr>
            <a:endParaRPr lang="en-US">
              <a:solidFill>
                <a:prstClr val="black"/>
              </a:solidFill>
              <a:latin typeface="Open Sans"/>
            </a:endParaRPr>
          </a:p>
        </p:txBody>
      </p:sp>
      <p:sp>
        <p:nvSpPr>
          <p:cNvPr id="53" name="TextBox 52">
            <a:extLst>
              <a:ext uri="{FF2B5EF4-FFF2-40B4-BE49-F238E27FC236}">
                <a16:creationId xmlns:a16="http://schemas.microsoft.com/office/drawing/2014/main" id="{4F89BAF1-9172-E5A4-855C-0BA99497658F}"/>
              </a:ext>
            </a:extLst>
          </p:cNvPr>
          <p:cNvSpPr txBox="1"/>
          <p:nvPr/>
        </p:nvSpPr>
        <p:spPr>
          <a:xfrm>
            <a:off x="871762" y="1735101"/>
            <a:ext cx="3734354" cy="589905"/>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defRPr/>
            </a:pPr>
            <a:endParaRPr lang="en-US" sz="1100">
              <a:solidFill>
                <a:prstClr val="black"/>
              </a:solidFill>
              <a:latin typeface="Open Sans"/>
            </a:endParaRPr>
          </a:p>
          <a:p>
            <a:pPr marL="171450" indent="-171450">
              <a:spcBef>
                <a:spcPts val="200"/>
              </a:spcBef>
              <a:buSzPct val="100000"/>
              <a:buFont typeface="Arial" panose="020B0604020202020204" pitchFamily="34" charset="0"/>
              <a:buChar char="•"/>
              <a:defRPr/>
            </a:pPr>
            <a:endParaRPr lang="en-US" sz="1200">
              <a:solidFill>
                <a:prstClr val="black"/>
              </a:solidFill>
              <a:latin typeface="Open Sans"/>
            </a:endParaRPr>
          </a:p>
          <a:p>
            <a:pPr marL="171450" indent="-171450">
              <a:spcBef>
                <a:spcPts val="200"/>
              </a:spcBef>
              <a:buSzPct val="100000"/>
              <a:buFont typeface="Arial" panose="020B0604020202020204" pitchFamily="34" charset="0"/>
              <a:buChar char="•"/>
              <a:defRPr/>
            </a:pPr>
            <a:endParaRPr lang="en-US" sz="1200">
              <a:solidFill>
                <a:prstClr val="black"/>
              </a:solidFill>
              <a:latin typeface="Open Sans"/>
            </a:endParaRPr>
          </a:p>
        </p:txBody>
      </p:sp>
      <p:sp>
        <p:nvSpPr>
          <p:cNvPr id="54" name="Rectangle 53">
            <a:extLst>
              <a:ext uri="{FF2B5EF4-FFF2-40B4-BE49-F238E27FC236}">
                <a16:creationId xmlns:a16="http://schemas.microsoft.com/office/drawing/2014/main" id="{3EC3A7A2-1BA0-A46D-77D0-143F8EAF24F4}"/>
              </a:ext>
            </a:extLst>
          </p:cNvPr>
          <p:cNvSpPr/>
          <p:nvPr/>
        </p:nvSpPr>
        <p:spPr>
          <a:xfrm>
            <a:off x="7518407" y="1673829"/>
            <a:ext cx="3801831" cy="2645265"/>
          </a:xfrm>
          <a:prstGeom prst="rect">
            <a:avLst/>
          </a:prstGeom>
          <a:noFill/>
          <a:ln w="22225" cap="flat" cmpd="sng" algn="ctr">
            <a:solidFill>
              <a:srgbClr val="046A38"/>
            </a:solidFill>
            <a:prstDash val="solid"/>
            <a:miter lim="800000"/>
          </a:ln>
          <a:effectLst/>
        </p:spPr>
        <p:txBody>
          <a:bodyPr lIns="91440" tIns="91440" rIns="91440" bIns="91440" rtlCol="0" anchor="t" anchorCtr="0"/>
          <a:lstStyle/>
          <a:p>
            <a:pPr>
              <a:defRPr/>
            </a:pPr>
            <a:endParaRPr lang="en-US" sz="1200">
              <a:solidFill>
                <a:prstClr val="black"/>
              </a:solidFill>
              <a:latin typeface="Open Sans"/>
            </a:endParaRPr>
          </a:p>
        </p:txBody>
      </p:sp>
      <p:sp>
        <p:nvSpPr>
          <p:cNvPr id="55" name="Rectangle 54">
            <a:extLst>
              <a:ext uri="{FF2B5EF4-FFF2-40B4-BE49-F238E27FC236}">
                <a16:creationId xmlns:a16="http://schemas.microsoft.com/office/drawing/2014/main" id="{A73F1F90-4FBF-6F5C-9ED3-4DF67F42D0C1}"/>
              </a:ext>
            </a:extLst>
          </p:cNvPr>
          <p:cNvSpPr/>
          <p:nvPr/>
        </p:nvSpPr>
        <p:spPr>
          <a:xfrm>
            <a:off x="7918991" y="1355996"/>
            <a:ext cx="3000661" cy="547871"/>
          </a:xfrm>
          <a:prstGeom prst="rect">
            <a:avLst/>
          </a:prstGeom>
          <a:solidFill>
            <a:srgbClr val="AEC7BB"/>
          </a:solidFill>
          <a:ln w="22225" cap="flat" cmpd="sng" algn="ctr">
            <a:solidFill>
              <a:srgbClr val="046A38"/>
            </a:solidFill>
            <a:prstDash val="solid"/>
            <a:miter lim="800000"/>
          </a:ln>
          <a:effectLst/>
        </p:spPr>
        <p:txBody>
          <a:bodyPr lIns="91440" tIns="91440" rIns="91440" bIns="0" rtlCol="0" anchor="t" anchorCtr="0"/>
          <a:lstStyle/>
          <a:p>
            <a:pPr algn="ctr">
              <a:defRPr/>
            </a:pPr>
            <a:endParaRPr lang="en-US" b="1" kern="0">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TextBox 55">
            <a:extLst>
              <a:ext uri="{FF2B5EF4-FFF2-40B4-BE49-F238E27FC236}">
                <a16:creationId xmlns:a16="http://schemas.microsoft.com/office/drawing/2014/main" id="{83E60F85-2596-FFA9-49CD-EEFC79953C42}"/>
              </a:ext>
            </a:extLst>
          </p:cNvPr>
          <p:cNvSpPr txBox="1"/>
          <p:nvPr/>
        </p:nvSpPr>
        <p:spPr>
          <a:xfrm>
            <a:off x="7721600" y="1422240"/>
            <a:ext cx="3427242" cy="492443"/>
          </a:xfrm>
          <a:prstGeom prst="rect">
            <a:avLst/>
          </a:prstGeom>
          <a:noFill/>
        </p:spPr>
        <p:txBody>
          <a:bodyPr vert="horz" wrap="square" lIns="0" tIns="0" rIns="0" bIns="0" rtlCol="0">
            <a:spAutoFit/>
          </a:bodyPr>
          <a:lstStyle/>
          <a:p>
            <a:pPr algn="ctr">
              <a:spcBef>
                <a:spcPts val="200"/>
              </a:spcBef>
              <a:buSzPct val="100000"/>
              <a:defRPr/>
            </a:pPr>
            <a:r>
              <a:rPr lang="en-US" sz="1600" b="1" kern="0">
                <a:solidFill>
                  <a:prstClr val="black"/>
                </a:solidFill>
                <a:latin typeface="Open Sans" panose="020B0606030504020204" pitchFamily="34" charset="0"/>
                <a:ea typeface="Open Sans" panose="020B0606030504020204" pitchFamily="34" charset="0"/>
                <a:cs typeface="Open Sans" panose="020B0606030504020204" pitchFamily="34" charset="0"/>
              </a:rPr>
              <a:t>Protecting the People of Louisiana</a:t>
            </a:r>
            <a:endParaRPr lang="en-US">
              <a:solidFill>
                <a:prstClr val="black"/>
              </a:solidFill>
              <a:latin typeface="Open Sans"/>
            </a:endParaRPr>
          </a:p>
        </p:txBody>
      </p:sp>
      <p:sp>
        <p:nvSpPr>
          <p:cNvPr id="57" name="Rectangle 56">
            <a:extLst>
              <a:ext uri="{FF2B5EF4-FFF2-40B4-BE49-F238E27FC236}">
                <a16:creationId xmlns:a16="http://schemas.microsoft.com/office/drawing/2014/main" id="{DF988611-7378-63CC-E4A8-6569E71105C1}"/>
              </a:ext>
            </a:extLst>
          </p:cNvPr>
          <p:cNvSpPr/>
          <p:nvPr/>
        </p:nvSpPr>
        <p:spPr>
          <a:xfrm>
            <a:off x="2883094" y="4602141"/>
            <a:ext cx="6566784" cy="610479"/>
          </a:xfrm>
          <a:prstGeom prst="rect">
            <a:avLst/>
          </a:prstGeom>
          <a:solidFill>
            <a:srgbClr val="7F8FA9">
              <a:lumMod val="20000"/>
              <a:lumOff val="80000"/>
            </a:srgbClr>
          </a:solidFill>
          <a:ln w="22225" cap="flat" cmpd="sng" algn="ctr">
            <a:solidFill>
              <a:srgbClr val="1E5F9F">
                <a:lumMod val="40000"/>
                <a:lumOff val="60000"/>
              </a:srgbClr>
            </a:solidFill>
            <a:prstDash val="solid"/>
            <a:miter lim="800000"/>
          </a:ln>
          <a:effectLst/>
        </p:spPr>
        <p:txBody>
          <a:bodyPr lIns="91440" tIns="91440" rIns="91440" bIns="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Open Sans"/>
                <a:cs typeface="Calibri" panose="020F0502020204030204" pitchFamily="34" charset="0"/>
              </a:rPr>
              <a:t>Addressing Rural Community Needs including Broadband &amp; Insurance Accessibility</a:t>
            </a:r>
          </a:p>
        </p:txBody>
      </p:sp>
      <p:sp>
        <p:nvSpPr>
          <p:cNvPr id="58" name="TextBox 57">
            <a:extLst>
              <a:ext uri="{FF2B5EF4-FFF2-40B4-BE49-F238E27FC236}">
                <a16:creationId xmlns:a16="http://schemas.microsoft.com/office/drawing/2014/main" id="{1BECD857-E5FD-80E0-7974-85B4B57CA172}"/>
              </a:ext>
            </a:extLst>
          </p:cNvPr>
          <p:cNvSpPr txBox="1"/>
          <p:nvPr/>
        </p:nvSpPr>
        <p:spPr>
          <a:xfrm>
            <a:off x="944383" y="5419561"/>
            <a:ext cx="10369065" cy="861774"/>
          </a:xfrm>
          <a:prstGeom prst="rect">
            <a:avLst/>
          </a:prstGeom>
          <a:noFill/>
        </p:spPr>
        <p:txBody>
          <a:bodyPr vert="horz" wrap="square" lIns="0" tIns="0" rIns="0" bIns="0" rtlCol="0">
            <a:spAutoFit/>
          </a:bodyPr>
          <a:lstStyle/>
          <a:p>
            <a:pPr>
              <a:spcBef>
                <a:spcPts val="200"/>
              </a:spcBef>
              <a:buSzPct val="100000"/>
              <a:defRPr/>
            </a:pPr>
            <a:r>
              <a:rPr lang="en-US" sz="1400">
                <a:solidFill>
                  <a:prstClr val="black"/>
                </a:solidFill>
                <a:latin typeface="Open Sans"/>
              </a:rPr>
              <a:t>Rural community needs identified across the state: 656,000 locations that lack high-speed internet, 460,000 working-age adults without adequate digital skills, and 137,000 households without digital devices, as well as a projected shortfall of 8,000 jobs and deficient supply chain to support mass deployment of broadband infrastructure. The CRO aims to bolster technical assistance to ensure all parts of the state have access to apply for resilience grants.</a:t>
            </a:r>
          </a:p>
        </p:txBody>
      </p:sp>
      <p:sp>
        <p:nvSpPr>
          <p:cNvPr id="59" name="TextBox 58">
            <a:extLst>
              <a:ext uri="{FF2B5EF4-FFF2-40B4-BE49-F238E27FC236}">
                <a16:creationId xmlns:a16="http://schemas.microsoft.com/office/drawing/2014/main" id="{893D29A7-F434-B5FE-C8A4-C38E63C5EF44}"/>
              </a:ext>
            </a:extLst>
          </p:cNvPr>
          <p:cNvSpPr txBox="1"/>
          <p:nvPr/>
        </p:nvSpPr>
        <p:spPr>
          <a:xfrm>
            <a:off x="7630398" y="2462982"/>
            <a:ext cx="3638960" cy="1502976"/>
          </a:xfrm>
          <a:prstGeom prst="rect">
            <a:avLst/>
          </a:prstGeom>
          <a:noFill/>
        </p:spPr>
        <p:txBody>
          <a:bodyPr vert="horz" wrap="square" lIns="0" tIns="0" rIns="0" bIns="0" rtlCol="0">
            <a:spAutoFit/>
          </a:bodyPr>
          <a:lstStyle/>
          <a:p>
            <a:pPr>
              <a:spcBef>
                <a:spcPts val="200"/>
              </a:spcBef>
              <a:buSzPct val="100000"/>
              <a:defRPr/>
            </a:pPr>
            <a:r>
              <a:rPr lang="en-US" sz="1400">
                <a:solidFill>
                  <a:prstClr val="black"/>
                </a:solidFill>
                <a:latin typeface="Open Sans"/>
              </a:rPr>
              <a:t>Resilience projects will focus on the people of Louisiana and transparency will be a cornerstone of the office. Resilience building is essential to protect the people of Louisiana and make their everyday lives easier by making the State stronger.</a:t>
            </a:r>
            <a:endParaRPr lang="en-US" sz="1200">
              <a:solidFill>
                <a:prstClr val="black"/>
              </a:solidFill>
              <a:latin typeface="Open Sans"/>
            </a:endParaRPr>
          </a:p>
          <a:p>
            <a:pPr>
              <a:spcBef>
                <a:spcPts val="200"/>
              </a:spcBef>
              <a:buSzPct val="100000"/>
              <a:defRPr/>
            </a:pPr>
            <a:endParaRPr lang="en-US" sz="1200">
              <a:solidFill>
                <a:prstClr val="black"/>
              </a:solidFill>
              <a:latin typeface="Open Sans"/>
            </a:endParaRPr>
          </a:p>
        </p:txBody>
      </p:sp>
      <p:pic>
        <p:nvPicPr>
          <p:cNvPr id="60" name="Picture Placeholder 6" descr="Logo&#10;&#10;Description automatically generated">
            <a:extLst>
              <a:ext uri="{FF2B5EF4-FFF2-40B4-BE49-F238E27FC236}">
                <a16:creationId xmlns:a16="http://schemas.microsoft.com/office/drawing/2014/main" id="{478B6B24-C1B1-7969-857E-C9AF99B68D60}"/>
              </a:ext>
            </a:extLst>
          </p:cNvPr>
          <p:cNvPicPr>
            <a:picLocks noChangeAspect="1"/>
          </p:cNvPicPr>
          <p:nvPr/>
        </p:nvPicPr>
        <p:blipFill>
          <a:blip r:embed="rId3" cstate="print">
            <a:extLst>
              <a:ext uri="{28A0092B-C50C-407E-A947-70E740481C1C}">
                <a14:useLocalDpi xmlns:a14="http://schemas.microsoft.com/office/drawing/2010/main" val="0"/>
              </a:ext>
            </a:extLst>
          </a:blip>
          <a:srcRect l="15" r="15"/>
          <a:stretch>
            <a:fillRect/>
          </a:stretch>
        </p:blipFill>
        <p:spPr>
          <a:xfrm>
            <a:off x="5288066" y="2128320"/>
            <a:ext cx="1615868" cy="1615868"/>
          </a:xfrm>
          <a:prstGeom prst="rect">
            <a:avLst/>
          </a:prstGeom>
        </p:spPr>
      </p:pic>
      <p:sp>
        <p:nvSpPr>
          <p:cNvPr id="61" name="TextBox 60">
            <a:extLst>
              <a:ext uri="{FF2B5EF4-FFF2-40B4-BE49-F238E27FC236}">
                <a16:creationId xmlns:a16="http://schemas.microsoft.com/office/drawing/2014/main" id="{E42C127B-B215-42A9-158A-2A85E0E5260B}"/>
              </a:ext>
            </a:extLst>
          </p:cNvPr>
          <p:cNvSpPr txBox="1"/>
          <p:nvPr/>
        </p:nvSpPr>
        <p:spPr>
          <a:xfrm>
            <a:off x="953198" y="2457852"/>
            <a:ext cx="3425821" cy="1077218"/>
          </a:xfrm>
          <a:prstGeom prst="rect">
            <a:avLst/>
          </a:prstGeom>
          <a:noFill/>
        </p:spPr>
        <p:txBody>
          <a:bodyPr vert="horz" wrap="square" lIns="0" tIns="0" rIns="0" bIns="0" rtlCol="0">
            <a:spAutoFit/>
          </a:bodyPr>
          <a:lstStyle/>
          <a:p>
            <a:pPr>
              <a:spcBef>
                <a:spcPts val="200"/>
              </a:spcBef>
              <a:buSzPct val="100000"/>
              <a:defRPr/>
            </a:pPr>
            <a:r>
              <a:rPr lang="en-US" sz="1400">
                <a:solidFill>
                  <a:prstClr val="black"/>
                </a:solidFill>
                <a:latin typeface="Open Sans"/>
              </a:rPr>
              <a:t>A key aspect of resilience building for Louisiana will be an increased pursuit of funding opportunities and collaboration amongst agencies to further efforts to make Louisiana a stronger state.</a:t>
            </a:r>
          </a:p>
        </p:txBody>
      </p:sp>
    </p:spTree>
    <p:extLst>
      <p:ext uri="{BB962C8B-B14F-4D97-AF65-F5344CB8AC3E}">
        <p14:creationId xmlns:p14="http://schemas.microsoft.com/office/powerpoint/2010/main" val="299873349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AB8548C-981D-412C-2631-1CEC18753E0C}"/>
              </a:ext>
            </a:extLst>
          </p:cNvPr>
          <p:cNvPicPr>
            <a:picLocks noChangeAspect="1"/>
          </p:cNvPicPr>
          <p:nvPr/>
        </p:nvPicPr>
        <p:blipFill>
          <a:blip r:embed="rId3"/>
          <a:stretch>
            <a:fillRect/>
          </a:stretch>
        </p:blipFill>
        <p:spPr>
          <a:xfrm>
            <a:off x="272261" y="3594006"/>
            <a:ext cx="3382339" cy="2726774"/>
          </a:xfrm>
          <a:prstGeom prst="rect">
            <a:avLst/>
          </a:prstGeom>
          <a:effectLst>
            <a:outerShdw blurRad="50800" dist="38100" dir="2700000" algn="tl" rotWithShape="0">
              <a:prstClr val="black">
                <a:alpha val="40000"/>
              </a:prstClr>
            </a:outerShdw>
          </a:effectLst>
        </p:spPr>
      </p:pic>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How Can We Bring Additional Resilience Funds to Louisiana?</a:t>
            </a: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pic>
        <p:nvPicPr>
          <p:cNvPr id="3" name="Picture 2">
            <a:extLst>
              <a:ext uri="{FF2B5EF4-FFF2-40B4-BE49-F238E27FC236}">
                <a16:creationId xmlns:a16="http://schemas.microsoft.com/office/drawing/2014/main" id="{1D3A7578-5482-8F91-1A2B-97410FDFCF37}"/>
              </a:ext>
            </a:extLst>
          </p:cNvPr>
          <p:cNvPicPr>
            <a:picLocks noChangeAspect="1"/>
          </p:cNvPicPr>
          <p:nvPr/>
        </p:nvPicPr>
        <p:blipFill>
          <a:blip r:embed="rId4"/>
          <a:stretch>
            <a:fillRect/>
          </a:stretch>
        </p:blipFill>
        <p:spPr>
          <a:xfrm>
            <a:off x="3950180" y="3263093"/>
            <a:ext cx="3980448" cy="3166171"/>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29E2B673-4CE1-2DBD-08A3-3B7E03354C1B}"/>
              </a:ext>
            </a:extLst>
          </p:cNvPr>
          <p:cNvPicPr>
            <a:picLocks noChangeAspect="1"/>
          </p:cNvPicPr>
          <p:nvPr/>
        </p:nvPicPr>
        <p:blipFill>
          <a:blip r:embed="rId5"/>
          <a:stretch>
            <a:fillRect/>
          </a:stretch>
        </p:blipFill>
        <p:spPr>
          <a:xfrm>
            <a:off x="3878141" y="1412781"/>
            <a:ext cx="4124525" cy="1460839"/>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AD7B11B4-693D-F5A3-75CB-B3065B535AA8}"/>
              </a:ext>
            </a:extLst>
          </p:cNvPr>
          <p:cNvPicPr>
            <a:picLocks noChangeAspect="1"/>
          </p:cNvPicPr>
          <p:nvPr/>
        </p:nvPicPr>
        <p:blipFill>
          <a:blip r:embed="rId6"/>
          <a:stretch>
            <a:fillRect/>
          </a:stretch>
        </p:blipFill>
        <p:spPr>
          <a:xfrm>
            <a:off x="8115685" y="1205520"/>
            <a:ext cx="3929578" cy="4037688"/>
          </a:xfrm>
          <a:prstGeom prst="rect">
            <a:avLst/>
          </a:prstGeom>
          <a:effectLst>
            <a:outerShdw blurRad="50800" dist="38100" dir="2700000" algn="tl" rotWithShape="0">
              <a:prstClr val="black">
                <a:alpha val="40000"/>
              </a:prstClr>
            </a:outerShdw>
          </a:effectLst>
        </p:spPr>
      </p:pic>
      <p:pic>
        <p:nvPicPr>
          <p:cNvPr id="26" name="Picture 25">
            <a:extLst>
              <a:ext uri="{FF2B5EF4-FFF2-40B4-BE49-F238E27FC236}">
                <a16:creationId xmlns:a16="http://schemas.microsoft.com/office/drawing/2014/main" id="{BD7F5BAC-E643-AC6E-4F45-F46F3C95C1C0}"/>
              </a:ext>
            </a:extLst>
          </p:cNvPr>
          <p:cNvPicPr>
            <a:picLocks noChangeAspect="1"/>
          </p:cNvPicPr>
          <p:nvPr/>
        </p:nvPicPr>
        <p:blipFill>
          <a:blip r:embed="rId7"/>
          <a:stretch>
            <a:fillRect/>
          </a:stretch>
        </p:blipFill>
        <p:spPr>
          <a:xfrm>
            <a:off x="436369" y="1216245"/>
            <a:ext cx="3013711" cy="223064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7230917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Louisiana’s Resilient Priorities </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grpSp>
        <p:nvGrpSpPr>
          <p:cNvPr id="2" name="Group 1">
            <a:extLst>
              <a:ext uri="{FF2B5EF4-FFF2-40B4-BE49-F238E27FC236}">
                <a16:creationId xmlns:a16="http://schemas.microsoft.com/office/drawing/2014/main" id="{BDC4D99F-5EAE-8958-94C8-CDDB71CD1143}"/>
              </a:ext>
            </a:extLst>
          </p:cNvPr>
          <p:cNvGrpSpPr/>
          <p:nvPr/>
        </p:nvGrpSpPr>
        <p:grpSpPr>
          <a:xfrm>
            <a:off x="355995" y="1437127"/>
            <a:ext cx="5224504" cy="4798466"/>
            <a:chOff x="640736" y="1633908"/>
            <a:chExt cx="5542262" cy="4618554"/>
          </a:xfrm>
        </p:grpSpPr>
        <p:grpSp>
          <p:nvGrpSpPr>
            <p:cNvPr id="3" name="Group 2">
              <a:extLst>
                <a:ext uri="{FF2B5EF4-FFF2-40B4-BE49-F238E27FC236}">
                  <a16:creationId xmlns:a16="http://schemas.microsoft.com/office/drawing/2014/main" id="{266B6B69-E35A-1DFE-6A77-3A357690FEE1}"/>
                </a:ext>
              </a:extLst>
            </p:cNvPr>
            <p:cNvGrpSpPr>
              <a:grpSpLocks/>
            </p:cNvGrpSpPr>
            <p:nvPr/>
          </p:nvGrpSpPr>
          <p:grpSpPr bwMode="auto">
            <a:xfrm>
              <a:off x="672649" y="1691164"/>
              <a:ext cx="659136" cy="967423"/>
              <a:chOff x="152" y="196"/>
              <a:chExt cx="573" cy="841"/>
            </a:xfrm>
            <a:solidFill>
              <a:schemeClr val="bg1">
                <a:lumMod val="85000"/>
              </a:schemeClr>
            </a:solidFill>
          </p:grpSpPr>
          <p:sp>
            <p:nvSpPr>
              <p:cNvPr id="748" name="Freeform 4">
                <a:extLst>
                  <a:ext uri="{FF2B5EF4-FFF2-40B4-BE49-F238E27FC236}">
                    <a16:creationId xmlns:a16="http://schemas.microsoft.com/office/drawing/2014/main" id="{5B96383A-AB7C-B919-E9A8-33AB0E35A17B}"/>
                  </a:ext>
                </a:extLst>
              </p:cNvPr>
              <p:cNvSpPr>
                <a:spLocks/>
              </p:cNvSpPr>
              <p:nvPr/>
            </p:nvSpPr>
            <p:spPr bwMode="auto">
              <a:xfrm>
                <a:off x="152" y="196"/>
                <a:ext cx="573" cy="841"/>
              </a:xfrm>
              <a:custGeom>
                <a:avLst/>
                <a:gdLst/>
                <a:ahLst/>
                <a:cxnLst>
                  <a:cxn ang="0">
                    <a:pos x="29" y="0"/>
                  </a:cxn>
                  <a:cxn ang="0">
                    <a:pos x="229" y="0"/>
                  </a:cxn>
                  <a:cxn ang="0">
                    <a:pos x="257" y="299"/>
                  </a:cxn>
                  <a:cxn ang="0">
                    <a:pos x="314" y="542"/>
                  </a:cxn>
                  <a:cxn ang="0">
                    <a:pos x="400" y="678"/>
                  </a:cxn>
                  <a:cxn ang="0">
                    <a:pos x="573" y="814"/>
                  </a:cxn>
                  <a:cxn ang="0">
                    <a:pos x="429" y="814"/>
                  </a:cxn>
                  <a:cxn ang="0">
                    <a:pos x="372" y="733"/>
                  </a:cxn>
                  <a:cxn ang="0">
                    <a:pos x="229" y="705"/>
                  </a:cxn>
                  <a:cxn ang="0">
                    <a:pos x="114" y="841"/>
                  </a:cxn>
                  <a:cxn ang="0">
                    <a:pos x="0" y="841"/>
                  </a:cxn>
                  <a:cxn ang="0">
                    <a:pos x="29" y="0"/>
                  </a:cxn>
                </a:cxnLst>
                <a:rect l="0" t="0" r="r" b="b"/>
                <a:pathLst>
                  <a:path w="573" h="841">
                    <a:moveTo>
                      <a:pt x="29" y="0"/>
                    </a:moveTo>
                    <a:lnTo>
                      <a:pt x="229" y="0"/>
                    </a:lnTo>
                    <a:lnTo>
                      <a:pt x="257" y="299"/>
                    </a:lnTo>
                    <a:lnTo>
                      <a:pt x="314" y="542"/>
                    </a:lnTo>
                    <a:lnTo>
                      <a:pt x="400" y="678"/>
                    </a:lnTo>
                    <a:lnTo>
                      <a:pt x="573" y="814"/>
                    </a:lnTo>
                    <a:lnTo>
                      <a:pt x="429" y="814"/>
                    </a:lnTo>
                    <a:lnTo>
                      <a:pt x="372" y="733"/>
                    </a:lnTo>
                    <a:lnTo>
                      <a:pt x="229" y="705"/>
                    </a:lnTo>
                    <a:lnTo>
                      <a:pt x="114" y="841"/>
                    </a:lnTo>
                    <a:lnTo>
                      <a:pt x="0" y="841"/>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49" name="Freeform 5">
                <a:extLst>
                  <a:ext uri="{FF2B5EF4-FFF2-40B4-BE49-F238E27FC236}">
                    <a16:creationId xmlns:a16="http://schemas.microsoft.com/office/drawing/2014/main" id="{4039775F-029E-62AA-4178-8D79E8AAD085}"/>
                  </a:ext>
                </a:extLst>
              </p:cNvPr>
              <p:cNvSpPr>
                <a:spLocks/>
              </p:cNvSpPr>
              <p:nvPr/>
            </p:nvSpPr>
            <p:spPr bwMode="auto">
              <a:xfrm>
                <a:off x="152" y="196"/>
                <a:ext cx="573" cy="841"/>
              </a:xfrm>
              <a:custGeom>
                <a:avLst/>
                <a:gdLst/>
                <a:ahLst/>
                <a:cxnLst>
                  <a:cxn ang="0">
                    <a:pos x="29" y="0"/>
                  </a:cxn>
                  <a:cxn ang="0">
                    <a:pos x="229" y="0"/>
                  </a:cxn>
                  <a:cxn ang="0">
                    <a:pos x="257" y="299"/>
                  </a:cxn>
                  <a:cxn ang="0">
                    <a:pos x="314" y="542"/>
                  </a:cxn>
                  <a:cxn ang="0">
                    <a:pos x="400" y="678"/>
                  </a:cxn>
                  <a:cxn ang="0">
                    <a:pos x="573" y="814"/>
                  </a:cxn>
                  <a:cxn ang="0">
                    <a:pos x="429" y="814"/>
                  </a:cxn>
                  <a:cxn ang="0">
                    <a:pos x="372" y="733"/>
                  </a:cxn>
                  <a:cxn ang="0">
                    <a:pos x="229" y="705"/>
                  </a:cxn>
                  <a:cxn ang="0">
                    <a:pos x="114" y="841"/>
                  </a:cxn>
                  <a:cxn ang="0">
                    <a:pos x="0" y="841"/>
                  </a:cxn>
                  <a:cxn ang="0">
                    <a:pos x="29" y="0"/>
                  </a:cxn>
                </a:cxnLst>
                <a:rect l="0" t="0" r="r" b="b"/>
                <a:pathLst>
                  <a:path w="573" h="841">
                    <a:moveTo>
                      <a:pt x="29" y="0"/>
                    </a:moveTo>
                    <a:lnTo>
                      <a:pt x="229" y="0"/>
                    </a:lnTo>
                    <a:lnTo>
                      <a:pt x="257" y="299"/>
                    </a:lnTo>
                    <a:lnTo>
                      <a:pt x="314" y="542"/>
                    </a:lnTo>
                    <a:lnTo>
                      <a:pt x="400" y="678"/>
                    </a:lnTo>
                    <a:lnTo>
                      <a:pt x="573" y="814"/>
                    </a:lnTo>
                    <a:lnTo>
                      <a:pt x="429" y="814"/>
                    </a:lnTo>
                    <a:lnTo>
                      <a:pt x="372" y="733"/>
                    </a:lnTo>
                    <a:lnTo>
                      <a:pt x="229" y="705"/>
                    </a:lnTo>
                    <a:lnTo>
                      <a:pt x="114" y="841"/>
                    </a:lnTo>
                    <a:lnTo>
                      <a:pt x="0" y="841"/>
                    </a:lnTo>
                    <a:lnTo>
                      <a:pt x="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4" name="Group 3">
              <a:extLst>
                <a:ext uri="{FF2B5EF4-FFF2-40B4-BE49-F238E27FC236}">
                  <a16:creationId xmlns:a16="http://schemas.microsoft.com/office/drawing/2014/main" id="{48FF614E-521D-2493-0642-E484B1D9507A}"/>
                </a:ext>
              </a:extLst>
            </p:cNvPr>
            <p:cNvGrpSpPr>
              <a:grpSpLocks/>
            </p:cNvGrpSpPr>
            <p:nvPr/>
          </p:nvGrpSpPr>
          <p:grpSpPr bwMode="auto">
            <a:xfrm>
              <a:off x="934922" y="1691162"/>
              <a:ext cx="462431" cy="936364"/>
              <a:chOff x="380" y="196"/>
              <a:chExt cx="402" cy="814"/>
            </a:xfrm>
            <a:solidFill>
              <a:schemeClr val="bg1">
                <a:lumMod val="85000"/>
              </a:schemeClr>
            </a:solidFill>
          </p:grpSpPr>
          <p:sp>
            <p:nvSpPr>
              <p:cNvPr id="746" name="Freeform 7">
                <a:extLst>
                  <a:ext uri="{FF2B5EF4-FFF2-40B4-BE49-F238E27FC236}">
                    <a16:creationId xmlns:a16="http://schemas.microsoft.com/office/drawing/2014/main" id="{4E353826-AC08-FD0E-23B3-67B51C77C2D8}"/>
                  </a:ext>
                </a:extLst>
              </p:cNvPr>
              <p:cNvSpPr>
                <a:spLocks/>
              </p:cNvSpPr>
              <p:nvPr/>
            </p:nvSpPr>
            <p:spPr bwMode="auto">
              <a:xfrm>
                <a:off x="380" y="196"/>
                <a:ext cx="402" cy="814"/>
              </a:xfrm>
              <a:custGeom>
                <a:avLst/>
                <a:gdLst/>
                <a:ahLst/>
                <a:cxnLst>
                  <a:cxn ang="0">
                    <a:pos x="0" y="0"/>
                  </a:cxn>
                  <a:cxn ang="0">
                    <a:pos x="29" y="299"/>
                  </a:cxn>
                  <a:cxn ang="0">
                    <a:pos x="86" y="542"/>
                  </a:cxn>
                  <a:cxn ang="0">
                    <a:pos x="172" y="678"/>
                  </a:cxn>
                  <a:cxn ang="0">
                    <a:pos x="345" y="814"/>
                  </a:cxn>
                  <a:cxn ang="0">
                    <a:pos x="373" y="814"/>
                  </a:cxn>
                  <a:cxn ang="0">
                    <a:pos x="373" y="678"/>
                  </a:cxn>
                  <a:cxn ang="0">
                    <a:pos x="402" y="651"/>
                  </a:cxn>
                  <a:cxn ang="0">
                    <a:pos x="345" y="651"/>
                  </a:cxn>
                  <a:cxn ang="0">
                    <a:pos x="345" y="272"/>
                  </a:cxn>
                  <a:cxn ang="0">
                    <a:pos x="316" y="272"/>
                  </a:cxn>
                  <a:cxn ang="0">
                    <a:pos x="345" y="190"/>
                  </a:cxn>
                  <a:cxn ang="0">
                    <a:pos x="287" y="54"/>
                  </a:cxn>
                  <a:cxn ang="0">
                    <a:pos x="316" y="0"/>
                  </a:cxn>
                  <a:cxn ang="0">
                    <a:pos x="0" y="0"/>
                  </a:cxn>
                </a:cxnLst>
                <a:rect l="0" t="0" r="r" b="b"/>
                <a:pathLst>
                  <a:path w="402" h="814">
                    <a:moveTo>
                      <a:pt x="0" y="0"/>
                    </a:moveTo>
                    <a:lnTo>
                      <a:pt x="29" y="299"/>
                    </a:lnTo>
                    <a:lnTo>
                      <a:pt x="86" y="542"/>
                    </a:lnTo>
                    <a:lnTo>
                      <a:pt x="172" y="678"/>
                    </a:lnTo>
                    <a:lnTo>
                      <a:pt x="345" y="814"/>
                    </a:lnTo>
                    <a:lnTo>
                      <a:pt x="373" y="814"/>
                    </a:lnTo>
                    <a:lnTo>
                      <a:pt x="373" y="678"/>
                    </a:lnTo>
                    <a:lnTo>
                      <a:pt x="402" y="651"/>
                    </a:lnTo>
                    <a:lnTo>
                      <a:pt x="345" y="651"/>
                    </a:lnTo>
                    <a:lnTo>
                      <a:pt x="345" y="272"/>
                    </a:lnTo>
                    <a:lnTo>
                      <a:pt x="316" y="272"/>
                    </a:lnTo>
                    <a:lnTo>
                      <a:pt x="345" y="190"/>
                    </a:lnTo>
                    <a:lnTo>
                      <a:pt x="287" y="54"/>
                    </a:lnTo>
                    <a:lnTo>
                      <a:pt x="316"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47" name="Freeform 8">
                <a:extLst>
                  <a:ext uri="{FF2B5EF4-FFF2-40B4-BE49-F238E27FC236}">
                    <a16:creationId xmlns:a16="http://schemas.microsoft.com/office/drawing/2014/main" id="{1CDED422-6A0C-520B-9C67-8DBFD6D3EF27}"/>
                  </a:ext>
                </a:extLst>
              </p:cNvPr>
              <p:cNvSpPr>
                <a:spLocks/>
              </p:cNvSpPr>
              <p:nvPr/>
            </p:nvSpPr>
            <p:spPr bwMode="auto">
              <a:xfrm>
                <a:off x="380" y="196"/>
                <a:ext cx="402" cy="814"/>
              </a:xfrm>
              <a:custGeom>
                <a:avLst/>
                <a:gdLst/>
                <a:ahLst/>
                <a:cxnLst>
                  <a:cxn ang="0">
                    <a:pos x="0" y="0"/>
                  </a:cxn>
                  <a:cxn ang="0">
                    <a:pos x="29" y="299"/>
                  </a:cxn>
                  <a:cxn ang="0">
                    <a:pos x="86" y="542"/>
                  </a:cxn>
                  <a:cxn ang="0">
                    <a:pos x="172" y="678"/>
                  </a:cxn>
                  <a:cxn ang="0">
                    <a:pos x="345" y="814"/>
                  </a:cxn>
                  <a:cxn ang="0">
                    <a:pos x="373" y="814"/>
                  </a:cxn>
                  <a:cxn ang="0">
                    <a:pos x="373" y="678"/>
                  </a:cxn>
                  <a:cxn ang="0">
                    <a:pos x="402" y="651"/>
                  </a:cxn>
                  <a:cxn ang="0">
                    <a:pos x="345" y="651"/>
                  </a:cxn>
                  <a:cxn ang="0">
                    <a:pos x="345" y="272"/>
                  </a:cxn>
                  <a:cxn ang="0">
                    <a:pos x="316" y="272"/>
                  </a:cxn>
                  <a:cxn ang="0">
                    <a:pos x="345" y="190"/>
                  </a:cxn>
                  <a:cxn ang="0">
                    <a:pos x="287" y="54"/>
                  </a:cxn>
                  <a:cxn ang="0">
                    <a:pos x="316" y="0"/>
                  </a:cxn>
                  <a:cxn ang="0">
                    <a:pos x="0" y="0"/>
                  </a:cxn>
                </a:cxnLst>
                <a:rect l="0" t="0" r="r" b="b"/>
                <a:pathLst>
                  <a:path w="402" h="814">
                    <a:moveTo>
                      <a:pt x="0" y="0"/>
                    </a:moveTo>
                    <a:lnTo>
                      <a:pt x="29" y="299"/>
                    </a:lnTo>
                    <a:lnTo>
                      <a:pt x="86" y="542"/>
                    </a:lnTo>
                    <a:lnTo>
                      <a:pt x="172" y="678"/>
                    </a:lnTo>
                    <a:lnTo>
                      <a:pt x="345" y="814"/>
                    </a:lnTo>
                    <a:lnTo>
                      <a:pt x="373" y="814"/>
                    </a:lnTo>
                    <a:lnTo>
                      <a:pt x="373" y="678"/>
                    </a:lnTo>
                    <a:lnTo>
                      <a:pt x="402" y="651"/>
                    </a:lnTo>
                    <a:lnTo>
                      <a:pt x="345" y="651"/>
                    </a:lnTo>
                    <a:lnTo>
                      <a:pt x="345" y="272"/>
                    </a:lnTo>
                    <a:lnTo>
                      <a:pt x="316" y="272"/>
                    </a:lnTo>
                    <a:lnTo>
                      <a:pt x="345" y="190"/>
                    </a:lnTo>
                    <a:lnTo>
                      <a:pt x="287" y="54"/>
                    </a:lnTo>
                    <a:lnTo>
                      <a:pt x="316"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9" name="Group 8">
              <a:extLst>
                <a:ext uri="{FF2B5EF4-FFF2-40B4-BE49-F238E27FC236}">
                  <a16:creationId xmlns:a16="http://schemas.microsoft.com/office/drawing/2014/main" id="{02BDB554-9CDD-510D-A6F6-1D8B4A19E204}"/>
                </a:ext>
              </a:extLst>
            </p:cNvPr>
            <p:cNvGrpSpPr>
              <a:grpSpLocks/>
            </p:cNvGrpSpPr>
            <p:nvPr/>
          </p:nvGrpSpPr>
          <p:grpSpPr bwMode="auto">
            <a:xfrm>
              <a:off x="1265064" y="1691164"/>
              <a:ext cx="396861" cy="750012"/>
              <a:chOff x="667" y="196"/>
              <a:chExt cx="345" cy="652"/>
            </a:xfrm>
            <a:solidFill>
              <a:schemeClr val="bg1">
                <a:lumMod val="85000"/>
              </a:schemeClr>
            </a:solidFill>
          </p:grpSpPr>
          <p:sp>
            <p:nvSpPr>
              <p:cNvPr id="744" name="Freeform 10">
                <a:extLst>
                  <a:ext uri="{FF2B5EF4-FFF2-40B4-BE49-F238E27FC236}">
                    <a16:creationId xmlns:a16="http://schemas.microsoft.com/office/drawing/2014/main" id="{945813F7-A449-8055-6ED1-7225EDCAB934}"/>
                  </a:ext>
                </a:extLst>
              </p:cNvPr>
              <p:cNvSpPr>
                <a:spLocks/>
              </p:cNvSpPr>
              <p:nvPr/>
            </p:nvSpPr>
            <p:spPr bwMode="auto">
              <a:xfrm>
                <a:off x="667" y="196"/>
                <a:ext cx="345" cy="652"/>
              </a:xfrm>
              <a:custGeom>
                <a:avLst/>
                <a:gdLst/>
                <a:ahLst/>
                <a:cxnLst>
                  <a:cxn ang="0">
                    <a:pos x="29" y="0"/>
                  </a:cxn>
                  <a:cxn ang="0">
                    <a:pos x="0" y="54"/>
                  </a:cxn>
                  <a:cxn ang="0">
                    <a:pos x="58" y="190"/>
                  </a:cxn>
                  <a:cxn ang="0">
                    <a:pos x="29" y="272"/>
                  </a:cxn>
                  <a:cxn ang="0">
                    <a:pos x="58" y="272"/>
                  </a:cxn>
                  <a:cxn ang="0">
                    <a:pos x="58" y="652"/>
                  </a:cxn>
                  <a:cxn ang="0">
                    <a:pos x="259" y="652"/>
                  </a:cxn>
                  <a:cxn ang="0">
                    <a:pos x="259" y="597"/>
                  </a:cxn>
                  <a:cxn ang="0">
                    <a:pos x="345" y="597"/>
                  </a:cxn>
                  <a:cxn ang="0">
                    <a:pos x="316" y="461"/>
                  </a:cxn>
                  <a:cxn ang="0">
                    <a:pos x="316" y="326"/>
                  </a:cxn>
                  <a:cxn ang="0">
                    <a:pos x="259" y="326"/>
                  </a:cxn>
                  <a:cxn ang="0">
                    <a:pos x="259" y="0"/>
                  </a:cxn>
                  <a:cxn ang="0">
                    <a:pos x="29" y="0"/>
                  </a:cxn>
                </a:cxnLst>
                <a:rect l="0" t="0" r="r" b="b"/>
                <a:pathLst>
                  <a:path w="345" h="652">
                    <a:moveTo>
                      <a:pt x="29" y="0"/>
                    </a:moveTo>
                    <a:lnTo>
                      <a:pt x="0" y="54"/>
                    </a:lnTo>
                    <a:lnTo>
                      <a:pt x="58" y="190"/>
                    </a:lnTo>
                    <a:lnTo>
                      <a:pt x="29" y="272"/>
                    </a:lnTo>
                    <a:lnTo>
                      <a:pt x="58" y="272"/>
                    </a:lnTo>
                    <a:lnTo>
                      <a:pt x="58" y="652"/>
                    </a:lnTo>
                    <a:lnTo>
                      <a:pt x="259" y="652"/>
                    </a:lnTo>
                    <a:lnTo>
                      <a:pt x="259" y="597"/>
                    </a:lnTo>
                    <a:lnTo>
                      <a:pt x="345" y="597"/>
                    </a:lnTo>
                    <a:lnTo>
                      <a:pt x="316" y="461"/>
                    </a:lnTo>
                    <a:lnTo>
                      <a:pt x="316" y="326"/>
                    </a:lnTo>
                    <a:lnTo>
                      <a:pt x="259" y="326"/>
                    </a:lnTo>
                    <a:lnTo>
                      <a:pt x="259" y="0"/>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45" name="Freeform 11">
                <a:extLst>
                  <a:ext uri="{FF2B5EF4-FFF2-40B4-BE49-F238E27FC236}">
                    <a16:creationId xmlns:a16="http://schemas.microsoft.com/office/drawing/2014/main" id="{1C17BC72-4244-03FB-C475-C2E9E86B5509}"/>
                  </a:ext>
                </a:extLst>
              </p:cNvPr>
              <p:cNvSpPr>
                <a:spLocks/>
              </p:cNvSpPr>
              <p:nvPr/>
            </p:nvSpPr>
            <p:spPr bwMode="auto">
              <a:xfrm>
                <a:off x="667" y="196"/>
                <a:ext cx="345" cy="652"/>
              </a:xfrm>
              <a:custGeom>
                <a:avLst/>
                <a:gdLst/>
                <a:ahLst/>
                <a:cxnLst>
                  <a:cxn ang="0">
                    <a:pos x="29" y="0"/>
                  </a:cxn>
                  <a:cxn ang="0">
                    <a:pos x="0" y="54"/>
                  </a:cxn>
                  <a:cxn ang="0">
                    <a:pos x="58" y="190"/>
                  </a:cxn>
                  <a:cxn ang="0">
                    <a:pos x="29" y="272"/>
                  </a:cxn>
                  <a:cxn ang="0">
                    <a:pos x="58" y="272"/>
                  </a:cxn>
                  <a:cxn ang="0">
                    <a:pos x="58" y="652"/>
                  </a:cxn>
                  <a:cxn ang="0">
                    <a:pos x="259" y="652"/>
                  </a:cxn>
                  <a:cxn ang="0">
                    <a:pos x="259" y="597"/>
                  </a:cxn>
                  <a:cxn ang="0">
                    <a:pos x="345" y="597"/>
                  </a:cxn>
                  <a:cxn ang="0">
                    <a:pos x="316" y="461"/>
                  </a:cxn>
                  <a:cxn ang="0">
                    <a:pos x="316" y="326"/>
                  </a:cxn>
                  <a:cxn ang="0">
                    <a:pos x="259" y="326"/>
                  </a:cxn>
                  <a:cxn ang="0">
                    <a:pos x="259" y="0"/>
                  </a:cxn>
                  <a:cxn ang="0">
                    <a:pos x="29" y="0"/>
                  </a:cxn>
                </a:cxnLst>
                <a:rect l="0" t="0" r="r" b="b"/>
                <a:pathLst>
                  <a:path w="345" h="652">
                    <a:moveTo>
                      <a:pt x="29" y="0"/>
                    </a:moveTo>
                    <a:lnTo>
                      <a:pt x="0" y="54"/>
                    </a:lnTo>
                    <a:lnTo>
                      <a:pt x="58" y="190"/>
                    </a:lnTo>
                    <a:lnTo>
                      <a:pt x="29" y="272"/>
                    </a:lnTo>
                    <a:lnTo>
                      <a:pt x="58" y="272"/>
                    </a:lnTo>
                    <a:lnTo>
                      <a:pt x="58" y="652"/>
                    </a:lnTo>
                    <a:lnTo>
                      <a:pt x="259" y="652"/>
                    </a:lnTo>
                    <a:lnTo>
                      <a:pt x="259" y="597"/>
                    </a:lnTo>
                    <a:lnTo>
                      <a:pt x="345" y="597"/>
                    </a:lnTo>
                    <a:lnTo>
                      <a:pt x="316" y="461"/>
                    </a:lnTo>
                    <a:lnTo>
                      <a:pt x="316" y="326"/>
                    </a:lnTo>
                    <a:lnTo>
                      <a:pt x="259" y="326"/>
                    </a:lnTo>
                    <a:lnTo>
                      <a:pt x="259" y="0"/>
                    </a:lnTo>
                    <a:lnTo>
                      <a:pt x="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0" name="Group 9">
              <a:extLst>
                <a:ext uri="{FF2B5EF4-FFF2-40B4-BE49-F238E27FC236}">
                  <a16:creationId xmlns:a16="http://schemas.microsoft.com/office/drawing/2014/main" id="{5BE30A91-D01F-A2E7-1349-F693C1A6D6A8}"/>
                </a:ext>
              </a:extLst>
            </p:cNvPr>
            <p:cNvGrpSpPr>
              <a:grpSpLocks/>
            </p:cNvGrpSpPr>
            <p:nvPr/>
          </p:nvGrpSpPr>
          <p:grpSpPr bwMode="auto">
            <a:xfrm>
              <a:off x="1564150" y="1691164"/>
              <a:ext cx="559058" cy="530300"/>
              <a:chOff x="927" y="196"/>
              <a:chExt cx="486" cy="461"/>
            </a:xfrm>
            <a:solidFill>
              <a:schemeClr val="bg1">
                <a:lumMod val="85000"/>
              </a:schemeClr>
            </a:solidFill>
          </p:grpSpPr>
          <p:sp>
            <p:nvSpPr>
              <p:cNvPr id="742" name="Freeform 13">
                <a:extLst>
                  <a:ext uri="{FF2B5EF4-FFF2-40B4-BE49-F238E27FC236}">
                    <a16:creationId xmlns:a16="http://schemas.microsoft.com/office/drawing/2014/main" id="{EF4BCC9F-4E99-47BA-EC71-66F63A5A29EA}"/>
                  </a:ext>
                </a:extLst>
              </p:cNvPr>
              <p:cNvSpPr>
                <a:spLocks/>
              </p:cNvSpPr>
              <p:nvPr/>
            </p:nvSpPr>
            <p:spPr bwMode="auto">
              <a:xfrm>
                <a:off x="927" y="196"/>
                <a:ext cx="486" cy="461"/>
              </a:xfrm>
              <a:custGeom>
                <a:avLst/>
                <a:gdLst/>
                <a:ahLst/>
                <a:cxnLst>
                  <a:cxn ang="0">
                    <a:pos x="0" y="0"/>
                  </a:cxn>
                  <a:cxn ang="0">
                    <a:pos x="0" y="326"/>
                  </a:cxn>
                  <a:cxn ang="0">
                    <a:pos x="57" y="326"/>
                  </a:cxn>
                  <a:cxn ang="0">
                    <a:pos x="57" y="461"/>
                  </a:cxn>
                  <a:cxn ang="0">
                    <a:pos x="343" y="461"/>
                  </a:cxn>
                  <a:cxn ang="0">
                    <a:pos x="343" y="379"/>
                  </a:cxn>
                  <a:cxn ang="0">
                    <a:pos x="371" y="326"/>
                  </a:cxn>
                  <a:cxn ang="0">
                    <a:pos x="371" y="272"/>
                  </a:cxn>
                  <a:cxn ang="0">
                    <a:pos x="486" y="272"/>
                  </a:cxn>
                  <a:cxn ang="0">
                    <a:pos x="486" y="0"/>
                  </a:cxn>
                  <a:cxn ang="0">
                    <a:pos x="0" y="0"/>
                  </a:cxn>
                </a:cxnLst>
                <a:rect l="0" t="0" r="r" b="b"/>
                <a:pathLst>
                  <a:path w="486" h="461">
                    <a:moveTo>
                      <a:pt x="0" y="0"/>
                    </a:moveTo>
                    <a:lnTo>
                      <a:pt x="0" y="326"/>
                    </a:lnTo>
                    <a:lnTo>
                      <a:pt x="57" y="326"/>
                    </a:lnTo>
                    <a:lnTo>
                      <a:pt x="57" y="461"/>
                    </a:lnTo>
                    <a:lnTo>
                      <a:pt x="343" y="461"/>
                    </a:lnTo>
                    <a:lnTo>
                      <a:pt x="343" y="379"/>
                    </a:lnTo>
                    <a:lnTo>
                      <a:pt x="371" y="326"/>
                    </a:lnTo>
                    <a:lnTo>
                      <a:pt x="371" y="272"/>
                    </a:lnTo>
                    <a:lnTo>
                      <a:pt x="486" y="272"/>
                    </a:lnTo>
                    <a:lnTo>
                      <a:pt x="486"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43" name="Freeform 14">
                <a:extLst>
                  <a:ext uri="{FF2B5EF4-FFF2-40B4-BE49-F238E27FC236}">
                    <a16:creationId xmlns:a16="http://schemas.microsoft.com/office/drawing/2014/main" id="{6FBF5585-2607-F3BD-B82D-6FA5303B1C19}"/>
                  </a:ext>
                </a:extLst>
              </p:cNvPr>
              <p:cNvSpPr>
                <a:spLocks/>
              </p:cNvSpPr>
              <p:nvPr/>
            </p:nvSpPr>
            <p:spPr bwMode="auto">
              <a:xfrm>
                <a:off x="927" y="196"/>
                <a:ext cx="486" cy="461"/>
              </a:xfrm>
              <a:custGeom>
                <a:avLst/>
                <a:gdLst/>
                <a:ahLst/>
                <a:cxnLst>
                  <a:cxn ang="0">
                    <a:pos x="0" y="0"/>
                  </a:cxn>
                  <a:cxn ang="0">
                    <a:pos x="0" y="326"/>
                  </a:cxn>
                  <a:cxn ang="0">
                    <a:pos x="57" y="326"/>
                  </a:cxn>
                  <a:cxn ang="0">
                    <a:pos x="57" y="461"/>
                  </a:cxn>
                  <a:cxn ang="0">
                    <a:pos x="343" y="461"/>
                  </a:cxn>
                  <a:cxn ang="0">
                    <a:pos x="343" y="379"/>
                  </a:cxn>
                  <a:cxn ang="0">
                    <a:pos x="371" y="326"/>
                  </a:cxn>
                  <a:cxn ang="0">
                    <a:pos x="371" y="272"/>
                  </a:cxn>
                  <a:cxn ang="0">
                    <a:pos x="486" y="272"/>
                  </a:cxn>
                  <a:cxn ang="0">
                    <a:pos x="486" y="0"/>
                  </a:cxn>
                  <a:cxn ang="0">
                    <a:pos x="0" y="0"/>
                  </a:cxn>
                </a:cxnLst>
                <a:rect l="0" t="0" r="r" b="b"/>
                <a:pathLst>
                  <a:path w="486" h="461">
                    <a:moveTo>
                      <a:pt x="0" y="0"/>
                    </a:moveTo>
                    <a:lnTo>
                      <a:pt x="0" y="326"/>
                    </a:lnTo>
                    <a:lnTo>
                      <a:pt x="57" y="326"/>
                    </a:lnTo>
                    <a:lnTo>
                      <a:pt x="57" y="461"/>
                    </a:lnTo>
                    <a:lnTo>
                      <a:pt x="343" y="461"/>
                    </a:lnTo>
                    <a:lnTo>
                      <a:pt x="343" y="379"/>
                    </a:lnTo>
                    <a:lnTo>
                      <a:pt x="371" y="326"/>
                    </a:lnTo>
                    <a:lnTo>
                      <a:pt x="371" y="272"/>
                    </a:lnTo>
                    <a:lnTo>
                      <a:pt x="486" y="272"/>
                    </a:lnTo>
                    <a:lnTo>
                      <a:pt x="486"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53832F6F-3022-A740-3988-BFAF4D1809DB}"/>
                </a:ext>
              </a:extLst>
            </p:cNvPr>
            <p:cNvGrpSpPr>
              <a:grpSpLocks/>
            </p:cNvGrpSpPr>
            <p:nvPr/>
          </p:nvGrpSpPr>
          <p:grpSpPr bwMode="auto">
            <a:xfrm>
              <a:off x="2123207" y="1691164"/>
              <a:ext cx="691345" cy="530300"/>
              <a:chOff x="1413" y="196"/>
              <a:chExt cx="601" cy="461"/>
            </a:xfrm>
            <a:solidFill>
              <a:schemeClr val="bg1">
                <a:lumMod val="85000"/>
              </a:schemeClr>
            </a:solidFill>
          </p:grpSpPr>
          <p:sp>
            <p:nvSpPr>
              <p:cNvPr id="740" name="Freeform 16">
                <a:extLst>
                  <a:ext uri="{FF2B5EF4-FFF2-40B4-BE49-F238E27FC236}">
                    <a16:creationId xmlns:a16="http://schemas.microsoft.com/office/drawing/2014/main" id="{DD0E37E3-E82A-139E-78F5-F61C7F7CEE6A}"/>
                  </a:ext>
                </a:extLst>
              </p:cNvPr>
              <p:cNvSpPr>
                <a:spLocks/>
              </p:cNvSpPr>
              <p:nvPr/>
            </p:nvSpPr>
            <p:spPr bwMode="auto">
              <a:xfrm>
                <a:off x="1413" y="196"/>
                <a:ext cx="601" cy="461"/>
              </a:xfrm>
              <a:custGeom>
                <a:avLst/>
                <a:gdLst/>
                <a:ahLst/>
                <a:cxnLst>
                  <a:cxn ang="0">
                    <a:pos x="0" y="0"/>
                  </a:cxn>
                  <a:cxn ang="0">
                    <a:pos x="0" y="272"/>
                  </a:cxn>
                  <a:cxn ang="0">
                    <a:pos x="57" y="272"/>
                  </a:cxn>
                  <a:cxn ang="0">
                    <a:pos x="172" y="326"/>
                  </a:cxn>
                  <a:cxn ang="0">
                    <a:pos x="172" y="379"/>
                  </a:cxn>
                  <a:cxn ang="0">
                    <a:pos x="287" y="379"/>
                  </a:cxn>
                  <a:cxn ang="0">
                    <a:pos x="287" y="461"/>
                  </a:cxn>
                  <a:cxn ang="0">
                    <a:pos x="401" y="461"/>
                  </a:cxn>
                  <a:cxn ang="0">
                    <a:pos x="601" y="326"/>
                  </a:cxn>
                  <a:cxn ang="0">
                    <a:pos x="601" y="190"/>
                  </a:cxn>
                  <a:cxn ang="0">
                    <a:pos x="572" y="136"/>
                  </a:cxn>
                  <a:cxn ang="0">
                    <a:pos x="601" y="0"/>
                  </a:cxn>
                  <a:cxn ang="0">
                    <a:pos x="0" y="0"/>
                  </a:cxn>
                </a:cxnLst>
                <a:rect l="0" t="0" r="r" b="b"/>
                <a:pathLst>
                  <a:path w="601" h="461">
                    <a:moveTo>
                      <a:pt x="0" y="0"/>
                    </a:moveTo>
                    <a:lnTo>
                      <a:pt x="0" y="272"/>
                    </a:lnTo>
                    <a:lnTo>
                      <a:pt x="57" y="272"/>
                    </a:lnTo>
                    <a:lnTo>
                      <a:pt x="172" y="326"/>
                    </a:lnTo>
                    <a:lnTo>
                      <a:pt x="172" y="379"/>
                    </a:lnTo>
                    <a:lnTo>
                      <a:pt x="287" y="379"/>
                    </a:lnTo>
                    <a:lnTo>
                      <a:pt x="287" y="461"/>
                    </a:lnTo>
                    <a:lnTo>
                      <a:pt x="401" y="461"/>
                    </a:lnTo>
                    <a:lnTo>
                      <a:pt x="601" y="326"/>
                    </a:lnTo>
                    <a:lnTo>
                      <a:pt x="601" y="190"/>
                    </a:lnTo>
                    <a:lnTo>
                      <a:pt x="572" y="136"/>
                    </a:lnTo>
                    <a:lnTo>
                      <a:pt x="601"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41" name="Freeform 17">
                <a:extLst>
                  <a:ext uri="{FF2B5EF4-FFF2-40B4-BE49-F238E27FC236}">
                    <a16:creationId xmlns:a16="http://schemas.microsoft.com/office/drawing/2014/main" id="{5FEEB9E1-D676-6442-862E-A3903EE143ED}"/>
                  </a:ext>
                </a:extLst>
              </p:cNvPr>
              <p:cNvSpPr>
                <a:spLocks/>
              </p:cNvSpPr>
              <p:nvPr/>
            </p:nvSpPr>
            <p:spPr bwMode="auto">
              <a:xfrm>
                <a:off x="1413" y="196"/>
                <a:ext cx="601" cy="461"/>
              </a:xfrm>
              <a:custGeom>
                <a:avLst/>
                <a:gdLst/>
                <a:ahLst/>
                <a:cxnLst>
                  <a:cxn ang="0">
                    <a:pos x="0" y="0"/>
                  </a:cxn>
                  <a:cxn ang="0">
                    <a:pos x="0" y="272"/>
                  </a:cxn>
                  <a:cxn ang="0">
                    <a:pos x="57" y="272"/>
                  </a:cxn>
                  <a:cxn ang="0">
                    <a:pos x="172" y="326"/>
                  </a:cxn>
                  <a:cxn ang="0">
                    <a:pos x="172" y="379"/>
                  </a:cxn>
                  <a:cxn ang="0">
                    <a:pos x="287" y="379"/>
                  </a:cxn>
                  <a:cxn ang="0">
                    <a:pos x="287" y="461"/>
                  </a:cxn>
                  <a:cxn ang="0">
                    <a:pos x="401" y="461"/>
                  </a:cxn>
                  <a:cxn ang="0">
                    <a:pos x="601" y="326"/>
                  </a:cxn>
                  <a:cxn ang="0">
                    <a:pos x="601" y="190"/>
                  </a:cxn>
                  <a:cxn ang="0">
                    <a:pos x="572" y="136"/>
                  </a:cxn>
                  <a:cxn ang="0">
                    <a:pos x="601" y="0"/>
                  </a:cxn>
                  <a:cxn ang="0">
                    <a:pos x="0" y="0"/>
                  </a:cxn>
                </a:cxnLst>
                <a:rect l="0" t="0" r="r" b="b"/>
                <a:pathLst>
                  <a:path w="601" h="461">
                    <a:moveTo>
                      <a:pt x="0" y="0"/>
                    </a:moveTo>
                    <a:lnTo>
                      <a:pt x="0" y="272"/>
                    </a:lnTo>
                    <a:lnTo>
                      <a:pt x="57" y="272"/>
                    </a:lnTo>
                    <a:lnTo>
                      <a:pt x="172" y="326"/>
                    </a:lnTo>
                    <a:lnTo>
                      <a:pt x="172" y="379"/>
                    </a:lnTo>
                    <a:lnTo>
                      <a:pt x="287" y="379"/>
                    </a:lnTo>
                    <a:lnTo>
                      <a:pt x="287" y="461"/>
                    </a:lnTo>
                    <a:lnTo>
                      <a:pt x="401" y="461"/>
                    </a:lnTo>
                    <a:lnTo>
                      <a:pt x="601" y="326"/>
                    </a:lnTo>
                    <a:lnTo>
                      <a:pt x="601" y="190"/>
                    </a:lnTo>
                    <a:lnTo>
                      <a:pt x="572" y="136"/>
                    </a:lnTo>
                    <a:lnTo>
                      <a:pt x="601"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 name="Group 12">
              <a:extLst>
                <a:ext uri="{FF2B5EF4-FFF2-40B4-BE49-F238E27FC236}">
                  <a16:creationId xmlns:a16="http://schemas.microsoft.com/office/drawing/2014/main" id="{462FA755-D953-64CB-CF7F-24924EB363E1}"/>
                </a:ext>
              </a:extLst>
            </p:cNvPr>
            <p:cNvGrpSpPr>
              <a:grpSpLocks/>
            </p:cNvGrpSpPr>
            <p:nvPr/>
          </p:nvGrpSpPr>
          <p:grpSpPr bwMode="auto">
            <a:xfrm>
              <a:off x="2782342" y="1691161"/>
              <a:ext cx="692495" cy="591267"/>
              <a:chOff x="1986" y="196"/>
              <a:chExt cx="602" cy="514"/>
            </a:xfrm>
            <a:solidFill>
              <a:schemeClr val="bg1">
                <a:lumMod val="85000"/>
              </a:schemeClr>
            </a:solidFill>
          </p:grpSpPr>
          <p:sp>
            <p:nvSpPr>
              <p:cNvPr id="738" name="Freeform 19">
                <a:extLst>
                  <a:ext uri="{FF2B5EF4-FFF2-40B4-BE49-F238E27FC236}">
                    <a16:creationId xmlns:a16="http://schemas.microsoft.com/office/drawing/2014/main" id="{FB1E0476-7AFC-B8D3-BB6D-F1A1C8B016DD}"/>
                  </a:ext>
                </a:extLst>
              </p:cNvPr>
              <p:cNvSpPr>
                <a:spLocks/>
              </p:cNvSpPr>
              <p:nvPr/>
            </p:nvSpPr>
            <p:spPr bwMode="auto">
              <a:xfrm>
                <a:off x="1986" y="196"/>
                <a:ext cx="602" cy="514"/>
              </a:xfrm>
              <a:custGeom>
                <a:avLst/>
                <a:gdLst/>
                <a:ahLst/>
                <a:cxnLst>
                  <a:cxn ang="0">
                    <a:pos x="29" y="0"/>
                  </a:cxn>
                  <a:cxn ang="0">
                    <a:pos x="0" y="136"/>
                  </a:cxn>
                  <a:cxn ang="0">
                    <a:pos x="29" y="190"/>
                  </a:cxn>
                  <a:cxn ang="0">
                    <a:pos x="29" y="326"/>
                  </a:cxn>
                  <a:cxn ang="0">
                    <a:pos x="57" y="352"/>
                  </a:cxn>
                  <a:cxn ang="0">
                    <a:pos x="115" y="352"/>
                  </a:cxn>
                  <a:cxn ang="0">
                    <a:pos x="143" y="379"/>
                  </a:cxn>
                  <a:cxn ang="0">
                    <a:pos x="172" y="514"/>
                  </a:cxn>
                  <a:cxn ang="0">
                    <a:pos x="402" y="406"/>
                  </a:cxn>
                  <a:cxn ang="0">
                    <a:pos x="430" y="352"/>
                  </a:cxn>
                  <a:cxn ang="0">
                    <a:pos x="488" y="136"/>
                  </a:cxn>
                  <a:cxn ang="0">
                    <a:pos x="602" y="0"/>
                  </a:cxn>
                  <a:cxn ang="0">
                    <a:pos x="29" y="0"/>
                  </a:cxn>
                </a:cxnLst>
                <a:rect l="0" t="0" r="r" b="b"/>
                <a:pathLst>
                  <a:path w="602" h="514">
                    <a:moveTo>
                      <a:pt x="29" y="0"/>
                    </a:moveTo>
                    <a:lnTo>
                      <a:pt x="0" y="136"/>
                    </a:lnTo>
                    <a:lnTo>
                      <a:pt x="29" y="190"/>
                    </a:lnTo>
                    <a:lnTo>
                      <a:pt x="29" y="326"/>
                    </a:lnTo>
                    <a:lnTo>
                      <a:pt x="57" y="352"/>
                    </a:lnTo>
                    <a:lnTo>
                      <a:pt x="115" y="352"/>
                    </a:lnTo>
                    <a:lnTo>
                      <a:pt x="143" y="379"/>
                    </a:lnTo>
                    <a:lnTo>
                      <a:pt x="172" y="514"/>
                    </a:lnTo>
                    <a:lnTo>
                      <a:pt x="402" y="406"/>
                    </a:lnTo>
                    <a:lnTo>
                      <a:pt x="430" y="352"/>
                    </a:lnTo>
                    <a:lnTo>
                      <a:pt x="488" y="136"/>
                    </a:lnTo>
                    <a:lnTo>
                      <a:pt x="602" y="0"/>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39" name="Freeform 20">
                <a:extLst>
                  <a:ext uri="{FF2B5EF4-FFF2-40B4-BE49-F238E27FC236}">
                    <a16:creationId xmlns:a16="http://schemas.microsoft.com/office/drawing/2014/main" id="{0A3909A7-5F51-1D17-5430-1E69484DB4BF}"/>
                  </a:ext>
                </a:extLst>
              </p:cNvPr>
              <p:cNvSpPr>
                <a:spLocks/>
              </p:cNvSpPr>
              <p:nvPr/>
            </p:nvSpPr>
            <p:spPr bwMode="auto">
              <a:xfrm>
                <a:off x="1986" y="196"/>
                <a:ext cx="602" cy="514"/>
              </a:xfrm>
              <a:custGeom>
                <a:avLst/>
                <a:gdLst/>
                <a:ahLst/>
                <a:cxnLst>
                  <a:cxn ang="0">
                    <a:pos x="29" y="0"/>
                  </a:cxn>
                  <a:cxn ang="0">
                    <a:pos x="0" y="136"/>
                  </a:cxn>
                  <a:cxn ang="0">
                    <a:pos x="29" y="190"/>
                  </a:cxn>
                  <a:cxn ang="0">
                    <a:pos x="29" y="326"/>
                  </a:cxn>
                  <a:cxn ang="0">
                    <a:pos x="57" y="352"/>
                  </a:cxn>
                  <a:cxn ang="0">
                    <a:pos x="115" y="352"/>
                  </a:cxn>
                  <a:cxn ang="0">
                    <a:pos x="143" y="379"/>
                  </a:cxn>
                  <a:cxn ang="0">
                    <a:pos x="172" y="514"/>
                  </a:cxn>
                  <a:cxn ang="0">
                    <a:pos x="402" y="406"/>
                  </a:cxn>
                  <a:cxn ang="0">
                    <a:pos x="430" y="352"/>
                  </a:cxn>
                  <a:cxn ang="0">
                    <a:pos x="488" y="136"/>
                  </a:cxn>
                  <a:cxn ang="0">
                    <a:pos x="602" y="0"/>
                  </a:cxn>
                  <a:cxn ang="0">
                    <a:pos x="29" y="0"/>
                  </a:cxn>
                </a:cxnLst>
                <a:rect l="0" t="0" r="r" b="b"/>
                <a:pathLst>
                  <a:path w="602" h="514">
                    <a:moveTo>
                      <a:pt x="29" y="0"/>
                    </a:moveTo>
                    <a:lnTo>
                      <a:pt x="0" y="136"/>
                    </a:lnTo>
                    <a:lnTo>
                      <a:pt x="29" y="190"/>
                    </a:lnTo>
                    <a:lnTo>
                      <a:pt x="29" y="326"/>
                    </a:lnTo>
                    <a:lnTo>
                      <a:pt x="57" y="352"/>
                    </a:lnTo>
                    <a:lnTo>
                      <a:pt x="115" y="352"/>
                    </a:lnTo>
                    <a:lnTo>
                      <a:pt x="143" y="379"/>
                    </a:lnTo>
                    <a:lnTo>
                      <a:pt x="172" y="514"/>
                    </a:lnTo>
                    <a:lnTo>
                      <a:pt x="402" y="406"/>
                    </a:lnTo>
                    <a:lnTo>
                      <a:pt x="430" y="352"/>
                    </a:lnTo>
                    <a:lnTo>
                      <a:pt x="488" y="136"/>
                    </a:lnTo>
                    <a:lnTo>
                      <a:pt x="602" y="0"/>
                    </a:lnTo>
                    <a:lnTo>
                      <a:pt x="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4" name="Group 13">
              <a:extLst>
                <a:ext uri="{FF2B5EF4-FFF2-40B4-BE49-F238E27FC236}">
                  <a16:creationId xmlns:a16="http://schemas.microsoft.com/office/drawing/2014/main" id="{9B61DB14-0297-480E-D049-329B00016295}"/>
                </a:ext>
              </a:extLst>
            </p:cNvPr>
            <p:cNvGrpSpPr>
              <a:grpSpLocks/>
            </p:cNvGrpSpPr>
            <p:nvPr/>
          </p:nvGrpSpPr>
          <p:grpSpPr bwMode="auto">
            <a:xfrm>
              <a:off x="3276981" y="1691164"/>
              <a:ext cx="364654" cy="530300"/>
              <a:chOff x="2416" y="196"/>
              <a:chExt cx="317" cy="461"/>
            </a:xfrm>
            <a:solidFill>
              <a:schemeClr val="bg1">
                <a:lumMod val="85000"/>
              </a:schemeClr>
            </a:solidFill>
          </p:grpSpPr>
          <p:sp>
            <p:nvSpPr>
              <p:cNvPr id="736" name="Freeform 22">
                <a:extLst>
                  <a:ext uri="{FF2B5EF4-FFF2-40B4-BE49-F238E27FC236}">
                    <a16:creationId xmlns:a16="http://schemas.microsoft.com/office/drawing/2014/main" id="{83B30430-F445-A997-7A19-85BD507E9CAE}"/>
                  </a:ext>
                </a:extLst>
              </p:cNvPr>
              <p:cNvSpPr>
                <a:spLocks/>
              </p:cNvSpPr>
              <p:nvPr/>
            </p:nvSpPr>
            <p:spPr bwMode="auto">
              <a:xfrm>
                <a:off x="2416" y="196"/>
                <a:ext cx="317" cy="461"/>
              </a:xfrm>
              <a:custGeom>
                <a:avLst/>
                <a:gdLst/>
                <a:ahLst/>
                <a:cxnLst>
                  <a:cxn ang="0">
                    <a:pos x="173" y="0"/>
                  </a:cxn>
                  <a:cxn ang="0">
                    <a:pos x="58" y="136"/>
                  </a:cxn>
                  <a:cxn ang="0">
                    <a:pos x="0" y="352"/>
                  </a:cxn>
                  <a:cxn ang="0">
                    <a:pos x="29" y="352"/>
                  </a:cxn>
                  <a:cxn ang="0">
                    <a:pos x="29" y="434"/>
                  </a:cxn>
                  <a:cxn ang="0">
                    <a:pos x="173" y="461"/>
                  </a:cxn>
                  <a:cxn ang="0">
                    <a:pos x="230" y="272"/>
                  </a:cxn>
                  <a:cxn ang="0">
                    <a:pos x="288" y="82"/>
                  </a:cxn>
                  <a:cxn ang="0">
                    <a:pos x="317" y="0"/>
                  </a:cxn>
                  <a:cxn ang="0">
                    <a:pos x="173" y="0"/>
                  </a:cxn>
                </a:cxnLst>
                <a:rect l="0" t="0" r="r" b="b"/>
                <a:pathLst>
                  <a:path w="317" h="461">
                    <a:moveTo>
                      <a:pt x="173" y="0"/>
                    </a:moveTo>
                    <a:lnTo>
                      <a:pt x="58" y="136"/>
                    </a:lnTo>
                    <a:lnTo>
                      <a:pt x="0" y="352"/>
                    </a:lnTo>
                    <a:lnTo>
                      <a:pt x="29" y="352"/>
                    </a:lnTo>
                    <a:lnTo>
                      <a:pt x="29" y="434"/>
                    </a:lnTo>
                    <a:lnTo>
                      <a:pt x="173" y="461"/>
                    </a:lnTo>
                    <a:lnTo>
                      <a:pt x="230" y="272"/>
                    </a:lnTo>
                    <a:lnTo>
                      <a:pt x="288" y="82"/>
                    </a:lnTo>
                    <a:lnTo>
                      <a:pt x="317" y="0"/>
                    </a:lnTo>
                    <a:lnTo>
                      <a:pt x="173"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37" name="Freeform 23">
                <a:extLst>
                  <a:ext uri="{FF2B5EF4-FFF2-40B4-BE49-F238E27FC236}">
                    <a16:creationId xmlns:a16="http://schemas.microsoft.com/office/drawing/2014/main" id="{74B85620-A0B4-14D7-13CA-4EB7513C1EF7}"/>
                  </a:ext>
                </a:extLst>
              </p:cNvPr>
              <p:cNvSpPr>
                <a:spLocks/>
              </p:cNvSpPr>
              <p:nvPr/>
            </p:nvSpPr>
            <p:spPr bwMode="auto">
              <a:xfrm>
                <a:off x="2416" y="196"/>
                <a:ext cx="317" cy="461"/>
              </a:xfrm>
              <a:custGeom>
                <a:avLst/>
                <a:gdLst/>
                <a:ahLst/>
                <a:cxnLst>
                  <a:cxn ang="0">
                    <a:pos x="173" y="0"/>
                  </a:cxn>
                  <a:cxn ang="0">
                    <a:pos x="58" y="136"/>
                  </a:cxn>
                  <a:cxn ang="0">
                    <a:pos x="0" y="352"/>
                  </a:cxn>
                  <a:cxn ang="0">
                    <a:pos x="29" y="352"/>
                  </a:cxn>
                  <a:cxn ang="0">
                    <a:pos x="29" y="434"/>
                  </a:cxn>
                  <a:cxn ang="0">
                    <a:pos x="173" y="461"/>
                  </a:cxn>
                  <a:cxn ang="0">
                    <a:pos x="230" y="272"/>
                  </a:cxn>
                  <a:cxn ang="0">
                    <a:pos x="288" y="82"/>
                  </a:cxn>
                  <a:cxn ang="0">
                    <a:pos x="317" y="0"/>
                  </a:cxn>
                  <a:cxn ang="0">
                    <a:pos x="173" y="0"/>
                  </a:cxn>
                </a:cxnLst>
                <a:rect l="0" t="0" r="r" b="b"/>
                <a:pathLst>
                  <a:path w="317" h="461">
                    <a:moveTo>
                      <a:pt x="173" y="0"/>
                    </a:moveTo>
                    <a:lnTo>
                      <a:pt x="58" y="136"/>
                    </a:lnTo>
                    <a:lnTo>
                      <a:pt x="0" y="352"/>
                    </a:lnTo>
                    <a:lnTo>
                      <a:pt x="29" y="352"/>
                    </a:lnTo>
                    <a:lnTo>
                      <a:pt x="29" y="434"/>
                    </a:lnTo>
                    <a:lnTo>
                      <a:pt x="173" y="461"/>
                    </a:lnTo>
                    <a:lnTo>
                      <a:pt x="230" y="272"/>
                    </a:lnTo>
                    <a:lnTo>
                      <a:pt x="288" y="82"/>
                    </a:lnTo>
                    <a:lnTo>
                      <a:pt x="317" y="0"/>
                    </a:lnTo>
                    <a:lnTo>
                      <a:pt x="173"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5" name="Group 30">
              <a:extLst>
                <a:ext uri="{FF2B5EF4-FFF2-40B4-BE49-F238E27FC236}">
                  <a16:creationId xmlns:a16="http://schemas.microsoft.com/office/drawing/2014/main" id="{33D1D0B1-8DB1-FDBC-0CEB-8117E27D4959}"/>
                </a:ext>
              </a:extLst>
            </p:cNvPr>
            <p:cNvGrpSpPr>
              <a:grpSpLocks/>
            </p:cNvGrpSpPr>
            <p:nvPr/>
          </p:nvGrpSpPr>
          <p:grpSpPr bwMode="auto">
            <a:xfrm>
              <a:off x="1164985" y="2627525"/>
              <a:ext cx="531451" cy="404915"/>
              <a:chOff x="580" y="1010"/>
              <a:chExt cx="462" cy="352"/>
            </a:xfrm>
            <a:solidFill>
              <a:schemeClr val="bg1">
                <a:lumMod val="85000"/>
              </a:schemeClr>
            </a:solidFill>
          </p:grpSpPr>
          <p:sp>
            <p:nvSpPr>
              <p:cNvPr id="734" name="Freeform 31">
                <a:extLst>
                  <a:ext uri="{FF2B5EF4-FFF2-40B4-BE49-F238E27FC236}">
                    <a16:creationId xmlns:a16="http://schemas.microsoft.com/office/drawing/2014/main" id="{53033E92-BBA7-DA42-3671-481709FF27F8}"/>
                  </a:ext>
                </a:extLst>
              </p:cNvPr>
              <p:cNvSpPr>
                <a:spLocks/>
              </p:cNvSpPr>
              <p:nvPr/>
            </p:nvSpPr>
            <p:spPr bwMode="auto">
              <a:xfrm>
                <a:off x="580" y="1010"/>
                <a:ext cx="462" cy="352"/>
              </a:xfrm>
              <a:custGeom>
                <a:avLst/>
                <a:gdLst/>
                <a:ahLst/>
                <a:cxnLst>
                  <a:cxn ang="0">
                    <a:pos x="0" y="0"/>
                  </a:cxn>
                  <a:cxn ang="0">
                    <a:pos x="58" y="55"/>
                  </a:cxn>
                  <a:cxn ang="0">
                    <a:pos x="87" y="109"/>
                  </a:cxn>
                  <a:cxn ang="0">
                    <a:pos x="58" y="136"/>
                  </a:cxn>
                  <a:cxn ang="0">
                    <a:pos x="231" y="298"/>
                  </a:cxn>
                  <a:cxn ang="0">
                    <a:pos x="260" y="352"/>
                  </a:cxn>
                  <a:cxn ang="0">
                    <a:pos x="347" y="352"/>
                  </a:cxn>
                  <a:cxn ang="0">
                    <a:pos x="347" y="271"/>
                  </a:cxn>
                  <a:cxn ang="0">
                    <a:pos x="462" y="271"/>
                  </a:cxn>
                  <a:cxn ang="0">
                    <a:pos x="404" y="82"/>
                  </a:cxn>
                  <a:cxn ang="0">
                    <a:pos x="375" y="0"/>
                  </a:cxn>
                  <a:cxn ang="0">
                    <a:pos x="0" y="0"/>
                  </a:cxn>
                </a:cxnLst>
                <a:rect l="0" t="0" r="r" b="b"/>
                <a:pathLst>
                  <a:path w="462" h="352">
                    <a:moveTo>
                      <a:pt x="0" y="0"/>
                    </a:moveTo>
                    <a:lnTo>
                      <a:pt x="58" y="55"/>
                    </a:lnTo>
                    <a:lnTo>
                      <a:pt x="87" y="109"/>
                    </a:lnTo>
                    <a:lnTo>
                      <a:pt x="58" y="136"/>
                    </a:lnTo>
                    <a:lnTo>
                      <a:pt x="231" y="298"/>
                    </a:lnTo>
                    <a:lnTo>
                      <a:pt x="260" y="352"/>
                    </a:lnTo>
                    <a:lnTo>
                      <a:pt x="347" y="352"/>
                    </a:lnTo>
                    <a:lnTo>
                      <a:pt x="347" y="271"/>
                    </a:lnTo>
                    <a:lnTo>
                      <a:pt x="462" y="271"/>
                    </a:lnTo>
                    <a:lnTo>
                      <a:pt x="404" y="82"/>
                    </a:lnTo>
                    <a:lnTo>
                      <a:pt x="375"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35" name="Freeform 32">
                <a:extLst>
                  <a:ext uri="{FF2B5EF4-FFF2-40B4-BE49-F238E27FC236}">
                    <a16:creationId xmlns:a16="http://schemas.microsoft.com/office/drawing/2014/main" id="{57F07734-71C9-98A9-6185-5308A9481670}"/>
                  </a:ext>
                </a:extLst>
              </p:cNvPr>
              <p:cNvSpPr>
                <a:spLocks/>
              </p:cNvSpPr>
              <p:nvPr/>
            </p:nvSpPr>
            <p:spPr bwMode="auto">
              <a:xfrm>
                <a:off x="580" y="1010"/>
                <a:ext cx="462" cy="352"/>
              </a:xfrm>
              <a:custGeom>
                <a:avLst/>
                <a:gdLst/>
                <a:ahLst/>
                <a:cxnLst>
                  <a:cxn ang="0">
                    <a:pos x="0" y="0"/>
                  </a:cxn>
                  <a:cxn ang="0">
                    <a:pos x="58" y="55"/>
                  </a:cxn>
                  <a:cxn ang="0">
                    <a:pos x="87" y="109"/>
                  </a:cxn>
                  <a:cxn ang="0">
                    <a:pos x="58" y="136"/>
                  </a:cxn>
                  <a:cxn ang="0">
                    <a:pos x="231" y="298"/>
                  </a:cxn>
                  <a:cxn ang="0">
                    <a:pos x="260" y="352"/>
                  </a:cxn>
                  <a:cxn ang="0">
                    <a:pos x="347" y="352"/>
                  </a:cxn>
                  <a:cxn ang="0">
                    <a:pos x="347" y="271"/>
                  </a:cxn>
                  <a:cxn ang="0">
                    <a:pos x="462" y="271"/>
                  </a:cxn>
                  <a:cxn ang="0">
                    <a:pos x="404" y="82"/>
                  </a:cxn>
                  <a:cxn ang="0">
                    <a:pos x="375" y="0"/>
                  </a:cxn>
                  <a:cxn ang="0">
                    <a:pos x="0" y="0"/>
                  </a:cxn>
                </a:cxnLst>
                <a:rect l="0" t="0" r="r" b="b"/>
                <a:pathLst>
                  <a:path w="462" h="352">
                    <a:moveTo>
                      <a:pt x="0" y="0"/>
                    </a:moveTo>
                    <a:lnTo>
                      <a:pt x="58" y="55"/>
                    </a:lnTo>
                    <a:lnTo>
                      <a:pt x="87" y="109"/>
                    </a:lnTo>
                    <a:lnTo>
                      <a:pt x="58" y="136"/>
                    </a:lnTo>
                    <a:lnTo>
                      <a:pt x="231" y="298"/>
                    </a:lnTo>
                    <a:lnTo>
                      <a:pt x="260" y="352"/>
                    </a:lnTo>
                    <a:lnTo>
                      <a:pt x="347" y="352"/>
                    </a:lnTo>
                    <a:lnTo>
                      <a:pt x="347" y="271"/>
                    </a:lnTo>
                    <a:lnTo>
                      <a:pt x="462" y="271"/>
                    </a:lnTo>
                    <a:lnTo>
                      <a:pt x="404" y="82"/>
                    </a:lnTo>
                    <a:lnTo>
                      <a:pt x="375"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7" name="Group 33">
              <a:extLst>
                <a:ext uri="{FF2B5EF4-FFF2-40B4-BE49-F238E27FC236}">
                  <a16:creationId xmlns:a16="http://schemas.microsoft.com/office/drawing/2014/main" id="{CCFB0C3B-4478-B339-3A9C-33F2DAA84195}"/>
                </a:ext>
              </a:extLst>
            </p:cNvPr>
            <p:cNvGrpSpPr>
              <a:grpSpLocks/>
            </p:cNvGrpSpPr>
            <p:nvPr/>
          </p:nvGrpSpPr>
          <p:grpSpPr bwMode="auto">
            <a:xfrm>
              <a:off x="1365142" y="2221461"/>
              <a:ext cx="691345" cy="500391"/>
              <a:chOff x="754" y="657"/>
              <a:chExt cx="601" cy="435"/>
            </a:xfrm>
            <a:solidFill>
              <a:schemeClr val="bg1">
                <a:lumMod val="85000"/>
              </a:schemeClr>
            </a:solidFill>
          </p:grpSpPr>
          <p:sp>
            <p:nvSpPr>
              <p:cNvPr id="732" name="Freeform 34">
                <a:extLst>
                  <a:ext uri="{FF2B5EF4-FFF2-40B4-BE49-F238E27FC236}">
                    <a16:creationId xmlns:a16="http://schemas.microsoft.com/office/drawing/2014/main" id="{9F9FA96A-349E-B1B5-6631-C9E36806B37F}"/>
                  </a:ext>
                </a:extLst>
              </p:cNvPr>
              <p:cNvSpPr>
                <a:spLocks/>
              </p:cNvSpPr>
              <p:nvPr/>
            </p:nvSpPr>
            <p:spPr bwMode="auto">
              <a:xfrm>
                <a:off x="754" y="657"/>
                <a:ext cx="601" cy="435"/>
              </a:xfrm>
              <a:custGeom>
                <a:avLst/>
                <a:gdLst/>
                <a:ahLst/>
                <a:cxnLst>
                  <a:cxn ang="0">
                    <a:pos x="28" y="190"/>
                  </a:cxn>
                  <a:cxn ang="0">
                    <a:pos x="0" y="217"/>
                  </a:cxn>
                  <a:cxn ang="0">
                    <a:pos x="0" y="353"/>
                  </a:cxn>
                  <a:cxn ang="0">
                    <a:pos x="201" y="353"/>
                  </a:cxn>
                  <a:cxn ang="0">
                    <a:pos x="229" y="435"/>
                  </a:cxn>
                  <a:cxn ang="0">
                    <a:pos x="544" y="435"/>
                  </a:cxn>
                  <a:cxn ang="0">
                    <a:pos x="601" y="353"/>
                  </a:cxn>
                  <a:cxn ang="0">
                    <a:pos x="601" y="136"/>
                  </a:cxn>
                  <a:cxn ang="0">
                    <a:pos x="515" y="136"/>
                  </a:cxn>
                  <a:cxn ang="0">
                    <a:pos x="515" y="0"/>
                  </a:cxn>
                  <a:cxn ang="0">
                    <a:pos x="229" y="0"/>
                  </a:cxn>
                  <a:cxn ang="0">
                    <a:pos x="258" y="136"/>
                  </a:cxn>
                  <a:cxn ang="0">
                    <a:pos x="172" y="136"/>
                  </a:cxn>
                  <a:cxn ang="0">
                    <a:pos x="172" y="190"/>
                  </a:cxn>
                  <a:cxn ang="0">
                    <a:pos x="28" y="190"/>
                  </a:cxn>
                </a:cxnLst>
                <a:rect l="0" t="0" r="r" b="b"/>
                <a:pathLst>
                  <a:path w="601" h="435">
                    <a:moveTo>
                      <a:pt x="28" y="190"/>
                    </a:moveTo>
                    <a:lnTo>
                      <a:pt x="0" y="217"/>
                    </a:lnTo>
                    <a:lnTo>
                      <a:pt x="0" y="353"/>
                    </a:lnTo>
                    <a:lnTo>
                      <a:pt x="201" y="353"/>
                    </a:lnTo>
                    <a:lnTo>
                      <a:pt x="229" y="435"/>
                    </a:lnTo>
                    <a:lnTo>
                      <a:pt x="544" y="435"/>
                    </a:lnTo>
                    <a:lnTo>
                      <a:pt x="601" y="353"/>
                    </a:lnTo>
                    <a:lnTo>
                      <a:pt x="601" y="136"/>
                    </a:lnTo>
                    <a:lnTo>
                      <a:pt x="515" y="136"/>
                    </a:lnTo>
                    <a:lnTo>
                      <a:pt x="515" y="0"/>
                    </a:lnTo>
                    <a:lnTo>
                      <a:pt x="229" y="0"/>
                    </a:lnTo>
                    <a:lnTo>
                      <a:pt x="258" y="136"/>
                    </a:lnTo>
                    <a:lnTo>
                      <a:pt x="172" y="136"/>
                    </a:lnTo>
                    <a:lnTo>
                      <a:pt x="172" y="190"/>
                    </a:lnTo>
                    <a:lnTo>
                      <a:pt x="28" y="19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33" name="Freeform 35">
                <a:extLst>
                  <a:ext uri="{FF2B5EF4-FFF2-40B4-BE49-F238E27FC236}">
                    <a16:creationId xmlns:a16="http://schemas.microsoft.com/office/drawing/2014/main" id="{709B1315-8287-D29D-EA27-22A3DAAB8C92}"/>
                  </a:ext>
                </a:extLst>
              </p:cNvPr>
              <p:cNvSpPr>
                <a:spLocks/>
              </p:cNvSpPr>
              <p:nvPr/>
            </p:nvSpPr>
            <p:spPr bwMode="auto">
              <a:xfrm>
                <a:off x="754" y="657"/>
                <a:ext cx="601" cy="435"/>
              </a:xfrm>
              <a:custGeom>
                <a:avLst/>
                <a:gdLst/>
                <a:ahLst/>
                <a:cxnLst>
                  <a:cxn ang="0">
                    <a:pos x="28" y="190"/>
                  </a:cxn>
                  <a:cxn ang="0">
                    <a:pos x="0" y="217"/>
                  </a:cxn>
                  <a:cxn ang="0">
                    <a:pos x="0" y="353"/>
                  </a:cxn>
                  <a:cxn ang="0">
                    <a:pos x="201" y="353"/>
                  </a:cxn>
                  <a:cxn ang="0">
                    <a:pos x="229" y="435"/>
                  </a:cxn>
                  <a:cxn ang="0">
                    <a:pos x="544" y="435"/>
                  </a:cxn>
                  <a:cxn ang="0">
                    <a:pos x="601" y="353"/>
                  </a:cxn>
                  <a:cxn ang="0">
                    <a:pos x="601" y="136"/>
                  </a:cxn>
                  <a:cxn ang="0">
                    <a:pos x="515" y="136"/>
                  </a:cxn>
                  <a:cxn ang="0">
                    <a:pos x="515" y="0"/>
                  </a:cxn>
                  <a:cxn ang="0">
                    <a:pos x="229" y="0"/>
                  </a:cxn>
                  <a:cxn ang="0">
                    <a:pos x="258" y="136"/>
                  </a:cxn>
                  <a:cxn ang="0">
                    <a:pos x="172" y="136"/>
                  </a:cxn>
                  <a:cxn ang="0">
                    <a:pos x="172" y="190"/>
                  </a:cxn>
                  <a:cxn ang="0">
                    <a:pos x="28" y="190"/>
                  </a:cxn>
                </a:cxnLst>
                <a:rect l="0" t="0" r="r" b="b"/>
                <a:pathLst>
                  <a:path w="601" h="435">
                    <a:moveTo>
                      <a:pt x="28" y="190"/>
                    </a:moveTo>
                    <a:lnTo>
                      <a:pt x="0" y="217"/>
                    </a:lnTo>
                    <a:lnTo>
                      <a:pt x="0" y="353"/>
                    </a:lnTo>
                    <a:lnTo>
                      <a:pt x="201" y="353"/>
                    </a:lnTo>
                    <a:lnTo>
                      <a:pt x="229" y="435"/>
                    </a:lnTo>
                    <a:lnTo>
                      <a:pt x="544" y="435"/>
                    </a:lnTo>
                    <a:lnTo>
                      <a:pt x="601" y="353"/>
                    </a:lnTo>
                    <a:lnTo>
                      <a:pt x="601" y="136"/>
                    </a:lnTo>
                    <a:lnTo>
                      <a:pt x="515" y="136"/>
                    </a:lnTo>
                    <a:lnTo>
                      <a:pt x="515" y="0"/>
                    </a:lnTo>
                    <a:lnTo>
                      <a:pt x="229" y="0"/>
                    </a:lnTo>
                    <a:lnTo>
                      <a:pt x="258" y="136"/>
                    </a:lnTo>
                    <a:lnTo>
                      <a:pt x="172" y="136"/>
                    </a:lnTo>
                    <a:lnTo>
                      <a:pt x="172" y="190"/>
                    </a:lnTo>
                    <a:lnTo>
                      <a:pt x="28" y="19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8" name="Group 36">
              <a:extLst>
                <a:ext uri="{FF2B5EF4-FFF2-40B4-BE49-F238E27FC236}">
                  <a16:creationId xmlns:a16="http://schemas.microsoft.com/office/drawing/2014/main" id="{79EA4A74-FB05-06A2-7B80-18D9A1B779E8}"/>
                </a:ext>
              </a:extLst>
            </p:cNvPr>
            <p:cNvGrpSpPr>
              <a:grpSpLocks/>
            </p:cNvGrpSpPr>
            <p:nvPr/>
          </p:nvGrpSpPr>
          <p:grpSpPr bwMode="auto">
            <a:xfrm>
              <a:off x="1958711" y="2002901"/>
              <a:ext cx="494640" cy="373855"/>
              <a:chOff x="1270" y="467"/>
              <a:chExt cx="430" cy="325"/>
            </a:xfrm>
            <a:solidFill>
              <a:schemeClr val="bg1">
                <a:lumMod val="85000"/>
              </a:schemeClr>
            </a:solidFill>
          </p:grpSpPr>
          <p:sp>
            <p:nvSpPr>
              <p:cNvPr id="730" name="Freeform 37">
                <a:extLst>
                  <a:ext uri="{FF2B5EF4-FFF2-40B4-BE49-F238E27FC236}">
                    <a16:creationId xmlns:a16="http://schemas.microsoft.com/office/drawing/2014/main" id="{6EEC7270-468D-1239-A17C-D7F269592AFF}"/>
                  </a:ext>
                </a:extLst>
              </p:cNvPr>
              <p:cNvSpPr>
                <a:spLocks/>
              </p:cNvSpPr>
              <p:nvPr/>
            </p:nvSpPr>
            <p:spPr bwMode="auto">
              <a:xfrm>
                <a:off x="1270" y="467"/>
                <a:ext cx="430" cy="325"/>
              </a:xfrm>
              <a:custGeom>
                <a:avLst/>
                <a:gdLst/>
                <a:ahLst/>
                <a:cxnLst>
                  <a:cxn ang="0">
                    <a:pos x="28" y="0"/>
                  </a:cxn>
                  <a:cxn ang="0">
                    <a:pos x="28" y="55"/>
                  </a:cxn>
                  <a:cxn ang="0">
                    <a:pos x="0" y="108"/>
                  </a:cxn>
                  <a:cxn ang="0">
                    <a:pos x="0" y="325"/>
                  </a:cxn>
                  <a:cxn ang="0">
                    <a:pos x="229" y="325"/>
                  </a:cxn>
                  <a:cxn ang="0">
                    <a:pos x="229" y="271"/>
                  </a:cxn>
                  <a:cxn ang="0">
                    <a:pos x="430" y="271"/>
                  </a:cxn>
                  <a:cxn ang="0">
                    <a:pos x="430" y="108"/>
                  </a:cxn>
                  <a:cxn ang="0">
                    <a:pos x="315" y="108"/>
                  </a:cxn>
                  <a:cxn ang="0">
                    <a:pos x="315" y="55"/>
                  </a:cxn>
                  <a:cxn ang="0">
                    <a:pos x="200" y="0"/>
                  </a:cxn>
                  <a:cxn ang="0">
                    <a:pos x="28" y="0"/>
                  </a:cxn>
                </a:cxnLst>
                <a:rect l="0" t="0" r="r" b="b"/>
                <a:pathLst>
                  <a:path w="430" h="325">
                    <a:moveTo>
                      <a:pt x="28" y="0"/>
                    </a:moveTo>
                    <a:lnTo>
                      <a:pt x="28" y="55"/>
                    </a:lnTo>
                    <a:lnTo>
                      <a:pt x="0" y="108"/>
                    </a:lnTo>
                    <a:lnTo>
                      <a:pt x="0" y="325"/>
                    </a:lnTo>
                    <a:lnTo>
                      <a:pt x="229" y="325"/>
                    </a:lnTo>
                    <a:lnTo>
                      <a:pt x="229" y="271"/>
                    </a:lnTo>
                    <a:lnTo>
                      <a:pt x="430" y="271"/>
                    </a:lnTo>
                    <a:lnTo>
                      <a:pt x="430" y="108"/>
                    </a:lnTo>
                    <a:lnTo>
                      <a:pt x="315" y="108"/>
                    </a:lnTo>
                    <a:lnTo>
                      <a:pt x="315" y="55"/>
                    </a:lnTo>
                    <a:lnTo>
                      <a:pt x="200" y="0"/>
                    </a:lnTo>
                    <a:lnTo>
                      <a:pt x="28"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31" name="Freeform 38">
                <a:extLst>
                  <a:ext uri="{FF2B5EF4-FFF2-40B4-BE49-F238E27FC236}">
                    <a16:creationId xmlns:a16="http://schemas.microsoft.com/office/drawing/2014/main" id="{6F6EC082-6F64-9BDA-ECCD-7E78CFD13F5F}"/>
                  </a:ext>
                </a:extLst>
              </p:cNvPr>
              <p:cNvSpPr>
                <a:spLocks/>
              </p:cNvSpPr>
              <p:nvPr/>
            </p:nvSpPr>
            <p:spPr bwMode="auto">
              <a:xfrm>
                <a:off x="1270" y="467"/>
                <a:ext cx="430" cy="325"/>
              </a:xfrm>
              <a:custGeom>
                <a:avLst/>
                <a:gdLst/>
                <a:ahLst/>
                <a:cxnLst>
                  <a:cxn ang="0">
                    <a:pos x="28" y="0"/>
                  </a:cxn>
                  <a:cxn ang="0">
                    <a:pos x="28" y="55"/>
                  </a:cxn>
                  <a:cxn ang="0">
                    <a:pos x="0" y="108"/>
                  </a:cxn>
                  <a:cxn ang="0">
                    <a:pos x="0" y="325"/>
                  </a:cxn>
                  <a:cxn ang="0">
                    <a:pos x="229" y="325"/>
                  </a:cxn>
                  <a:cxn ang="0">
                    <a:pos x="229" y="271"/>
                  </a:cxn>
                  <a:cxn ang="0">
                    <a:pos x="430" y="271"/>
                  </a:cxn>
                  <a:cxn ang="0">
                    <a:pos x="430" y="108"/>
                  </a:cxn>
                  <a:cxn ang="0">
                    <a:pos x="315" y="108"/>
                  </a:cxn>
                  <a:cxn ang="0">
                    <a:pos x="315" y="55"/>
                  </a:cxn>
                  <a:cxn ang="0">
                    <a:pos x="200" y="0"/>
                  </a:cxn>
                  <a:cxn ang="0">
                    <a:pos x="28" y="0"/>
                  </a:cxn>
                </a:cxnLst>
                <a:rect l="0" t="0" r="r" b="b"/>
                <a:pathLst>
                  <a:path w="430" h="325">
                    <a:moveTo>
                      <a:pt x="28" y="0"/>
                    </a:moveTo>
                    <a:lnTo>
                      <a:pt x="28" y="55"/>
                    </a:lnTo>
                    <a:lnTo>
                      <a:pt x="0" y="108"/>
                    </a:lnTo>
                    <a:lnTo>
                      <a:pt x="0" y="325"/>
                    </a:lnTo>
                    <a:lnTo>
                      <a:pt x="229" y="325"/>
                    </a:lnTo>
                    <a:lnTo>
                      <a:pt x="229" y="271"/>
                    </a:lnTo>
                    <a:lnTo>
                      <a:pt x="430" y="271"/>
                    </a:lnTo>
                    <a:lnTo>
                      <a:pt x="430" y="108"/>
                    </a:lnTo>
                    <a:lnTo>
                      <a:pt x="315" y="108"/>
                    </a:lnTo>
                    <a:lnTo>
                      <a:pt x="315" y="55"/>
                    </a:lnTo>
                    <a:lnTo>
                      <a:pt x="200" y="0"/>
                    </a:lnTo>
                    <a:lnTo>
                      <a:pt x="28"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9" name="Group 39">
              <a:extLst>
                <a:ext uri="{FF2B5EF4-FFF2-40B4-BE49-F238E27FC236}">
                  <a16:creationId xmlns:a16="http://schemas.microsoft.com/office/drawing/2014/main" id="{3562DFD4-54F7-5190-6894-8ED80D8F80F7}"/>
                </a:ext>
              </a:extLst>
            </p:cNvPr>
            <p:cNvGrpSpPr>
              <a:grpSpLocks/>
            </p:cNvGrpSpPr>
            <p:nvPr/>
          </p:nvGrpSpPr>
          <p:grpSpPr bwMode="auto">
            <a:xfrm>
              <a:off x="1990920" y="2314640"/>
              <a:ext cx="563659" cy="407215"/>
              <a:chOff x="1298" y="738"/>
              <a:chExt cx="490" cy="354"/>
            </a:xfrm>
            <a:solidFill>
              <a:schemeClr val="bg1">
                <a:lumMod val="85000"/>
              </a:schemeClr>
            </a:solidFill>
          </p:grpSpPr>
          <p:sp>
            <p:nvSpPr>
              <p:cNvPr id="728" name="Freeform 40">
                <a:extLst>
                  <a:ext uri="{FF2B5EF4-FFF2-40B4-BE49-F238E27FC236}">
                    <a16:creationId xmlns:a16="http://schemas.microsoft.com/office/drawing/2014/main" id="{B4567C59-B1CF-26AB-878E-420FD18E0888}"/>
                  </a:ext>
                </a:extLst>
              </p:cNvPr>
              <p:cNvSpPr>
                <a:spLocks/>
              </p:cNvSpPr>
              <p:nvPr/>
            </p:nvSpPr>
            <p:spPr bwMode="auto">
              <a:xfrm>
                <a:off x="1298" y="738"/>
                <a:ext cx="490" cy="354"/>
              </a:xfrm>
              <a:custGeom>
                <a:avLst/>
                <a:gdLst/>
                <a:ahLst/>
                <a:cxnLst>
                  <a:cxn ang="0">
                    <a:pos x="57" y="54"/>
                  </a:cxn>
                  <a:cxn ang="0">
                    <a:pos x="57" y="272"/>
                  </a:cxn>
                  <a:cxn ang="0">
                    <a:pos x="0" y="354"/>
                  </a:cxn>
                  <a:cxn ang="0">
                    <a:pos x="490" y="354"/>
                  </a:cxn>
                  <a:cxn ang="0">
                    <a:pos x="490" y="190"/>
                  </a:cxn>
                  <a:cxn ang="0">
                    <a:pos x="403" y="109"/>
                  </a:cxn>
                  <a:cxn ang="0">
                    <a:pos x="403" y="0"/>
                  </a:cxn>
                  <a:cxn ang="0">
                    <a:pos x="202" y="0"/>
                  </a:cxn>
                  <a:cxn ang="0">
                    <a:pos x="202" y="54"/>
                  </a:cxn>
                  <a:cxn ang="0">
                    <a:pos x="57" y="54"/>
                  </a:cxn>
                </a:cxnLst>
                <a:rect l="0" t="0" r="r" b="b"/>
                <a:pathLst>
                  <a:path w="490" h="354">
                    <a:moveTo>
                      <a:pt x="57" y="54"/>
                    </a:moveTo>
                    <a:lnTo>
                      <a:pt x="57" y="272"/>
                    </a:lnTo>
                    <a:lnTo>
                      <a:pt x="0" y="354"/>
                    </a:lnTo>
                    <a:lnTo>
                      <a:pt x="490" y="354"/>
                    </a:lnTo>
                    <a:lnTo>
                      <a:pt x="490" y="190"/>
                    </a:lnTo>
                    <a:lnTo>
                      <a:pt x="403" y="109"/>
                    </a:lnTo>
                    <a:lnTo>
                      <a:pt x="403" y="0"/>
                    </a:lnTo>
                    <a:lnTo>
                      <a:pt x="202" y="0"/>
                    </a:lnTo>
                    <a:lnTo>
                      <a:pt x="202" y="54"/>
                    </a:lnTo>
                    <a:lnTo>
                      <a:pt x="57" y="5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29" name="Freeform 41">
                <a:extLst>
                  <a:ext uri="{FF2B5EF4-FFF2-40B4-BE49-F238E27FC236}">
                    <a16:creationId xmlns:a16="http://schemas.microsoft.com/office/drawing/2014/main" id="{8A990166-3DA0-5F4A-658E-3C79CEFB8867}"/>
                  </a:ext>
                </a:extLst>
              </p:cNvPr>
              <p:cNvSpPr>
                <a:spLocks/>
              </p:cNvSpPr>
              <p:nvPr/>
            </p:nvSpPr>
            <p:spPr bwMode="auto">
              <a:xfrm>
                <a:off x="1298" y="738"/>
                <a:ext cx="490" cy="354"/>
              </a:xfrm>
              <a:custGeom>
                <a:avLst/>
                <a:gdLst/>
                <a:ahLst/>
                <a:cxnLst>
                  <a:cxn ang="0">
                    <a:pos x="57" y="54"/>
                  </a:cxn>
                  <a:cxn ang="0">
                    <a:pos x="57" y="272"/>
                  </a:cxn>
                  <a:cxn ang="0">
                    <a:pos x="0" y="354"/>
                  </a:cxn>
                  <a:cxn ang="0">
                    <a:pos x="490" y="354"/>
                  </a:cxn>
                  <a:cxn ang="0">
                    <a:pos x="490" y="190"/>
                  </a:cxn>
                  <a:cxn ang="0">
                    <a:pos x="403" y="109"/>
                  </a:cxn>
                  <a:cxn ang="0">
                    <a:pos x="403" y="0"/>
                  </a:cxn>
                  <a:cxn ang="0">
                    <a:pos x="202" y="0"/>
                  </a:cxn>
                  <a:cxn ang="0">
                    <a:pos x="202" y="54"/>
                  </a:cxn>
                  <a:cxn ang="0">
                    <a:pos x="57" y="54"/>
                  </a:cxn>
                </a:cxnLst>
                <a:rect l="0" t="0" r="r" b="b"/>
                <a:pathLst>
                  <a:path w="490" h="354">
                    <a:moveTo>
                      <a:pt x="57" y="54"/>
                    </a:moveTo>
                    <a:lnTo>
                      <a:pt x="57" y="272"/>
                    </a:lnTo>
                    <a:lnTo>
                      <a:pt x="0" y="354"/>
                    </a:lnTo>
                    <a:lnTo>
                      <a:pt x="490" y="354"/>
                    </a:lnTo>
                    <a:lnTo>
                      <a:pt x="490" y="190"/>
                    </a:lnTo>
                    <a:lnTo>
                      <a:pt x="403" y="109"/>
                    </a:lnTo>
                    <a:lnTo>
                      <a:pt x="403" y="0"/>
                    </a:lnTo>
                    <a:lnTo>
                      <a:pt x="202" y="0"/>
                    </a:lnTo>
                    <a:lnTo>
                      <a:pt x="202" y="54"/>
                    </a:lnTo>
                    <a:lnTo>
                      <a:pt x="57" y="5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0" name="Group 42">
              <a:extLst>
                <a:ext uri="{FF2B5EF4-FFF2-40B4-BE49-F238E27FC236}">
                  <a16:creationId xmlns:a16="http://schemas.microsoft.com/office/drawing/2014/main" id="{55C07C90-7C3E-8765-5647-FF456C606124}"/>
                </a:ext>
              </a:extLst>
            </p:cNvPr>
            <p:cNvGrpSpPr>
              <a:grpSpLocks/>
            </p:cNvGrpSpPr>
            <p:nvPr/>
          </p:nvGrpSpPr>
          <p:grpSpPr bwMode="auto">
            <a:xfrm>
              <a:off x="2453348" y="2066168"/>
              <a:ext cx="526849" cy="499240"/>
              <a:chOff x="1700" y="522"/>
              <a:chExt cx="458" cy="434"/>
            </a:xfrm>
            <a:solidFill>
              <a:schemeClr val="bg1">
                <a:lumMod val="85000"/>
              </a:schemeClr>
            </a:solidFill>
          </p:grpSpPr>
          <p:sp>
            <p:nvSpPr>
              <p:cNvPr id="726" name="Freeform 43">
                <a:extLst>
                  <a:ext uri="{FF2B5EF4-FFF2-40B4-BE49-F238E27FC236}">
                    <a16:creationId xmlns:a16="http://schemas.microsoft.com/office/drawing/2014/main" id="{EE4A4899-FDF7-9A5C-2ABE-E6637BEE9EA6}"/>
                  </a:ext>
                </a:extLst>
              </p:cNvPr>
              <p:cNvSpPr>
                <a:spLocks/>
              </p:cNvSpPr>
              <p:nvPr/>
            </p:nvSpPr>
            <p:spPr bwMode="auto">
              <a:xfrm>
                <a:off x="1700" y="522"/>
                <a:ext cx="458" cy="434"/>
              </a:xfrm>
              <a:custGeom>
                <a:avLst/>
                <a:gdLst/>
                <a:ahLst/>
                <a:cxnLst>
                  <a:cxn ang="0">
                    <a:pos x="0" y="135"/>
                  </a:cxn>
                  <a:cxn ang="0">
                    <a:pos x="0" y="325"/>
                  </a:cxn>
                  <a:cxn ang="0">
                    <a:pos x="86" y="406"/>
                  </a:cxn>
                  <a:cxn ang="0">
                    <a:pos x="86" y="434"/>
                  </a:cxn>
                  <a:cxn ang="0">
                    <a:pos x="343" y="434"/>
                  </a:cxn>
                  <a:cxn ang="0">
                    <a:pos x="372" y="325"/>
                  </a:cxn>
                  <a:cxn ang="0">
                    <a:pos x="458" y="189"/>
                  </a:cxn>
                  <a:cxn ang="0">
                    <a:pos x="430" y="53"/>
                  </a:cxn>
                  <a:cxn ang="0">
                    <a:pos x="401" y="26"/>
                  </a:cxn>
                  <a:cxn ang="0">
                    <a:pos x="343" y="26"/>
                  </a:cxn>
                  <a:cxn ang="0">
                    <a:pos x="315" y="0"/>
                  </a:cxn>
                  <a:cxn ang="0">
                    <a:pos x="115" y="135"/>
                  </a:cxn>
                  <a:cxn ang="0">
                    <a:pos x="0" y="135"/>
                  </a:cxn>
                </a:cxnLst>
                <a:rect l="0" t="0" r="r" b="b"/>
                <a:pathLst>
                  <a:path w="458" h="434">
                    <a:moveTo>
                      <a:pt x="0" y="135"/>
                    </a:moveTo>
                    <a:lnTo>
                      <a:pt x="0" y="325"/>
                    </a:lnTo>
                    <a:lnTo>
                      <a:pt x="86" y="406"/>
                    </a:lnTo>
                    <a:lnTo>
                      <a:pt x="86" y="434"/>
                    </a:lnTo>
                    <a:lnTo>
                      <a:pt x="343" y="434"/>
                    </a:lnTo>
                    <a:lnTo>
                      <a:pt x="372" y="325"/>
                    </a:lnTo>
                    <a:lnTo>
                      <a:pt x="458" y="189"/>
                    </a:lnTo>
                    <a:lnTo>
                      <a:pt x="430" y="53"/>
                    </a:lnTo>
                    <a:lnTo>
                      <a:pt x="401" y="26"/>
                    </a:lnTo>
                    <a:lnTo>
                      <a:pt x="343" y="26"/>
                    </a:lnTo>
                    <a:lnTo>
                      <a:pt x="315" y="0"/>
                    </a:lnTo>
                    <a:lnTo>
                      <a:pt x="115" y="135"/>
                    </a:lnTo>
                    <a:lnTo>
                      <a:pt x="0" y="135"/>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27" name="Freeform 44">
                <a:extLst>
                  <a:ext uri="{FF2B5EF4-FFF2-40B4-BE49-F238E27FC236}">
                    <a16:creationId xmlns:a16="http://schemas.microsoft.com/office/drawing/2014/main" id="{906A296C-7EDA-B731-B8CA-4CBD8C60B506}"/>
                  </a:ext>
                </a:extLst>
              </p:cNvPr>
              <p:cNvSpPr>
                <a:spLocks/>
              </p:cNvSpPr>
              <p:nvPr/>
            </p:nvSpPr>
            <p:spPr bwMode="auto">
              <a:xfrm>
                <a:off x="1700" y="522"/>
                <a:ext cx="458" cy="434"/>
              </a:xfrm>
              <a:custGeom>
                <a:avLst/>
                <a:gdLst/>
                <a:ahLst/>
                <a:cxnLst>
                  <a:cxn ang="0">
                    <a:pos x="0" y="135"/>
                  </a:cxn>
                  <a:cxn ang="0">
                    <a:pos x="0" y="325"/>
                  </a:cxn>
                  <a:cxn ang="0">
                    <a:pos x="86" y="406"/>
                  </a:cxn>
                  <a:cxn ang="0">
                    <a:pos x="86" y="434"/>
                  </a:cxn>
                  <a:cxn ang="0">
                    <a:pos x="343" y="434"/>
                  </a:cxn>
                  <a:cxn ang="0">
                    <a:pos x="372" y="325"/>
                  </a:cxn>
                  <a:cxn ang="0">
                    <a:pos x="458" y="189"/>
                  </a:cxn>
                  <a:cxn ang="0">
                    <a:pos x="430" y="53"/>
                  </a:cxn>
                  <a:cxn ang="0">
                    <a:pos x="401" y="26"/>
                  </a:cxn>
                  <a:cxn ang="0">
                    <a:pos x="343" y="26"/>
                  </a:cxn>
                  <a:cxn ang="0">
                    <a:pos x="315" y="0"/>
                  </a:cxn>
                  <a:cxn ang="0">
                    <a:pos x="115" y="135"/>
                  </a:cxn>
                  <a:cxn ang="0">
                    <a:pos x="0" y="135"/>
                  </a:cxn>
                </a:cxnLst>
                <a:rect l="0" t="0" r="r" b="b"/>
                <a:pathLst>
                  <a:path w="458" h="434">
                    <a:moveTo>
                      <a:pt x="0" y="135"/>
                    </a:moveTo>
                    <a:lnTo>
                      <a:pt x="0" y="325"/>
                    </a:lnTo>
                    <a:lnTo>
                      <a:pt x="86" y="406"/>
                    </a:lnTo>
                    <a:lnTo>
                      <a:pt x="86" y="434"/>
                    </a:lnTo>
                    <a:lnTo>
                      <a:pt x="343" y="434"/>
                    </a:lnTo>
                    <a:lnTo>
                      <a:pt x="372" y="325"/>
                    </a:lnTo>
                    <a:lnTo>
                      <a:pt x="458" y="189"/>
                    </a:lnTo>
                    <a:lnTo>
                      <a:pt x="430" y="53"/>
                    </a:lnTo>
                    <a:lnTo>
                      <a:pt x="401" y="26"/>
                    </a:lnTo>
                    <a:lnTo>
                      <a:pt x="343" y="26"/>
                    </a:lnTo>
                    <a:lnTo>
                      <a:pt x="315" y="0"/>
                    </a:lnTo>
                    <a:lnTo>
                      <a:pt x="115" y="135"/>
                    </a:lnTo>
                    <a:lnTo>
                      <a:pt x="0" y="135"/>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1" name="Group 45">
              <a:extLst>
                <a:ext uri="{FF2B5EF4-FFF2-40B4-BE49-F238E27FC236}">
                  <a16:creationId xmlns:a16="http://schemas.microsoft.com/office/drawing/2014/main" id="{113731D4-8E6F-E81C-59D3-3F4A3788A1C6}"/>
                </a:ext>
              </a:extLst>
            </p:cNvPr>
            <p:cNvGrpSpPr>
              <a:grpSpLocks/>
            </p:cNvGrpSpPr>
            <p:nvPr/>
          </p:nvGrpSpPr>
          <p:grpSpPr bwMode="auto">
            <a:xfrm>
              <a:off x="2552276" y="2564257"/>
              <a:ext cx="461281" cy="437123"/>
              <a:chOff x="1786" y="955"/>
              <a:chExt cx="401" cy="380"/>
            </a:xfrm>
            <a:solidFill>
              <a:schemeClr val="bg1">
                <a:lumMod val="85000"/>
              </a:schemeClr>
            </a:solidFill>
          </p:grpSpPr>
          <p:sp>
            <p:nvSpPr>
              <p:cNvPr id="724" name="Freeform 46">
                <a:extLst>
                  <a:ext uri="{FF2B5EF4-FFF2-40B4-BE49-F238E27FC236}">
                    <a16:creationId xmlns:a16="http://schemas.microsoft.com/office/drawing/2014/main" id="{25FC49C5-607B-A664-FF3E-843533920238}"/>
                  </a:ext>
                </a:extLst>
              </p:cNvPr>
              <p:cNvSpPr>
                <a:spLocks/>
              </p:cNvSpPr>
              <p:nvPr/>
            </p:nvSpPr>
            <p:spPr bwMode="auto">
              <a:xfrm>
                <a:off x="1786" y="955"/>
                <a:ext cx="401" cy="380"/>
              </a:xfrm>
              <a:custGeom>
                <a:avLst/>
                <a:gdLst/>
                <a:ahLst/>
                <a:cxnLst>
                  <a:cxn ang="0">
                    <a:pos x="0" y="0"/>
                  </a:cxn>
                  <a:cxn ang="0">
                    <a:pos x="0" y="380"/>
                  </a:cxn>
                  <a:cxn ang="0">
                    <a:pos x="373" y="380"/>
                  </a:cxn>
                  <a:cxn ang="0">
                    <a:pos x="373" y="298"/>
                  </a:cxn>
                  <a:cxn ang="0">
                    <a:pos x="344" y="218"/>
                  </a:cxn>
                  <a:cxn ang="0">
                    <a:pos x="401" y="190"/>
                  </a:cxn>
                  <a:cxn ang="0">
                    <a:pos x="373" y="136"/>
                  </a:cxn>
                  <a:cxn ang="0">
                    <a:pos x="287" y="109"/>
                  </a:cxn>
                  <a:cxn ang="0">
                    <a:pos x="287" y="0"/>
                  </a:cxn>
                  <a:cxn ang="0">
                    <a:pos x="0" y="0"/>
                  </a:cxn>
                </a:cxnLst>
                <a:rect l="0" t="0" r="r" b="b"/>
                <a:pathLst>
                  <a:path w="401" h="380">
                    <a:moveTo>
                      <a:pt x="0" y="0"/>
                    </a:moveTo>
                    <a:lnTo>
                      <a:pt x="0" y="380"/>
                    </a:lnTo>
                    <a:lnTo>
                      <a:pt x="373" y="380"/>
                    </a:lnTo>
                    <a:lnTo>
                      <a:pt x="373" y="298"/>
                    </a:lnTo>
                    <a:lnTo>
                      <a:pt x="344" y="218"/>
                    </a:lnTo>
                    <a:lnTo>
                      <a:pt x="401" y="190"/>
                    </a:lnTo>
                    <a:lnTo>
                      <a:pt x="373" y="136"/>
                    </a:lnTo>
                    <a:lnTo>
                      <a:pt x="287" y="109"/>
                    </a:lnTo>
                    <a:lnTo>
                      <a:pt x="287"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25" name="Freeform 47">
                <a:extLst>
                  <a:ext uri="{FF2B5EF4-FFF2-40B4-BE49-F238E27FC236}">
                    <a16:creationId xmlns:a16="http://schemas.microsoft.com/office/drawing/2014/main" id="{FC104E20-F8F6-174C-7A1D-96DA520B414D}"/>
                  </a:ext>
                </a:extLst>
              </p:cNvPr>
              <p:cNvSpPr>
                <a:spLocks/>
              </p:cNvSpPr>
              <p:nvPr/>
            </p:nvSpPr>
            <p:spPr bwMode="auto">
              <a:xfrm>
                <a:off x="1786" y="955"/>
                <a:ext cx="401" cy="380"/>
              </a:xfrm>
              <a:custGeom>
                <a:avLst/>
                <a:gdLst/>
                <a:ahLst/>
                <a:cxnLst>
                  <a:cxn ang="0">
                    <a:pos x="0" y="0"/>
                  </a:cxn>
                  <a:cxn ang="0">
                    <a:pos x="0" y="380"/>
                  </a:cxn>
                  <a:cxn ang="0">
                    <a:pos x="373" y="380"/>
                  </a:cxn>
                  <a:cxn ang="0">
                    <a:pos x="373" y="298"/>
                  </a:cxn>
                  <a:cxn ang="0">
                    <a:pos x="344" y="218"/>
                  </a:cxn>
                  <a:cxn ang="0">
                    <a:pos x="401" y="190"/>
                  </a:cxn>
                  <a:cxn ang="0">
                    <a:pos x="373" y="136"/>
                  </a:cxn>
                  <a:cxn ang="0">
                    <a:pos x="287" y="109"/>
                  </a:cxn>
                  <a:cxn ang="0">
                    <a:pos x="287" y="0"/>
                  </a:cxn>
                  <a:cxn ang="0">
                    <a:pos x="0" y="0"/>
                  </a:cxn>
                </a:cxnLst>
                <a:rect l="0" t="0" r="r" b="b"/>
                <a:pathLst>
                  <a:path w="401" h="380">
                    <a:moveTo>
                      <a:pt x="0" y="0"/>
                    </a:moveTo>
                    <a:lnTo>
                      <a:pt x="0" y="380"/>
                    </a:lnTo>
                    <a:lnTo>
                      <a:pt x="373" y="380"/>
                    </a:lnTo>
                    <a:lnTo>
                      <a:pt x="373" y="298"/>
                    </a:lnTo>
                    <a:lnTo>
                      <a:pt x="344" y="218"/>
                    </a:lnTo>
                    <a:lnTo>
                      <a:pt x="401" y="190"/>
                    </a:lnTo>
                    <a:lnTo>
                      <a:pt x="373" y="136"/>
                    </a:lnTo>
                    <a:lnTo>
                      <a:pt x="287" y="109"/>
                    </a:lnTo>
                    <a:lnTo>
                      <a:pt x="287"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2" name="Group 48">
              <a:extLst>
                <a:ext uri="{FF2B5EF4-FFF2-40B4-BE49-F238E27FC236}">
                  <a16:creationId xmlns:a16="http://schemas.microsoft.com/office/drawing/2014/main" id="{7FA096D2-0E94-CE61-F1BC-125BE7E6957B}"/>
                </a:ext>
              </a:extLst>
            </p:cNvPr>
            <p:cNvGrpSpPr>
              <a:grpSpLocks/>
            </p:cNvGrpSpPr>
            <p:nvPr/>
          </p:nvGrpSpPr>
          <p:grpSpPr bwMode="auto">
            <a:xfrm>
              <a:off x="2847912" y="2096076"/>
              <a:ext cx="626927" cy="625776"/>
              <a:chOff x="2043" y="548"/>
              <a:chExt cx="545" cy="544"/>
            </a:xfrm>
            <a:solidFill>
              <a:schemeClr val="bg1">
                <a:lumMod val="85000"/>
              </a:schemeClr>
            </a:solidFill>
          </p:grpSpPr>
          <p:sp>
            <p:nvSpPr>
              <p:cNvPr id="722" name="Freeform 49">
                <a:extLst>
                  <a:ext uri="{FF2B5EF4-FFF2-40B4-BE49-F238E27FC236}">
                    <a16:creationId xmlns:a16="http://schemas.microsoft.com/office/drawing/2014/main" id="{03E09E8E-6405-BBD6-30AE-36D7C32EC408}"/>
                  </a:ext>
                </a:extLst>
              </p:cNvPr>
              <p:cNvSpPr>
                <a:spLocks/>
              </p:cNvSpPr>
              <p:nvPr/>
            </p:nvSpPr>
            <p:spPr bwMode="auto">
              <a:xfrm>
                <a:off x="2043" y="548"/>
                <a:ext cx="545" cy="544"/>
              </a:xfrm>
              <a:custGeom>
                <a:avLst/>
                <a:gdLst/>
                <a:ahLst/>
                <a:cxnLst>
                  <a:cxn ang="0">
                    <a:pos x="0" y="408"/>
                  </a:cxn>
                  <a:cxn ang="0">
                    <a:pos x="29" y="408"/>
                  </a:cxn>
                  <a:cxn ang="0">
                    <a:pos x="29" y="517"/>
                  </a:cxn>
                  <a:cxn ang="0">
                    <a:pos x="115" y="544"/>
                  </a:cxn>
                  <a:cxn ang="0">
                    <a:pos x="230" y="462"/>
                  </a:cxn>
                  <a:cxn ang="0">
                    <a:pos x="259" y="354"/>
                  </a:cxn>
                  <a:cxn ang="0">
                    <a:pos x="373" y="299"/>
                  </a:cxn>
                  <a:cxn ang="0">
                    <a:pos x="517" y="299"/>
                  </a:cxn>
                  <a:cxn ang="0">
                    <a:pos x="517" y="163"/>
                  </a:cxn>
                  <a:cxn ang="0">
                    <a:pos x="545" y="163"/>
                  </a:cxn>
                  <a:cxn ang="0">
                    <a:pos x="545" y="109"/>
                  </a:cxn>
                  <a:cxn ang="0">
                    <a:pos x="402" y="82"/>
                  </a:cxn>
                  <a:cxn ang="0">
                    <a:pos x="402" y="0"/>
                  </a:cxn>
                  <a:cxn ang="0">
                    <a:pos x="373" y="0"/>
                  </a:cxn>
                  <a:cxn ang="0">
                    <a:pos x="345" y="54"/>
                  </a:cxn>
                  <a:cxn ang="0">
                    <a:pos x="115" y="163"/>
                  </a:cxn>
                  <a:cxn ang="0">
                    <a:pos x="29" y="299"/>
                  </a:cxn>
                  <a:cxn ang="0">
                    <a:pos x="0" y="408"/>
                  </a:cxn>
                </a:cxnLst>
                <a:rect l="0" t="0" r="r" b="b"/>
                <a:pathLst>
                  <a:path w="545" h="544">
                    <a:moveTo>
                      <a:pt x="0" y="408"/>
                    </a:moveTo>
                    <a:lnTo>
                      <a:pt x="29" y="408"/>
                    </a:lnTo>
                    <a:lnTo>
                      <a:pt x="29" y="517"/>
                    </a:lnTo>
                    <a:lnTo>
                      <a:pt x="115" y="544"/>
                    </a:lnTo>
                    <a:lnTo>
                      <a:pt x="230" y="462"/>
                    </a:lnTo>
                    <a:lnTo>
                      <a:pt x="259" y="354"/>
                    </a:lnTo>
                    <a:lnTo>
                      <a:pt x="373" y="299"/>
                    </a:lnTo>
                    <a:lnTo>
                      <a:pt x="517" y="299"/>
                    </a:lnTo>
                    <a:lnTo>
                      <a:pt x="517" y="163"/>
                    </a:lnTo>
                    <a:lnTo>
                      <a:pt x="545" y="163"/>
                    </a:lnTo>
                    <a:lnTo>
                      <a:pt x="545" y="109"/>
                    </a:lnTo>
                    <a:lnTo>
                      <a:pt x="402" y="82"/>
                    </a:lnTo>
                    <a:lnTo>
                      <a:pt x="402" y="0"/>
                    </a:lnTo>
                    <a:lnTo>
                      <a:pt x="373" y="0"/>
                    </a:lnTo>
                    <a:lnTo>
                      <a:pt x="345" y="54"/>
                    </a:lnTo>
                    <a:lnTo>
                      <a:pt x="115" y="163"/>
                    </a:lnTo>
                    <a:lnTo>
                      <a:pt x="29" y="299"/>
                    </a:lnTo>
                    <a:lnTo>
                      <a:pt x="0" y="408"/>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23" name="Freeform 50">
                <a:extLst>
                  <a:ext uri="{FF2B5EF4-FFF2-40B4-BE49-F238E27FC236}">
                    <a16:creationId xmlns:a16="http://schemas.microsoft.com/office/drawing/2014/main" id="{54B771B9-42D4-9CA6-AB15-E0FED2E4F76C}"/>
                  </a:ext>
                </a:extLst>
              </p:cNvPr>
              <p:cNvSpPr>
                <a:spLocks/>
              </p:cNvSpPr>
              <p:nvPr/>
            </p:nvSpPr>
            <p:spPr bwMode="auto">
              <a:xfrm>
                <a:off x="2043" y="548"/>
                <a:ext cx="545" cy="544"/>
              </a:xfrm>
              <a:custGeom>
                <a:avLst/>
                <a:gdLst/>
                <a:ahLst/>
                <a:cxnLst>
                  <a:cxn ang="0">
                    <a:pos x="0" y="408"/>
                  </a:cxn>
                  <a:cxn ang="0">
                    <a:pos x="29" y="408"/>
                  </a:cxn>
                  <a:cxn ang="0">
                    <a:pos x="29" y="517"/>
                  </a:cxn>
                  <a:cxn ang="0">
                    <a:pos x="115" y="544"/>
                  </a:cxn>
                  <a:cxn ang="0">
                    <a:pos x="230" y="462"/>
                  </a:cxn>
                  <a:cxn ang="0">
                    <a:pos x="259" y="354"/>
                  </a:cxn>
                  <a:cxn ang="0">
                    <a:pos x="373" y="299"/>
                  </a:cxn>
                  <a:cxn ang="0">
                    <a:pos x="517" y="299"/>
                  </a:cxn>
                  <a:cxn ang="0">
                    <a:pos x="517" y="163"/>
                  </a:cxn>
                  <a:cxn ang="0">
                    <a:pos x="545" y="163"/>
                  </a:cxn>
                  <a:cxn ang="0">
                    <a:pos x="545" y="109"/>
                  </a:cxn>
                  <a:cxn ang="0">
                    <a:pos x="402" y="82"/>
                  </a:cxn>
                  <a:cxn ang="0">
                    <a:pos x="402" y="0"/>
                  </a:cxn>
                  <a:cxn ang="0">
                    <a:pos x="373" y="0"/>
                  </a:cxn>
                  <a:cxn ang="0">
                    <a:pos x="345" y="54"/>
                  </a:cxn>
                  <a:cxn ang="0">
                    <a:pos x="115" y="163"/>
                  </a:cxn>
                  <a:cxn ang="0">
                    <a:pos x="29" y="299"/>
                  </a:cxn>
                  <a:cxn ang="0">
                    <a:pos x="0" y="408"/>
                  </a:cxn>
                </a:cxnLst>
                <a:rect l="0" t="0" r="r" b="b"/>
                <a:pathLst>
                  <a:path w="545" h="544">
                    <a:moveTo>
                      <a:pt x="0" y="408"/>
                    </a:moveTo>
                    <a:lnTo>
                      <a:pt x="29" y="408"/>
                    </a:lnTo>
                    <a:lnTo>
                      <a:pt x="29" y="517"/>
                    </a:lnTo>
                    <a:lnTo>
                      <a:pt x="115" y="544"/>
                    </a:lnTo>
                    <a:lnTo>
                      <a:pt x="230" y="462"/>
                    </a:lnTo>
                    <a:lnTo>
                      <a:pt x="259" y="354"/>
                    </a:lnTo>
                    <a:lnTo>
                      <a:pt x="373" y="299"/>
                    </a:lnTo>
                    <a:lnTo>
                      <a:pt x="517" y="299"/>
                    </a:lnTo>
                    <a:lnTo>
                      <a:pt x="517" y="163"/>
                    </a:lnTo>
                    <a:lnTo>
                      <a:pt x="545" y="163"/>
                    </a:lnTo>
                    <a:lnTo>
                      <a:pt x="545" y="109"/>
                    </a:lnTo>
                    <a:lnTo>
                      <a:pt x="402" y="82"/>
                    </a:lnTo>
                    <a:lnTo>
                      <a:pt x="402" y="0"/>
                    </a:lnTo>
                    <a:lnTo>
                      <a:pt x="373" y="0"/>
                    </a:lnTo>
                    <a:lnTo>
                      <a:pt x="345" y="54"/>
                    </a:lnTo>
                    <a:lnTo>
                      <a:pt x="115" y="163"/>
                    </a:lnTo>
                    <a:lnTo>
                      <a:pt x="29" y="299"/>
                    </a:lnTo>
                    <a:lnTo>
                      <a:pt x="0" y="408"/>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3" name="Group 54">
              <a:extLst>
                <a:ext uri="{FF2B5EF4-FFF2-40B4-BE49-F238E27FC236}">
                  <a16:creationId xmlns:a16="http://schemas.microsoft.com/office/drawing/2014/main" id="{9B9D14D9-D178-554B-42A6-75A5CADC40A2}"/>
                </a:ext>
              </a:extLst>
            </p:cNvPr>
            <p:cNvGrpSpPr>
              <a:grpSpLocks/>
            </p:cNvGrpSpPr>
            <p:nvPr/>
          </p:nvGrpSpPr>
          <p:grpSpPr bwMode="auto">
            <a:xfrm>
              <a:off x="2946837" y="2440025"/>
              <a:ext cx="495790" cy="592416"/>
              <a:chOff x="2129" y="847"/>
              <a:chExt cx="431" cy="515"/>
            </a:xfrm>
            <a:solidFill>
              <a:schemeClr val="bg1">
                <a:lumMod val="85000"/>
              </a:schemeClr>
            </a:solidFill>
          </p:grpSpPr>
          <p:sp>
            <p:nvSpPr>
              <p:cNvPr id="720" name="Freeform 55">
                <a:extLst>
                  <a:ext uri="{FF2B5EF4-FFF2-40B4-BE49-F238E27FC236}">
                    <a16:creationId xmlns:a16="http://schemas.microsoft.com/office/drawing/2014/main" id="{953DD281-2282-FF6E-B501-A9DD539E5F34}"/>
                  </a:ext>
                </a:extLst>
              </p:cNvPr>
              <p:cNvSpPr>
                <a:spLocks/>
              </p:cNvSpPr>
              <p:nvPr/>
            </p:nvSpPr>
            <p:spPr bwMode="auto">
              <a:xfrm>
                <a:off x="2129" y="847"/>
                <a:ext cx="431" cy="515"/>
              </a:xfrm>
              <a:custGeom>
                <a:avLst/>
                <a:gdLst/>
                <a:ahLst/>
                <a:cxnLst>
                  <a:cxn ang="0">
                    <a:pos x="29" y="244"/>
                  </a:cxn>
                  <a:cxn ang="0">
                    <a:pos x="58" y="299"/>
                  </a:cxn>
                  <a:cxn ang="0">
                    <a:pos x="0" y="326"/>
                  </a:cxn>
                  <a:cxn ang="0">
                    <a:pos x="29" y="406"/>
                  </a:cxn>
                  <a:cxn ang="0">
                    <a:pos x="144" y="515"/>
                  </a:cxn>
                  <a:cxn ang="0">
                    <a:pos x="288" y="434"/>
                  </a:cxn>
                  <a:cxn ang="0">
                    <a:pos x="345" y="434"/>
                  </a:cxn>
                  <a:cxn ang="0">
                    <a:pos x="345" y="515"/>
                  </a:cxn>
                  <a:cxn ang="0">
                    <a:pos x="403" y="461"/>
                  </a:cxn>
                  <a:cxn ang="0">
                    <a:pos x="431" y="190"/>
                  </a:cxn>
                  <a:cxn ang="0">
                    <a:pos x="374" y="190"/>
                  </a:cxn>
                  <a:cxn ang="0">
                    <a:pos x="431" y="54"/>
                  </a:cxn>
                  <a:cxn ang="0">
                    <a:pos x="431" y="0"/>
                  </a:cxn>
                  <a:cxn ang="0">
                    <a:pos x="288" y="0"/>
                  </a:cxn>
                  <a:cxn ang="0">
                    <a:pos x="172" y="54"/>
                  </a:cxn>
                  <a:cxn ang="0">
                    <a:pos x="144" y="163"/>
                  </a:cxn>
                  <a:cxn ang="0">
                    <a:pos x="29" y="244"/>
                  </a:cxn>
                </a:cxnLst>
                <a:rect l="0" t="0" r="r" b="b"/>
                <a:pathLst>
                  <a:path w="431" h="515">
                    <a:moveTo>
                      <a:pt x="29" y="244"/>
                    </a:moveTo>
                    <a:lnTo>
                      <a:pt x="58" y="299"/>
                    </a:lnTo>
                    <a:lnTo>
                      <a:pt x="0" y="326"/>
                    </a:lnTo>
                    <a:lnTo>
                      <a:pt x="29" y="406"/>
                    </a:lnTo>
                    <a:lnTo>
                      <a:pt x="144" y="515"/>
                    </a:lnTo>
                    <a:lnTo>
                      <a:pt x="288" y="434"/>
                    </a:lnTo>
                    <a:lnTo>
                      <a:pt x="345" y="434"/>
                    </a:lnTo>
                    <a:lnTo>
                      <a:pt x="345" y="515"/>
                    </a:lnTo>
                    <a:lnTo>
                      <a:pt x="403" y="461"/>
                    </a:lnTo>
                    <a:lnTo>
                      <a:pt x="431" y="190"/>
                    </a:lnTo>
                    <a:lnTo>
                      <a:pt x="374" y="190"/>
                    </a:lnTo>
                    <a:lnTo>
                      <a:pt x="431" y="54"/>
                    </a:lnTo>
                    <a:lnTo>
                      <a:pt x="431" y="0"/>
                    </a:lnTo>
                    <a:lnTo>
                      <a:pt x="288" y="0"/>
                    </a:lnTo>
                    <a:lnTo>
                      <a:pt x="172" y="54"/>
                    </a:lnTo>
                    <a:lnTo>
                      <a:pt x="144" y="163"/>
                    </a:lnTo>
                    <a:lnTo>
                      <a:pt x="29" y="24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21" name="Freeform 56">
                <a:extLst>
                  <a:ext uri="{FF2B5EF4-FFF2-40B4-BE49-F238E27FC236}">
                    <a16:creationId xmlns:a16="http://schemas.microsoft.com/office/drawing/2014/main" id="{38BCE284-9323-1732-7F49-D0E6E5FC29E1}"/>
                  </a:ext>
                </a:extLst>
              </p:cNvPr>
              <p:cNvSpPr>
                <a:spLocks/>
              </p:cNvSpPr>
              <p:nvPr/>
            </p:nvSpPr>
            <p:spPr bwMode="auto">
              <a:xfrm>
                <a:off x="2129" y="847"/>
                <a:ext cx="431" cy="515"/>
              </a:xfrm>
              <a:custGeom>
                <a:avLst/>
                <a:gdLst/>
                <a:ahLst/>
                <a:cxnLst>
                  <a:cxn ang="0">
                    <a:pos x="29" y="244"/>
                  </a:cxn>
                  <a:cxn ang="0">
                    <a:pos x="58" y="299"/>
                  </a:cxn>
                  <a:cxn ang="0">
                    <a:pos x="0" y="326"/>
                  </a:cxn>
                  <a:cxn ang="0">
                    <a:pos x="29" y="406"/>
                  </a:cxn>
                  <a:cxn ang="0">
                    <a:pos x="144" y="515"/>
                  </a:cxn>
                  <a:cxn ang="0">
                    <a:pos x="288" y="434"/>
                  </a:cxn>
                  <a:cxn ang="0">
                    <a:pos x="345" y="434"/>
                  </a:cxn>
                  <a:cxn ang="0">
                    <a:pos x="345" y="515"/>
                  </a:cxn>
                  <a:cxn ang="0">
                    <a:pos x="403" y="461"/>
                  </a:cxn>
                  <a:cxn ang="0">
                    <a:pos x="431" y="190"/>
                  </a:cxn>
                  <a:cxn ang="0">
                    <a:pos x="374" y="190"/>
                  </a:cxn>
                  <a:cxn ang="0">
                    <a:pos x="431" y="54"/>
                  </a:cxn>
                  <a:cxn ang="0">
                    <a:pos x="431" y="0"/>
                  </a:cxn>
                  <a:cxn ang="0">
                    <a:pos x="288" y="0"/>
                  </a:cxn>
                  <a:cxn ang="0">
                    <a:pos x="172" y="54"/>
                  </a:cxn>
                  <a:cxn ang="0">
                    <a:pos x="144" y="163"/>
                  </a:cxn>
                  <a:cxn ang="0">
                    <a:pos x="29" y="244"/>
                  </a:cxn>
                </a:cxnLst>
                <a:rect l="0" t="0" r="r" b="b"/>
                <a:pathLst>
                  <a:path w="431" h="515">
                    <a:moveTo>
                      <a:pt x="29" y="244"/>
                    </a:moveTo>
                    <a:lnTo>
                      <a:pt x="58" y="299"/>
                    </a:lnTo>
                    <a:lnTo>
                      <a:pt x="0" y="326"/>
                    </a:lnTo>
                    <a:lnTo>
                      <a:pt x="29" y="406"/>
                    </a:lnTo>
                    <a:lnTo>
                      <a:pt x="144" y="515"/>
                    </a:lnTo>
                    <a:lnTo>
                      <a:pt x="288" y="434"/>
                    </a:lnTo>
                    <a:lnTo>
                      <a:pt x="345" y="434"/>
                    </a:lnTo>
                    <a:lnTo>
                      <a:pt x="345" y="515"/>
                    </a:lnTo>
                    <a:lnTo>
                      <a:pt x="403" y="461"/>
                    </a:lnTo>
                    <a:lnTo>
                      <a:pt x="431" y="190"/>
                    </a:lnTo>
                    <a:lnTo>
                      <a:pt x="374" y="190"/>
                    </a:lnTo>
                    <a:lnTo>
                      <a:pt x="431" y="54"/>
                    </a:lnTo>
                    <a:lnTo>
                      <a:pt x="431" y="0"/>
                    </a:lnTo>
                    <a:lnTo>
                      <a:pt x="288" y="0"/>
                    </a:lnTo>
                    <a:lnTo>
                      <a:pt x="172" y="54"/>
                    </a:lnTo>
                    <a:lnTo>
                      <a:pt x="144" y="163"/>
                    </a:lnTo>
                    <a:lnTo>
                      <a:pt x="29" y="24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4" name="Group 60">
              <a:extLst>
                <a:ext uri="{FF2B5EF4-FFF2-40B4-BE49-F238E27FC236}">
                  <a16:creationId xmlns:a16="http://schemas.microsoft.com/office/drawing/2014/main" id="{FCF70824-47B5-D684-300E-7DAA82800BBC}"/>
                </a:ext>
              </a:extLst>
            </p:cNvPr>
            <p:cNvGrpSpPr>
              <a:grpSpLocks/>
            </p:cNvGrpSpPr>
            <p:nvPr/>
          </p:nvGrpSpPr>
          <p:grpSpPr bwMode="auto">
            <a:xfrm>
              <a:off x="1332934" y="2721855"/>
              <a:ext cx="790273" cy="966273"/>
              <a:chOff x="726" y="1092"/>
              <a:chExt cx="687" cy="840"/>
            </a:xfrm>
            <a:solidFill>
              <a:schemeClr val="bg1">
                <a:lumMod val="85000"/>
              </a:schemeClr>
            </a:solidFill>
          </p:grpSpPr>
          <p:sp>
            <p:nvSpPr>
              <p:cNvPr id="718" name="Freeform 61">
                <a:extLst>
                  <a:ext uri="{FF2B5EF4-FFF2-40B4-BE49-F238E27FC236}">
                    <a16:creationId xmlns:a16="http://schemas.microsoft.com/office/drawing/2014/main" id="{258EDDF4-DECE-1694-19CA-A38609DEE700}"/>
                  </a:ext>
                </a:extLst>
              </p:cNvPr>
              <p:cNvSpPr>
                <a:spLocks/>
              </p:cNvSpPr>
              <p:nvPr/>
            </p:nvSpPr>
            <p:spPr bwMode="auto">
              <a:xfrm>
                <a:off x="726" y="1092"/>
                <a:ext cx="687" cy="840"/>
              </a:xfrm>
              <a:custGeom>
                <a:avLst/>
                <a:gdLst/>
                <a:ahLst/>
                <a:cxnLst>
                  <a:cxn ang="0">
                    <a:pos x="258" y="0"/>
                  </a:cxn>
                  <a:cxn ang="0">
                    <a:pos x="315" y="189"/>
                  </a:cxn>
                  <a:cxn ang="0">
                    <a:pos x="200" y="189"/>
                  </a:cxn>
                  <a:cxn ang="0">
                    <a:pos x="200" y="270"/>
                  </a:cxn>
                  <a:cxn ang="0">
                    <a:pos x="114" y="270"/>
                  </a:cxn>
                  <a:cxn ang="0">
                    <a:pos x="86" y="216"/>
                  </a:cxn>
                  <a:cxn ang="0">
                    <a:pos x="0" y="216"/>
                  </a:cxn>
                  <a:cxn ang="0">
                    <a:pos x="0" y="433"/>
                  </a:cxn>
                  <a:cxn ang="0">
                    <a:pos x="114" y="433"/>
                  </a:cxn>
                  <a:cxn ang="0">
                    <a:pos x="114" y="623"/>
                  </a:cxn>
                  <a:cxn ang="0">
                    <a:pos x="200" y="623"/>
                  </a:cxn>
                  <a:cxn ang="0">
                    <a:pos x="200" y="813"/>
                  </a:cxn>
                  <a:cxn ang="0">
                    <a:pos x="371" y="813"/>
                  </a:cxn>
                  <a:cxn ang="0">
                    <a:pos x="457" y="840"/>
                  </a:cxn>
                  <a:cxn ang="0">
                    <a:pos x="687" y="650"/>
                  </a:cxn>
                  <a:cxn ang="0">
                    <a:pos x="601" y="569"/>
                  </a:cxn>
                  <a:cxn ang="0">
                    <a:pos x="515" y="542"/>
                  </a:cxn>
                  <a:cxn ang="0">
                    <a:pos x="457" y="460"/>
                  </a:cxn>
                  <a:cxn ang="0">
                    <a:pos x="486" y="297"/>
                  </a:cxn>
                  <a:cxn ang="0">
                    <a:pos x="543" y="189"/>
                  </a:cxn>
                  <a:cxn ang="0">
                    <a:pos x="457" y="0"/>
                  </a:cxn>
                  <a:cxn ang="0">
                    <a:pos x="258" y="0"/>
                  </a:cxn>
                </a:cxnLst>
                <a:rect l="0" t="0" r="r" b="b"/>
                <a:pathLst>
                  <a:path w="687" h="840">
                    <a:moveTo>
                      <a:pt x="258" y="0"/>
                    </a:moveTo>
                    <a:lnTo>
                      <a:pt x="315" y="189"/>
                    </a:lnTo>
                    <a:lnTo>
                      <a:pt x="200" y="189"/>
                    </a:lnTo>
                    <a:lnTo>
                      <a:pt x="200" y="270"/>
                    </a:lnTo>
                    <a:lnTo>
                      <a:pt x="114" y="270"/>
                    </a:lnTo>
                    <a:lnTo>
                      <a:pt x="86" y="216"/>
                    </a:lnTo>
                    <a:lnTo>
                      <a:pt x="0" y="216"/>
                    </a:lnTo>
                    <a:lnTo>
                      <a:pt x="0" y="433"/>
                    </a:lnTo>
                    <a:lnTo>
                      <a:pt x="114" y="433"/>
                    </a:lnTo>
                    <a:lnTo>
                      <a:pt x="114" y="623"/>
                    </a:lnTo>
                    <a:lnTo>
                      <a:pt x="200" y="623"/>
                    </a:lnTo>
                    <a:lnTo>
                      <a:pt x="200" y="813"/>
                    </a:lnTo>
                    <a:lnTo>
                      <a:pt x="371" y="813"/>
                    </a:lnTo>
                    <a:lnTo>
                      <a:pt x="457" y="840"/>
                    </a:lnTo>
                    <a:lnTo>
                      <a:pt x="687" y="650"/>
                    </a:lnTo>
                    <a:lnTo>
                      <a:pt x="601" y="569"/>
                    </a:lnTo>
                    <a:lnTo>
                      <a:pt x="515" y="542"/>
                    </a:lnTo>
                    <a:lnTo>
                      <a:pt x="457" y="460"/>
                    </a:lnTo>
                    <a:lnTo>
                      <a:pt x="486" y="297"/>
                    </a:lnTo>
                    <a:lnTo>
                      <a:pt x="543" y="189"/>
                    </a:lnTo>
                    <a:lnTo>
                      <a:pt x="457" y="0"/>
                    </a:lnTo>
                    <a:lnTo>
                      <a:pt x="258"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19" name="Freeform 62">
                <a:extLst>
                  <a:ext uri="{FF2B5EF4-FFF2-40B4-BE49-F238E27FC236}">
                    <a16:creationId xmlns:a16="http://schemas.microsoft.com/office/drawing/2014/main" id="{B3B93430-A124-D9C1-0621-64E79851B7B5}"/>
                  </a:ext>
                </a:extLst>
              </p:cNvPr>
              <p:cNvSpPr>
                <a:spLocks/>
              </p:cNvSpPr>
              <p:nvPr/>
            </p:nvSpPr>
            <p:spPr bwMode="auto">
              <a:xfrm>
                <a:off x="726" y="1092"/>
                <a:ext cx="687" cy="840"/>
              </a:xfrm>
              <a:custGeom>
                <a:avLst/>
                <a:gdLst/>
                <a:ahLst/>
                <a:cxnLst>
                  <a:cxn ang="0">
                    <a:pos x="258" y="0"/>
                  </a:cxn>
                  <a:cxn ang="0">
                    <a:pos x="315" y="189"/>
                  </a:cxn>
                  <a:cxn ang="0">
                    <a:pos x="200" y="189"/>
                  </a:cxn>
                  <a:cxn ang="0">
                    <a:pos x="200" y="270"/>
                  </a:cxn>
                  <a:cxn ang="0">
                    <a:pos x="114" y="270"/>
                  </a:cxn>
                  <a:cxn ang="0">
                    <a:pos x="86" y="216"/>
                  </a:cxn>
                  <a:cxn ang="0">
                    <a:pos x="0" y="216"/>
                  </a:cxn>
                  <a:cxn ang="0">
                    <a:pos x="0" y="433"/>
                  </a:cxn>
                  <a:cxn ang="0">
                    <a:pos x="114" y="433"/>
                  </a:cxn>
                  <a:cxn ang="0">
                    <a:pos x="114" y="623"/>
                  </a:cxn>
                  <a:cxn ang="0">
                    <a:pos x="200" y="623"/>
                  </a:cxn>
                  <a:cxn ang="0">
                    <a:pos x="200" y="813"/>
                  </a:cxn>
                  <a:cxn ang="0">
                    <a:pos x="371" y="813"/>
                  </a:cxn>
                  <a:cxn ang="0">
                    <a:pos x="457" y="840"/>
                  </a:cxn>
                  <a:cxn ang="0">
                    <a:pos x="687" y="650"/>
                  </a:cxn>
                  <a:cxn ang="0">
                    <a:pos x="601" y="569"/>
                  </a:cxn>
                  <a:cxn ang="0">
                    <a:pos x="515" y="542"/>
                  </a:cxn>
                  <a:cxn ang="0">
                    <a:pos x="457" y="460"/>
                  </a:cxn>
                  <a:cxn ang="0">
                    <a:pos x="486" y="297"/>
                  </a:cxn>
                  <a:cxn ang="0">
                    <a:pos x="543" y="189"/>
                  </a:cxn>
                  <a:cxn ang="0">
                    <a:pos x="457" y="0"/>
                  </a:cxn>
                  <a:cxn ang="0">
                    <a:pos x="258" y="0"/>
                  </a:cxn>
                </a:cxnLst>
                <a:rect l="0" t="0" r="r" b="b"/>
                <a:pathLst>
                  <a:path w="687" h="840">
                    <a:moveTo>
                      <a:pt x="258" y="0"/>
                    </a:moveTo>
                    <a:lnTo>
                      <a:pt x="315" y="189"/>
                    </a:lnTo>
                    <a:lnTo>
                      <a:pt x="200" y="189"/>
                    </a:lnTo>
                    <a:lnTo>
                      <a:pt x="200" y="270"/>
                    </a:lnTo>
                    <a:lnTo>
                      <a:pt x="114" y="270"/>
                    </a:lnTo>
                    <a:lnTo>
                      <a:pt x="86" y="216"/>
                    </a:lnTo>
                    <a:lnTo>
                      <a:pt x="0" y="216"/>
                    </a:lnTo>
                    <a:lnTo>
                      <a:pt x="0" y="433"/>
                    </a:lnTo>
                    <a:lnTo>
                      <a:pt x="114" y="433"/>
                    </a:lnTo>
                    <a:lnTo>
                      <a:pt x="114" y="623"/>
                    </a:lnTo>
                    <a:lnTo>
                      <a:pt x="200" y="623"/>
                    </a:lnTo>
                    <a:lnTo>
                      <a:pt x="200" y="813"/>
                    </a:lnTo>
                    <a:lnTo>
                      <a:pt x="371" y="813"/>
                    </a:lnTo>
                    <a:lnTo>
                      <a:pt x="457" y="840"/>
                    </a:lnTo>
                    <a:lnTo>
                      <a:pt x="687" y="650"/>
                    </a:lnTo>
                    <a:lnTo>
                      <a:pt x="601" y="569"/>
                    </a:lnTo>
                    <a:lnTo>
                      <a:pt x="515" y="542"/>
                    </a:lnTo>
                    <a:lnTo>
                      <a:pt x="457" y="460"/>
                    </a:lnTo>
                    <a:lnTo>
                      <a:pt x="486" y="297"/>
                    </a:lnTo>
                    <a:lnTo>
                      <a:pt x="543" y="189"/>
                    </a:lnTo>
                    <a:lnTo>
                      <a:pt x="457" y="0"/>
                    </a:lnTo>
                    <a:lnTo>
                      <a:pt x="258"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5" name="Group 63">
              <a:extLst>
                <a:ext uri="{FF2B5EF4-FFF2-40B4-BE49-F238E27FC236}">
                  <a16:creationId xmlns:a16="http://schemas.microsoft.com/office/drawing/2014/main" id="{453156FC-D1B1-B924-CD94-8CAD771D8C62}"/>
                </a:ext>
              </a:extLst>
            </p:cNvPr>
            <p:cNvGrpSpPr>
              <a:grpSpLocks/>
            </p:cNvGrpSpPr>
            <p:nvPr/>
          </p:nvGrpSpPr>
          <p:grpSpPr bwMode="auto">
            <a:xfrm>
              <a:off x="1859781" y="2721855"/>
              <a:ext cx="694795" cy="530300"/>
              <a:chOff x="1184" y="1092"/>
              <a:chExt cx="604" cy="461"/>
            </a:xfrm>
            <a:solidFill>
              <a:schemeClr val="bg1">
                <a:lumMod val="85000"/>
              </a:schemeClr>
            </a:solidFill>
          </p:grpSpPr>
          <p:sp>
            <p:nvSpPr>
              <p:cNvPr id="716" name="Freeform 64">
                <a:extLst>
                  <a:ext uri="{FF2B5EF4-FFF2-40B4-BE49-F238E27FC236}">
                    <a16:creationId xmlns:a16="http://schemas.microsoft.com/office/drawing/2014/main" id="{CB91567F-8E26-45DC-3588-6C718308D833}"/>
                  </a:ext>
                </a:extLst>
              </p:cNvPr>
              <p:cNvSpPr>
                <a:spLocks/>
              </p:cNvSpPr>
              <p:nvPr/>
            </p:nvSpPr>
            <p:spPr bwMode="auto">
              <a:xfrm>
                <a:off x="1184" y="1092"/>
                <a:ext cx="604" cy="461"/>
              </a:xfrm>
              <a:custGeom>
                <a:avLst/>
                <a:gdLst/>
                <a:ahLst/>
                <a:cxnLst>
                  <a:cxn ang="0">
                    <a:pos x="0" y="0"/>
                  </a:cxn>
                  <a:cxn ang="0">
                    <a:pos x="86" y="189"/>
                  </a:cxn>
                  <a:cxn ang="0">
                    <a:pos x="29" y="298"/>
                  </a:cxn>
                  <a:cxn ang="0">
                    <a:pos x="0" y="461"/>
                  </a:cxn>
                  <a:cxn ang="0">
                    <a:pos x="316" y="461"/>
                  </a:cxn>
                  <a:cxn ang="0">
                    <a:pos x="316" y="379"/>
                  </a:cxn>
                  <a:cxn ang="0">
                    <a:pos x="546" y="379"/>
                  </a:cxn>
                  <a:cxn ang="0">
                    <a:pos x="604" y="243"/>
                  </a:cxn>
                  <a:cxn ang="0">
                    <a:pos x="604" y="0"/>
                  </a:cxn>
                  <a:cxn ang="0">
                    <a:pos x="0" y="0"/>
                  </a:cxn>
                </a:cxnLst>
                <a:rect l="0" t="0" r="r" b="b"/>
                <a:pathLst>
                  <a:path w="604" h="461">
                    <a:moveTo>
                      <a:pt x="0" y="0"/>
                    </a:moveTo>
                    <a:lnTo>
                      <a:pt x="86" y="189"/>
                    </a:lnTo>
                    <a:lnTo>
                      <a:pt x="29" y="298"/>
                    </a:lnTo>
                    <a:lnTo>
                      <a:pt x="0" y="461"/>
                    </a:lnTo>
                    <a:lnTo>
                      <a:pt x="316" y="461"/>
                    </a:lnTo>
                    <a:lnTo>
                      <a:pt x="316" y="379"/>
                    </a:lnTo>
                    <a:lnTo>
                      <a:pt x="546" y="379"/>
                    </a:lnTo>
                    <a:lnTo>
                      <a:pt x="604" y="243"/>
                    </a:lnTo>
                    <a:lnTo>
                      <a:pt x="604"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17" name="Freeform 65">
                <a:extLst>
                  <a:ext uri="{FF2B5EF4-FFF2-40B4-BE49-F238E27FC236}">
                    <a16:creationId xmlns:a16="http://schemas.microsoft.com/office/drawing/2014/main" id="{30584687-9DFD-4101-709C-5AAFC7B30412}"/>
                  </a:ext>
                </a:extLst>
              </p:cNvPr>
              <p:cNvSpPr>
                <a:spLocks/>
              </p:cNvSpPr>
              <p:nvPr/>
            </p:nvSpPr>
            <p:spPr bwMode="auto">
              <a:xfrm>
                <a:off x="1184" y="1092"/>
                <a:ext cx="604" cy="461"/>
              </a:xfrm>
              <a:custGeom>
                <a:avLst/>
                <a:gdLst/>
                <a:ahLst/>
                <a:cxnLst>
                  <a:cxn ang="0">
                    <a:pos x="0" y="0"/>
                  </a:cxn>
                  <a:cxn ang="0">
                    <a:pos x="86" y="189"/>
                  </a:cxn>
                  <a:cxn ang="0">
                    <a:pos x="29" y="298"/>
                  </a:cxn>
                  <a:cxn ang="0">
                    <a:pos x="0" y="461"/>
                  </a:cxn>
                  <a:cxn ang="0">
                    <a:pos x="316" y="461"/>
                  </a:cxn>
                  <a:cxn ang="0">
                    <a:pos x="316" y="379"/>
                  </a:cxn>
                  <a:cxn ang="0">
                    <a:pos x="546" y="379"/>
                  </a:cxn>
                  <a:cxn ang="0">
                    <a:pos x="604" y="243"/>
                  </a:cxn>
                  <a:cxn ang="0">
                    <a:pos x="604" y="0"/>
                  </a:cxn>
                  <a:cxn ang="0">
                    <a:pos x="0" y="0"/>
                  </a:cxn>
                </a:cxnLst>
                <a:rect l="0" t="0" r="r" b="b"/>
                <a:pathLst>
                  <a:path w="604" h="461">
                    <a:moveTo>
                      <a:pt x="0" y="0"/>
                    </a:moveTo>
                    <a:lnTo>
                      <a:pt x="86" y="189"/>
                    </a:lnTo>
                    <a:lnTo>
                      <a:pt x="29" y="298"/>
                    </a:lnTo>
                    <a:lnTo>
                      <a:pt x="0" y="461"/>
                    </a:lnTo>
                    <a:lnTo>
                      <a:pt x="316" y="461"/>
                    </a:lnTo>
                    <a:lnTo>
                      <a:pt x="316" y="379"/>
                    </a:lnTo>
                    <a:lnTo>
                      <a:pt x="546" y="379"/>
                    </a:lnTo>
                    <a:lnTo>
                      <a:pt x="604" y="243"/>
                    </a:lnTo>
                    <a:lnTo>
                      <a:pt x="604"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6" name="Group 66">
              <a:extLst>
                <a:ext uri="{FF2B5EF4-FFF2-40B4-BE49-F238E27FC236}">
                  <a16:creationId xmlns:a16="http://schemas.microsoft.com/office/drawing/2014/main" id="{E178FDB1-DB08-9F48-ABBE-ECC15A8192D6}"/>
                </a:ext>
              </a:extLst>
            </p:cNvPr>
            <p:cNvGrpSpPr>
              <a:grpSpLocks/>
            </p:cNvGrpSpPr>
            <p:nvPr/>
          </p:nvGrpSpPr>
          <p:grpSpPr bwMode="auto">
            <a:xfrm>
              <a:off x="1859781" y="3156674"/>
              <a:ext cx="824782" cy="470483"/>
              <a:chOff x="1184" y="1470"/>
              <a:chExt cx="717" cy="409"/>
            </a:xfrm>
            <a:solidFill>
              <a:schemeClr val="bg1">
                <a:lumMod val="85000"/>
              </a:schemeClr>
            </a:solidFill>
          </p:grpSpPr>
          <p:sp>
            <p:nvSpPr>
              <p:cNvPr id="714" name="Freeform 67">
                <a:extLst>
                  <a:ext uri="{FF2B5EF4-FFF2-40B4-BE49-F238E27FC236}">
                    <a16:creationId xmlns:a16="http://schemas.microsoft.com/office/drawing/2014/main" id="{48211E6A-877B-C5DE-A638-8473D425B645}"/>
                  </a:ext>
                </a:extLst>
              </p:cNvPr>
              <p:cNvSpPr>
                <a:spLocks/>
              </p:cNvSpPr>
              <p:nvPr/>
            </p:nvSpPr>
            <p:spPr bwMode="auto">
              <a:xfrm>
                <a:off x="1184" y="1470"/>
                <a:ext cx="717" cy="409"/>
              </a:xfrm>
              <a:custGeom>
                <a:avLst/>
                <a:gdLst/>
                <a:ahLst/>
                <a:cxnLst>
                  <a:cxn ang="0">
                    <a:pos x="0" y="82"/>
                  </a:cxn>
                  <a:cxn ang="0">
                    <a:pos x="57" y="164"/>
                  </a:cxn>
                  <a:cxn ang="0">
                    <a:pos x="144" y="191"/>
                  </a:cxn>
                  <a:cxn ang="0">
                    <a:pos x="230" y="273"/>
                  </a:cxn>
                  <a:cxn ang="0">
                    <a:pos x="258" y="382"/>
                  </a:cxn>
                  <a:cxn ang="0">
                    <a:pos x="316" y="409"/>
                  </a:cxn>
                  <a:cxn ang="0">
                    <a:pos x="717" y="327"/>
                  </a:cxn>
                  <a:cxn ang="0">
                    <a:pos x="545" y="191"/>
                  </a:cxn>
                  <a:cxn ang="0">
                    <a:pos x="574" y="28"/>
                  </a:cxn>
                  <a:cxn ang="0">
                    <a:pos x="545" y="0"/>
                  </a:cxn>
                  <a:cxn ang="0">
                    <a:pos x="316" y="0"/>
                  </a:cxn>
                  <a:cxn ang="0">
                    <a:pos x="316" y="82"/>
                  </a:cxn>
                  <a:cxn ang="0">
                    <a:pos x="0" y="82"/>
                  </a:cxn>
                </a:cxnLst>
                <a:rect l="0" t="0" r="r" b="b"/>
                <a:pathLst>
                  <a:path w="717" h="409">
                    <a:moveTo>
                      <a:pt x="0" y="82"/>
                    </a:moveTo>
                    <a:lnTo>
                      <a:pt x="57" y="164"/>
                    </a:lnTo>
                    <a:lnTo>
                      <a:pt x="144" y="191"/>
                    </a:lnTo>
                    <a:lnTo>
                      <a:pt x="230" y="273"/>
                    </a:lnTo>
                    <a:lnTo>
                      <a:pt x="258" y="382"/>
                    </a:lnTo>
                    <a:lnTo>
                      <a:pt x="316" y="409"/>
                    </a:lnTo>
                    <a:lnTo>
                      <a:pt x="717" y="327"/>
                    </a:lnTo>
                    <a:lnTo>
                      <a:pt x="545" y="191"/>
                    </a:lnTo>
                    <a:lnTo>
                      <a:pt x="574" y="28"/>
                    </a:lnTo>
                    <a:lnTo>
                      <a:pt x="545" y="0"/>
                    </a:lnTo>
                    <a:lnTo>
                      <a:pt x="316" y="0"/>
                    </a:lnTo>
                    <a:lnTo>
                      <a:pt x="316" y="82"/>
                    </a:lnTo>
                    <a:lnTo>
                      <a:pt x="0" y="8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15" name="Freeform 68">
                <a:extLst>
                  <a:ext uri="{FF2B5EF4-FFF2-40B4-BE49-F238E27FC236}">
                    <a16:creationId xmlns:a16="http://schemas.microsoft.com/office/drawing/2014/main" id="{CC5E0346-6A23-11E2-B92F-52847DC28279}"/>
                  </a:ext>
                </a:extLst>
              </p:cNvPr>
              <p:cNvSpPr>
                <a:spLocks/>
              </p:cNvSpPr>
              <p:nvPr/>
            </p:nvSpPr>
            <p:spPr bwMode="auto">
              <a:xfrm>
                <a:off x="1184" y="1470"/>
                <a:ext cx="717" cy="409"/>
              </a:xfrm>
              <a:custGeom>
                <a:avLst/>
                <a:gdLst/>
                <a:ahLst/>
                <a:cxnLst>
                  <a:cxn ang="0">
                    <a:pos x="0" y="82"/>
                  </a:cxn>
                  <a:cxn ang="0">
                    <a:pos x="57" y="164"/>
                  </a:cxn>
                  <a:cxn ang="0">
                    <a:pos x="144" y="191"/>
                  </a:cxn>
                  <a:cxn ang="0">
                    <a:pos x="230" y="273"/>
                  </a:cxn>
                  <a:cxn ang="0">
                    <a:pos x="258" y="382"/>
                  </a:cxn>
                  <a:cxn ang="0">
                    <a:pos x="316" y="409"/>
                  </a:cxn>
                  <a:cxn ang="0">
                    <a:pos x="717" y="327"/>
                  </a:cxn>
                  <a:cxn ang="0">
                    <a:pos x="545" y="191"/>
                  </a:cxn>
                  <a:cxn ang="0">
                    <a:pos x="574" y="28"/>
                  </a:cxn>
                  <a:cxn ang="0">
                    <a:pos x="545" y="0"/>
                  </a:cxn>
                  <a:cxn ang="0">
                    <a:pos x="316" y="0"/>
                  </a:cxn>
                  <a:cxn ang="0">
                    <a:pos x="316" y="82"/>
                  </a:cxn>
                  <a:cxn ang="0">
                    <a:pos x="0" y="82"/>
                  </a:cxn>
                </a:cxnLst>
                <a:rect l="0" t="0" r="r" b="b"/>
                <a:pathLst>
                  <a:path w="717" h="409">
                    <a:moveTo>
                      <a:pt x="0" y="82"/>
                    </a:moveTo>
                    <a:lnTo>
                      <a:pt x="57" y="164"/>
                    </a:lnTo>
                    <a:lnTo>
                      <a:pt x="144" y="191"/>
                    </a:lnTo>
                    <a:lnTo>
                      <a:pt x="230" y="273"/>
                    </a:lnTo>
                    <a:lnTo>
                      <a:pt x="258" y="382"/>
                    </a:lnTo>
                    <a:lnTo>
                      <a:pt x="316" y="409"/>
                    </a:lnTo>
                    <a:lnTo>
                      <a:pt x="717" y="327"/>
                    </a:lnTo>
                    <a:lnTo>
                      <a:pt x="545" y="191"/>
                    </a:lnTo>
                    <a:lnTo>
                      <a:pt x="574" y="28"/>
                    </a:lnTo>
                    <a:lnTo>
                      <a:pt x="545" y="0"/>
                    </a:lnTo>
                    <a:lnTo>
                      <a:pt x="316" y="0"/>
                    </a:lnTo>
                    <a:lnTo>
                      <a:pt x="316" y="82"/>
                    </a:lnTo>
                    <a:lnTo>
                      <a:pt x="0" y="82"/>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7" name="Group 69">
              <a:extLst>
                <a:ext uri="{FF2B5EF4-FFF2-40B4-BE49-F238E27FC236}">
                  <a16:creationId xmlns:a16="http://schemas.microsoft.com/office/drawing/2014/main" id="{7F652530-A49B-775F-D378-608751980E55}"/>
                </a:ext>
              </a:extLst>
            </p:cNvPr>
            <p:cNvGrpSpPr>
              <a:grpSpLocks/>
            </p:cNvGrpSpPr>
            <p:nvPr/>
          </p:nvGrpSpPr>
          <p:grpSpPr bwMode="auto">
            <a:xfrm>
              <a:off x="2485558" y="3001384"/>
              <a:ext cx="396862" cy="686743"/>
              <a:chOff x="1728" y="1335"/>
              <a:chExt cx="345" cy="597"/>
            </a:xfrm>
            <a:solidFill>
              <a:schemeClr val="bg1">
                <a:lumMod val="85000"/>
              </a:schemeClr>
            </a:solidFill>
          </p:grpSpPr>
          <p:sp>
            <p:nvSpPr>
              <p:cNvPr id="712" name="Freeform 70">
                <a:extLst>
                  <a:ext uri="{FF2B5EF4-FFF2-40B4-BE49-F238E27FC236}">
                    <a16:creationId xmlns:a16="http://schemas.microsoft.com/office/drawing/2014/main" id="{0E52B72E-12E0-E380-13BE-65751308E1B1}"/>
                  </a:ext>
                </a:extLst>
              </p:cNvPr>
              <p:cNvSpPr>
                <a:spLocks/>
              </p:cNvSpPr>
              <p:nvPr/>
            </p:nvSpPr>
            <p:spPr bwMode="auto">
              <a:xfrm>
                <a:off x="1728" y="1335"/>
                <a:ext cx="345" cy="597"/>
              </a:xfrm>
              <a:custGeom>
                <a:avLst/>
                <a:gdLst/>
                <a:ahLst/>
                <a:cxnLst>
                  <a:cxn ang="0">
                    <a:pos x="0" y="136"/>
                  </a:cxn>
                  <a:cxn ang="0">
                    <a:pos x="29" y="163"/>
                  </a:cxn>
                  <a:cxn ang="0">
                    <a:pos x="0" y="326"/>
                  </a:cxn>
                  <a:cxn ang="0">
                    <a:pos x="173" y="461"/>
                  </a:cxn>
                  <a:cxn ang="0">
                    <a:pos x="258" y="597"/>
                  </a:cxn>
                  <a:cxn ang="0">
                    <a:pos x="345" y="597"/>
                  </a:cxn>
                  <a:cxn ang="0">
                    <a:pos x="345" y="0"/>
                  </a:cxn>
                  <a:cxn ang="0">
                    <a:pos x="202" y="0"/>
                  </a:cxn>
                  <a:cxn ang="0">
                    <a:pos x="58" y="0"/>
                  </a:cxn>
                  <a:cxn ang="0">
                    <a:pos x="0" y="136"/>
                  </a:cxn>
                </a:cxnLst>
                <a:rect l="0" t="0" r="r" b="b"/>
                <a:pathLst>
                  <a:path w="345" h="597">
                    <a:moveTo>
                      <a:pt x="0" y="136"/>
                    </a:moveTo>
                    <a:lnTo>
                      <a:pt x="29" y="163"/>
                    </a:lnTo>
                    <a:lnTo>
                      <a:pt x="0" y="326"/>
                    </a:lnTo>
                    <a:lnTo>
                      <a:pt x="173" y="461"/>
                    </a:lnTo>
                    <a:lnTo>
                      <a:pt x="258" y="597"/>
                    </a:lnTo>
                    <a:lnTo>
                      <a:pt x="345" y="597"/>
                    </a:lnTo>
                    <a:lnTo>
                      <a:pt x="345" y="0"/>
                    </a:lnTo>
                    <a:lnTo>
                      <a:pt x="202" y="0"/>
                    </a:lnTo>
                    <a:lnTo>
                      <a:pt x="58" y="0"/>
                    </a:lnTo>
                    <a:lnTo>
                      <a:pt x="0" y="136"/>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13" name="Freeform 71">
                <a:extLst>
                  <a:ext uri="{FF2B5EF4-FFF2-40B4-BE49-F238E27FC236}">
                    <a16:creationId xmlns:a16="http://schemas.microsoft.com/office/drawing/2014/main" id="{45165A7E-2685-9444-A378-D22CA9B22AC0}"/>
                  </a:ext>
                </a:extLst>
              </p:cNvPr>
              <p:cNvSpPr>
                <a:spLocks/>
              </p:cNvSpPr>
              <p:nvPr/>
            </p:nvSpPr>
            <p:spPr bwMode="auto">
              <a:xfrm>
                <a:off x="1728" y="1335"/>
                <a:ext cx="345" cy="597"/>
              </a:xfrm>
              <a:custGeom>
                <a:avLst/>
                <a:gdLst/>
                <a:ahLst/>
                <a:cxnLst>
                  <a:cxn ang="0">
                    <a:pos x="0" y="136"/>
                  </a:cxn>
                  <a:cxn ang="0">
                    <a:pos x="29" y="163"/>
                  </a:cxn>
                  <a:cxn ang="0">
                    <a:pos x="0" y="326"/>
                  </a:cxn>
                  <a:cxn ang="0">
                    <a:pos x="173" y="461"/>
                  </a:cxn>
                  <a:cxn ang="0">
                    <a:pos x="258" y="597"/>
                  </a:cxn>
                  <a:cxn ang="0">
                    <a:pos x="345" y="597"/>
                  </a:cxn>
                  <a:cxn ang="0">
                    <a:pos x="345" y="0"/>
                  </a:cxn>
                  <a:cxn ang="0">
                    <a:pos x="202" y="0"/>
                  </a:cxn>
                  <a:cxn ang="0">
                    <a:pos x="58" y="0"/>
                  </a:cxn>
                  <a:cxn ang="0">
                    <a:pos x="0" y="136"/>
                  </a:cxn>
                </a:cxnLst>
                <a:rect l="0" t="0" r="r" b="b"/>
                <a:pathLst>
                  <a:path w="345" h="597">
                    <a:moveTo>
                      <a:pt x="0" y="136"/>
                    </a:moveTo>
                    <a:lnTo>
                      <a:pt x="29" y="163"/>
                    </a:lnTo>
                    <a:lnTo>
                      <a:pt x="0" y="326"/>
                    </a:lnTo>
                    <a:lnTo>
                      <a:pt x="173" y="461"/>
                    </a:lnTo>
                    <a:lnTo>
                      <a:pt x="258" y="597"/>
                    </a:lnTo>
                    <a:lnTo>
                      <a:pt x="345" y="597"/>
                    </a:lnTo>
                    <a:lnTo>
                      <a:pt x="345" y="0"/>
                    </a:lnTo>
                    <a:lnTo>
                      <a:pt x="202" y="0"/>
                    </a:lnTo>
                    <a:lnTo>
                      <a:pt x="58" y="0"/>
                    </a:lnTo>
                    <a:lnTo>
                      <a:pt x="0" y="136"/>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8" name="Group 87">
              <a:extLst>
                <a:ext uri="{FF2B5EF4-FFF2-40B4-BE49-F238E27FC236}">
                  <a16:creationId xmlns:a16="http://schemas.microsoft.com/office/drawing/2014/main" id="{82CEB397-3033-E098-BA09-B0C28BF6BD94}"/>
                </a:ext>
              </a:extLst>
            </p:cNvPr>
            <p:cNvGrpSpPr>
              <a:grpSpLocks/>
            </p:cNvGrpSpPr>
            <p:nvPr/>
          </p:nvGrpSpPr>
          <p:grpSpPr bwMode="auto">
            <a:xfrm>
              <a:off x="2586788" y="3688125"/>
              <a:ext cx="659136" cy="562509"/>
              <a:chOff x="1816" y="1932"/>
              <a:chExt cx="573" cy="489"/>
            </a:xfrm>
            <a:solidFill>
              <a:schemeClr val="bg1">
                <a:lumMod val="85000"/>
              </a:schemeClr>
            </a:solidFill>
          </p:grpSpPr>
          <p:sp>
            <p:nvSpPr>
              <p:cNvPr id="710" name="Freeform 88">
                <a:extLst>
                  <a:ext uri="{FF2B5EF4-FFF2-40B4-BE49-F238E27FC236}">
                    <a16:creationId xmlns:a16="http://schemas.microsoft.com/office/drawing/2014/main" id="{8D456359-FA0A-675E-B648-14C0C90D94DE}"/>
                  </a:ext>
                </a:extLst>
              </p:cNvPr>
              <p:cNvSpPr>
                <a:spLocks/>
              </p:cNvSpPr>
              <p:nvPr/>
            </p:nvSpPr>
            <p:spPr bwMode="auto">
              <a:xfrm>
                <a:off x="1816" y="1932"/>
                <a:ext cx="573" cy="489"/>
              </a:xfrm>
              <a:custGeom>
                <a:avLst/>
                <a:gdLst/>
                <a:ahLst/>
                <a:cxnLst>
                  <a:cxn ang="0">
                    <a:pos x="171" y="0"/>
                  </a:cxn>
                  <a:cxn ang="0">
                    <a:pos x="142" y="28"/>
                  </a:cxn>
                  <a:cxn ang="0">
                    <a:pos x="57" y="28"/>
                  </a:cxn>
                  <a:cxn ang="0">
                    <a:pos x="57" y="380"/>
                  </a:cxn>
                  <a:cxn ang="0">
                    <a:pos x="0" y="380"/>
                  </a:cxn>
                  <a:cxn ang="0">
                    <a:pos x="0" y="407"/>
                  </a:cxn>
                  <a:cxn ang="0">
                    <a:pos x="57" y="461"/>
                  </a:cxn>
                  <a:cxn ang="0">
                    <a:pos x="57" y="489"/>
                  </a:cxn>
                  <a:cxn ang="0">
                    <a:pos x="430" y="489"/>
                  </a:cxn>
                  <a:cxn ang="0">
                    <a:pos x="458" y="352"/>
                  </a:cxn>
                  <a:cxn ang="0">
                    <a:pos x="548" y="273"/>
                  </a:cxn>
                  <a:cxn ang="0">
                    <a:pos x="573" y="135"/>
                  </a:cxn>
                  <a:cxn ang="0">
                    <a:pos x="430" y="54"/>
                  </a:cxn>
                  <a:cxn ang="0">
                    <a:pos x="315" y="28"/>
                  </a:cxn>
                  <a:cxn ang="0">
                    <a:pos x="315" y="108"/>
                  </a:cxn>
                  <a:cxn ang="0">
                    <a:pos x="257" y="54"/>
                  </a:cxn>
                  <a:cxn ang="0">
                    <a:pos x="257" y="0"/>
                  </a:cxn>
                  <a:cxn ang="0">
                    <a:pos x="171" y="0"/>
                  </a:cxn>
                </a:cxnLst>
                <a:rect l="0" t="0" r="r" b="b"/>
                <a:pathLst>
                  <a:path w="573" h="489">
                    <a:moveTo>
                      <a:pt x="171" y="0"/>
                    </a:moveTo>
                    <a:lnTo>
                      <a:pt x="142" y="28"/>
                    </a:lnTo>
                    <a:lnTo>
                      <a:pt x="57" y="28"/>
                    </a:lnTo>
                    <a:lnTo>
                      <a:pt x="57" y="380"/>
                    </a:lnTo>
                    <a:lnTo>
                      <a:pt x="0" y="380"/>
                    </a:lnTo>
                    <a:lnTo>
                      <a:pt x="0" y="407"/>
                    </a:lnTo>
                    <a:lnTo>
                      <a:pt x="57" y="461"/>
                    </a:lnTo>
                    <a:lnTo>
                      <a:pt x="57" y="489"/>
                    </a:lnTo>
                    <a:lnTo>
                      <a:pt x="430" y="489"/>
                    </a:lnTo>
                    <a:lnTo>
                      <a:pt x="458" y="352"/>
                    </a:lnTo>
                    <a:lnTo>
                      <a:pt x="548" y="273"/>
                    </a:lnTo>
                    <a:lnTo>
                      <a:pt x="573" y="135"/>
                    </a:lnTo>
                    <a:lnTo>
                      <a:pt x="430" y="54"/>
                    </a:lnTo>
                    <a:lnTo>
                      <a:pt x="315" y="28"/>
                    </a:lnTo>
                    <a:lnTo>
                      <a:pt x="315" y="108"/>
                    </a:lnTo>
                    <a:lnTo>
                      <a:pt x="257" y="54"/>
                    </a:lnTo>
                    <a:lnTo>
                      <a:pt x="257" y="0"/>
                    </a:lnTo>
                    <a:lnTo>
                      <a:pt x="171"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11" name="Freeform 89">
                <a:extLst>
                  <a:ext uri="{FF2B5EF4-FFF2-40B4-BE49-F238E27FC236}">
                    <a16:creationId xmlns:a16="http://schemas.microsoft.com/office/drawing/2014/main" id="{23E204EB-5958-992E-55AA-F61D59735ABE}"/>
                  </a:ext>
                </a:extLst>
              </p:cNvPr>
              <p:cNvSpPr>
                <a:spLocks/>
              </p:cNvSpPr>
              <p:nvPr/>
            </p:nvSpPr>
            <p:spPr bwMode="auto">
              <a:xfrm>
                <a:off x="1816" y="1932"/>
                <a:ext cx="573" cy="489"/>
              </a:xfrm>
              <a:custGeom>
                <a:avLst/>
                <a:gdLst/>
                <a:ahLst/>
                <a:cxnLst>
                  <a:cxn ang="0">
                    <a:pos x="171" y="0"/>
                  </a:cxn>
                  <a:cxn ang="0">
                    <a:pos x="142" y="28"/>
                  </a:cxn>
                  <a:cxn ang="0">
                    <a:pos x="57" y="28"/>
                  </a:cxn>
                  <a:cxn ang="0">
                    <a:pos x="57" y="380"/>
                  </a:cxn>
                  <a:cxn ang="0">
                    <a:pos x="0" y="380"/>
                  </a:cxn>
                  <a:cxn ang="0">
                    <a:pos x="0" y="407"/>
                  </a:cxn>
                  <a:cxn ang="0">
                    <a:pos x="57" y="461"/>
                  </a:cxn>
                  <a:cxn ang="0">
                    <a:pos x="57" y="489"/>
                  </a:cxn>
                  <a:cxn ang="0">
                    <a:pos x="430" y="489"/>
                  </a:cxn>
                  <a:cxn ang="0">
                    <a:pos x="458" y="352"/>
                  </a:cxn>
                  <a:cxn ang="0">
                    <a:pos x="548" y="273"/>
                  </a:cxn>
                  <a:cxn ang="0">
                    <a:pos x="573" y="135"/>
                  </a:cxn>
                  <a:cxn ang="0">
                    <a:pos x="430" y="54"/>
                  </a:cxn>
                  <a:cxn ang="0">
                    <a:pos x="315" y="28"/>
                  </a:cxn>
                  <a:cxn ang="0">
                    <a:pos x="315" y="108"/>
                  </a:cxn>
                  <a:cxn ang="0">
                    <a:pos x="257" y="54"/>
                  </a:cxn>
                  <a:cxn ang="0">
                    <a:pos x="257" y="0"/>
                  </a:cxn>
                  <a:cxn ang="0">
                    <a:pos x="171" y="0"/>
                  </a:cxn>
                </a:cxnLst>
                <a:rect l="0" t="0" r="r" b="b"/>
                <a:pathLst>
                  <a:path w="573" h="489">
                    <a:moveTo>
                      <a:pt x="171" y="0"/>
                    </a:moveTo>
                    <a:lnTo>
                      <a:pt x="142" y="28"/>
                    </a:lnTo>
                    <a:lnTo>
                      <a:pt x="57" y="28"/>
                    </a:lnTo>
                    <a:lnTo>
                      <a:pt x="57" y="380"/>
                    </a:lnTo>
                    <a:lnTo>
                      <a:pt x="0" y="380"/>
                    </a:lnTo>
                    <a:lnTo>
                      <a:pt x="0" y="407"/>
                    </a:lnTo>
                    <a:lnTo>
                      <a:pt x="57" y="461"/>
                    </a:lnTo>
                    <a:lnTo>
                      <a:pt x="57" y="489"/>
                    </a:lnTo>
                    <a:lnTo>
                      <a:pt x="430" y="489"/>
                    </a:lnTo>
                    <a:lnTo>
                      <a:pt x="458" y="352"/>
                    </a:lnTo>
                    <a:lnTo>
                      <a:pt x="548" y="273"/>
                    </a:lnTo>
                    <a:lnTo>
                      <a:pt x="573" y="135"/>
                    </a:lnTo>
                    <a:lnTo>
                      <a:pt x="430" y="54"/>
                    </a:lnTo>
                    <a:lnTo>
                      <a:pt x="315" y="28"/>
                    </a:lnTo>
                    <a:lnTo>
                      <a:pt x="315" y="108"/>
                    </a:lnTo>
                    <a:lnTo>
                      <a:pt x="257" y="54"/>
                    </a:lnTo>
                    <a:lnTo>
                      <a:pt x="257" y="0"/>
                    </a:lnTo>
                    <a:lnTo>
                      <a:pt x="171"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29" name="Group 102">
              <a:extLst>
                <a:ext uri="{FF2B5EF4-FFF2-40B4-BE49-F238E27FC236}">
                  <a16:creationId xmlns:a16="http://schemas.microsoft.com/office/drawing/2014/main" id="{D9E19AA8-50D6-E166-D70A-4D278D0B22CF}"/>
                </a:ext>
              </a:extLst>
            </p:cNvPr>
            <p:cNvGrpSpPr>
              <a:grpSpLocks/>
            </p:cNvGrpSpPr>
            <p:nvPr/>
          </p:nvGrpSpPr>
          <p:grpSpPr bwMode="auto">
            <a:xfrm>
              <a:off x="3081427" y="4030922"/>
              <a:ext cx="601620" cy="624627"/>
              <a:chOff x="2246" y="2230"/>
              <a:chExt cx="523" cy="543"/>
            </a:xfrm>
            <a:solidFill>
              <a:schemeClr val="bg1">
                <a:lumMod val="85000"/>
              </a:schemeClr>
            </a:solidFill>
          </p:grpSpPr>
          <p:sp>
            <p:nvSpPr>
              <p:cNvPr id="708" name="Freeform 103">
                <a:extLst>
                  <a:ext uri="{FF2B5EF4-FFF2-40B4-BE49-F238E27FC236}">
                    <a16:creationId xmlns:a16="http://schemas.microsoft.com/office/drawing/2014/main" id="{C5739A5D-B161-AD32-4CFE-E8C94CF0DE22}"/>
                  </a:ext>
                </a:extLst>
              </p:cNvPr>
              <p:cNvSpPr>
                <a:spLocks/>
              </p:cNvSpPr>
              <p:nvPr/>
            </p:nvSpPr>
            <p:spPr bwMode="auto">
              <a:xfrm>
                <a:off x="2246" y="2230"/>
                <a:ext cx="523" cy="543"/>
              </a:xfrm>
              <a:custGeom>
                <a:avLst/>
                <a:gdLst/>
                <a:ahLst/>
                <a:cxnLst>
                  <a:cxn ang="0">
                    <a:pos x="88" y="2"/>
                  </a:cxn>
                  <a:cxn ang="0">
                    <a:pos x="29" y="53"/>
                  </a:cxn>
                  <a:cxn ang="0">
                    <a:pos x="0" y="188"/>
                  </a:cxn>
                  <a:cxn ang="0">
                    <a:pos x="86" y="248"/>
                  </a:cxn>
                  <a:cxn ang="0">
                    <a:pos x="112" y="360"/>
                  </a:cxn>
                  <a:cxn ang="0">
                    <a:pos x="114" y="542"/>
                  </a:cxn>
                  <a:cxn ang="0">
                    <a:pos x="379" y="543"/>
                  </a:cxn>
                  <a:cxn ang="0">
                    <a:pos x="437" y="515"/>
                  </a:cxn>
                  <a:cxn ang="0">
                    <a:pos x="523" y="381"/>
                  </a:cxn>
                  <a:cxn ang="0">
                    <a:pos x="466" y="272"/>
                  </a:cxn>
                  <a:cxn ang="0">
                    <a:pos x="264" y="272"/>
                  </a:cxn>
                  <a:cxn ang="0">
                    <a:pos x="322" y="190"/>
                  </a:cxn>
                  <a:cxn ang="0">
                    <a:pos x="322" y="109"/>
                  </a:cxn>
                  <a:cxn ang="0">
                    <a:pos x="236" y="109"/>
                  </a:cxn>
                  <a:cxn ang="0">
                    <a:pos x="293" y="136"/>
                  </a:cxn>
                  <a:cxn ang="0">
                    <a:pos x="293" y="190"/>
                  </a:cxn>
                  <a:cxn ang="0">
                    <a:pos x="207" y="163"/>
                  </a:cxn>
                  <a:cxn ang="0">
                    <a:pos x="149" y="27"/>
                  </a:cxn>
                  <a:cxn ang="0">
                    <a:pos x="92" y="0"/>
                  </a:cxn>
                  <a:cxn ang="0">
                    <a:pos x="88" y="2"/>
                  </a:cxn>
                </a:cxnLst>
                <a:rect l="0" t="0" r="r" b="b"/>
                <a:pathLst>
                  <a:path w="523" h="543">
                    <a:moveTo>
                      <a:pt x="88" y="2"/>
                    </a:moveTo>
                    <a:lnTo>
                      <a:pt x="29" y="53"/>
                    </a:lnTo>
                    <a:lnTo>
                      <a:pt x="0" y="188"/>
                    </a:lnTo>
                    <a:lnTo>
                      <a:pt x="86" y="248"/>
                    </a:lnTo>
                    <a:lnTo>
                      <a:pt x="112" y="360"/>
                    </a:lnTo>
                    <a:lnTo>
                      <a:pt x="114" y="542"/>
                    </a:lnTo>
                    <a:lnTo>
                      <a:pt x="379" y="543"/>
                    </a:lnTo>
                    <a:lnTo>
                      <a:pt x="437" y="515"/>
                    </a:lnTo>
                    <a:lnTo>
                      <a:pt x="523" y="381"/>
                    </a:lnTo>
                    <a:lnTo>
                      <a:pt x="466" y="272"/>
                    </a:lnTo>
                    <a:lnTo>
                      <a:pt x="264" y="272"/>
                    </a:lnTo>
                    <a:lnTo>
                      <a:pt x="322" y="190"/>
                    </a:lnTo>
                    <a:lnTo>
                      <a:pt x="322" y="109"/>
                    </a:lnTo>
                    <a:lnTo>
                      <a:pt x="236" y="109"/>
                    </a:lnTo>
                    <a:lnTo>
                      <a:pt x="293" y="136"/>
                    </a:lnTo>
                    <a:lnTo>
                      <a:pt x="293" y="190"/>
                    </a:lnTo>
                    <a:lnTo>
                      <a:pt x="207" y="163"/>
                    </a:lnTo>
                    <a:lnTo>
                      <a:pt x="149" y="27"/>
                    </a:lnTo>
                    <a:lnTo>
                      <a:pt x="92" y="0"/>
                    </a:lnTo>
                    <a:lnTo>
                      <a:pt x="88" y="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09" name="Freeform 104">
                <a:extLst>
                  <a:ext uri="{FF2B5EF4-FFF2-40B4-BE49-F238E27FC236}">
                    <a16:creationId xmlns:a16="http://schemas.microsoft.com/office/drawing/2014/main" id="{D6978F63-4FE2-3436-1837-60C34E261A98}"/>
                  </a:ext>
                </a:extLst>
              </p:cNvPr>
              <p:cNvSpPr>
                <a:spLocks/>
              </p:cNvSpPr>
              <p:nvPr/>
            </p:nvSpPr>
            <p:spPr bwMode="auto">
              <a:xfrm>
                <a:off x="2246" y="2230"/>
                <a:ext cx="523" cy="543"/>
              </a:xfrm>
              <a:custGeom>
                <a:avLst/>
                <a:gdLst/>
                <a:ahLst/>
                <a:cxnLst>
                  <a:cxn ang="0">
                    <a:pos x="88" y="2"/>
                  </a:cxn>
                  <a:cxn ang="0">
                    <a:pos x="29" y="53"/>
                  </a:cxn>
                  <a:cxn ang="0">
                    <a:pos x="0" y="188"/>
                  </a:cxn>
                  <a:cxn ang="0">
                    <a:pos x="86" y="248"/>
                  </a:cxn>
                  <a:cxn ang="0">
                    <a:pos x="112" y="360"/>
                  </a:cxn>
                  <a:cxn ang="0">
                    <a:pos x="114" y="542"/>
                  </a:cxn>
                  <a:cxn ang="0">
                    <a:pos x="379" y="543"/>
                  </a:cxn>
                  <a:cxn ang="0">
                    <a:pos x="437" y="515"/>
                  </a:cxn>
                  <a:cxn ang="0">
                    <a:pos x="523" y="381"/>
                  </a:cxn>
                  <a:cxn ang="0">
                    <a:pos x="466" y="272"/>
                  </a:cxn>
                  <a:cxn ang="0">
                    <a:pos x="264" y="272"/>
                  </a:cxn>
                  <a:cxn ang="0">
                    <a:pos x="322" y="190"/>
                  </a:cxn>
                  <a:cxn ang="0">
                    <a:pos x="322" y="109"/>
                  </a:cxn>
                  <a:cxn ang="0">
                    <a:pos x="236" y="109"/>
                  </a:cxn>
                  <a:cxn ang="0">
                    <a:pos x="293" y="136"/>
                  </a:cxn>
                  <a:cxn ang="0">
                    <a:pos x="293" y="190"/>
                  </a:cxn>
                  <a:cxn ang="0">
                    <a:pos x="207" y="163"/>
                  </a:cxn>
                  <a:cxn ang="0">
                    <a:pos x="149" y="27"/>
                  </a:cxn>
                  <a:cxn ang="0">
                    <a:pos x="92" y="0"/>
                  </a:cxn>
                </a:cxnLst>
                <a:rect l="0" t="0" r="r" b="b"/>
                <a:pathLst>
                  <a:path w="523" h="543">
                    <a:moveTo>
                      <a:pt x="88" y="2"/>
                    </a:moveTo>
                    <a:lnTo>
                      <a:pt x="29" y="53"/>
                    </a:lnTo>
                    <a:lnTo>
                      <a:pt x="0" y="188"/>
                    </a:lnTo>
                    <a:lnTo>
                      <a:pt x="86" y="248"/>
                    </a:lnTo>
                    <a:lnTo>
                      <a:pt x="112" y="360"/>
                    </a:lnTo>
                    <a:lnTo>
                      <a:pt x="114" y="542"/>
                    </a:lnTo>
                    <a:lnTo>
                      <a:pt x="379" y="543"/>
                    </a:lnTo>
                    <a:lnTo>
                      <a:pt x="437" y="515"/>
                    </a:lnTo>
                    <a:lnTo>
                      <a:pt x="523" y="381"/>
                    </a:lnTo>
                    <a:lnTo>
                      <a:pt x="466" y="272"/>
                    </a:lnTo>
                    <a:lnTo>
                      <a:pt x="264" y="272"/>
                    </a:lnTo>
                    <a:lnTo>
                      <a:pt x="322" y="190"/>
                    </a:lnTo>
                    <a:lnTo>
                      <a:pt x="322" y="109"/>
                    </a:lnTo>
                    <a:lnTo>
                      <a:pt x="236" y="109"/>
                    </a:lnTo>
                    <a:lnTo>
                      <a:pt x="293" y="136"/>
                    </a:lnTo>
                    <a:lnTo>
                      <a:pt x="293" y="190"/>
                    </a:lnTo>
                    <a:lnTo>
                      <a:pt x="207" y="163"/>
                    </a:lnTo>
                    <a:lnTo>
                      <a:pt x="149" y="27"/>
                    </a:lnTo>
                    <a:lnTo>
                      <a:pt x="92"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0" name="Group 105">
              <a:extLst>
                <a:ext uri="{FF2B5EF4-FFF2-40B4-BE49-F238E27FC236}">
                  <a16:creationId xmlns:a16="http://schemas.microsoft.com/office/drawing/2014/main" id="{E8618FC6-C4D8-C3C2-4A41-A3E588C9707F}"/>
                </a:ext>
              </a:extLst>
            </p:cNvPr>
            <p:cNvGrpSpPr>
              <a:grpSpLocks/>
            </p:cNvGrpSpPr>
            <p:nvPr/>
          </p:nvGrpSpPr>
          <p:grpSpPr bwMode="auto">
            <a:xfrm>
              <a:off x="3674993" y="4032072"/>
              <a:ext cx="526849" cy="438274"/>
              <a:chOff x="2762" y="2231"/>
              <a:chExt cx="458" cy="381"/>
            </a:xfrm>
            <a:solidFill>
              <a:schemeClr val="bg1">
                <a:lumMod val="85000"/>
              </a:schemeClr>
            </a:solidFill>
          </p:grpSpPr>
          <p:sp>
            <p:nvSpPr>
              <p:cNvPr id="706" name="Freeform 106">
                <a:extLst>
                  <a:ext uri="{FF2B5EF4-FFF2-40B4-BE49-F238E27FC236}">
                    <a16:creationId xmlns:a16="http://schemas.microsoft.com/office/drawing/2014/main" id="{D7E19AAF-BA40-EBD1-D8CB-D182CFD52A90}"/>
                  </a:ext>
                </a:extLst>
              </p:cNvPr>
              <p:cNvSpPr>
                <a:spLocks/>
              </p:cNvSpPr>
              <p:nvPr/>
            </p:nvSpPr>
            <p:spPr bwMode="auto">
              <a:xfrm>
                <a:off x="2762" y="2231"/>
                <a:ext cx="458" cy="381"/>
              </a:xfrm>
              <a:custGeom>
                <a:avLst/>
                <a:gdLst/>
                <a:ahLst/>
                <a:cxnLst>
                  <a:cxn ang="0">
                    <a:pos x="114" y="0"/>
                  </a:cxn>
                  <a:cxn ang="0">
                    <a:pos x="56" y="218"/>
                  </a:cxn>
                  <a:cxn ang="0">
                    <a:pos x="0" y="327"/>
                  </a:cxn>
                  <a:cxn ang="0">
                    <a:pos x="0" y="381"/>
                  </a:cxn>
                  <a:cxn ang="0">
                    <a:pos x="56" y="327"/>
                  </a:cxn>
                  <a:cxn ang="0">
                    <a:pos x="458" y="327"/>
                  </a:cxn>
                  <a:cxn ang="0">
                    <a:pos x="430" y="136"/>
                  </a:cxn>
                  <a:cxn ang="0">
                    <a:pos x="458" y="0"/>
                  </a:cxn>
                  <a:cxn ang="0">
                    <a:pos x="114" y="0"/>
                  </a:cxn>
                </a:cxnLst>
                <a:rect l="0" t="0" r="r" b="b"/>
                <a:pathLst>
                  <a:path w="458" h="381">
                    <a:moveTo>
                      <a:pt x="114" y="0"/>
                    </a:moveTo>
                    <a:lnTo>
                      <a:pt x="56" y="218"/>
                    </a:lnTo>
                    <a:lnTo>
                      <a:pt x="0" y="327"/>
                    </a:lnTo>
                    <a:lnTo>
                      <a:pt x="0" y="381"/>
                    </a:lnTo>
                    <a:lnTo>
                      <a:pt x="56" y="327"/>
                    </a:lnTo>
                    <a:lnTo>
                      <a:pt x="458" y="327"/>
                    </a:lnTo>
                    <a:lnTo>
                      <a:pt x="430" y="136"/>
                    </a:lnTo>
                    <a:lnTo>
                      <a:pt x="458" y="0"/>
                    </a:lnTo>
                    <a:lnTo>
                      <a:pt x="114"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07" name="Freeform 107">
                <a:extLst>
                  <a:ext uri="{FF2B5EF4-FFF2-40B4-BE49-F238E27FC236}">
                    <a16:creationId xmlns:a16="http://schemas.microsoft.com/office/drawing/2014/main" id="{48C0D6A5-44AB-DF05-91DD-413C9604FCF6}"/>
                  </a:ext>
                </a:extLst>
              </p:cNvPr>
              <p:cNvSpPr>
                <a:spLocks/>
              </p:cNvSpPr>
              <p:nvPr/>
            </p:nvSpPr>
            <p:spPr bwMode="auto">
              <a:xfrm>
                <a:off x="2762" y="2231"/>
                <a:ext cx="458" cy="381"/>
              </a:xfrm>
              <a:custGeom>
                <a:avLst/>
                <a:gdLst/>
                <a:ahLst/>
                <a:cxnLst>
                  <a:cxn ang="0">
                    <a:pos x="114" y="0"/>
                  </a:cxn>
                  <a:cxn ang="0">
                    <a:pos x="56" y="218"/>
                  </a:cxn>
                  <a:cxn ang="0">
                    <a:pos x="0" y="327"/>
                  </a:cxn>
                  <a:cxn ang="0">
                    <a:pos x="0" y="381"/>
                  </a:cxn>
                  <a:cxn ang="0">
                    <a:pos x="56" y="327"/>
                  </a:cxn>
                  <a:cxn ang="0">
                    <a:pos x="458" y="327"/>
                  </a:cxn>
                  <a:cxn ang="0">
                    <a:pos x="430" y="136"/>
                  </a:cxn>
                  <a:cxn ang="0">
                    <a:pos x="458" y="0"/>
                  </a:cxn>
                  <a:cxn ang="0">
                    <a:pos x="114" y="0"/>
                  </a:cxn>
                </a:cxnLst>
                <a:rect l="0" t="0" r="r" b="b"/>
                <a:pathLst>
                  <a:path w="458" h="381">
                    <a:moveTo>
                      <a:pt x="114" y="0"/>
                    </a:moveTo>
                    <a:lnTo>
                      <a:pt x="56" y="218"/>
                    </a:lnTo>
                    <a:lnTo>
                      <a:pt x="0" y="327"/>
                    </a:lnTo>
                    <a:lnTo>
                      <a:pt x="0" y="381"/>
                    </a:lnTo>
                    <a:lnTo>
                      <a:pt x="56" y="327"/>
                    </a:lnTo>
                    <a:lnTo>
                      <a:pt x="458" y="327"/>
                    </a:lnTo>
                    <a:lnTo>
                      <a:pt x="430" y="136"/>
                    </a:lnTo>
                    <a:lnTo>
                      <a:pt x="458" y="0"/>
                    </a:lnTo>
                    <a:lnTo>
                      <a:pt x="114"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1" name="Group 108">
              <a:extLst>
                <a:ext uri="{FF2B5EF4-FFF2-40B4-BE49-F238E27FC236}">
                  <a16:creationId xmlns:a16="http://schemas.microsoft.com/office/drawing/2014/main" id="{3C1206B6-1227-FC25-F6B0-4AE956E196A1}"/>
                </a:ext>
              </a:extLst>
            </p:cNvPr>
            <p:cNvGrpSpPr>
              <a:grpSpLocks/>
            </p:cNvGrpSpPr>
            <p:nvPr/>
          </p:nvGrpSpPr>
          <p:grpSpPr bwMode="auto">
            <a:xfrm>
              <a:off x="4136276" y="4032072"/>
              <a:ext cx="362352" cy="438274"/>
              <a:chOff x="3163" y="2231"/>
              <a:chExt cx="315" cy="381"/>
            </a:xfrm>
            <a:solidFill>
              <a:schemeClr val="bg1">
                <a:lumMod val="85000"/>
              </a:schemeClr>
            </a:solidFill>
          </p:grpSpPr>
          <p:sp>
            <p:nvSpPr>
              <p:cNvPr id="704" name="Freeform 109">
                <a:extLst>
                  <a:ext uri="{FF2B5EF4-FFF2-40B4-BE49-F238E27FC236}">
                    <a16:creationId xmlns:a16="http://schemas.microsoft.com/office/drawing/2014/main" id="{B536A270-9C07-B24D-A03B-A2633E8AB396}"/>
                  </a:ext>
                </a:extLst>
              </p:cNvPr>
              <p:cNvSpPr>
                <a:spLocks/>
              </p:cNvSpPr>
              <p:nvPr/>
            </p:nvSpPr>
            <p:spPr bwMode="auto">
              <a:xfrm>
                <a:off x="3163" y="2231"/>
                <a:ext cx="315" cy="381"/>
              </a:xfrm>
              <a:custGeom>
                <a:avLst/>
                <a:gdLst/>
                <a:ahLst/>
                <a:cxnLst>
                  <a:cxn ang="0">
                    <a:pos x="57" y="0"/>
                  </a:cxn>
                  <a:cxn ang="0">
                    <a:pos x="29" y="136"/>
                  </a:cxn>
                  <a:cxn ang="0">
                    <a:pos x="57" y="327"/>
                  </a:cxn>
                  <a:cxn ang="0">
                    <a:pos x="0" y="381"/>
                  </a:cxn>
                  <a:cxn ang="0">
                    <a:pos x="315" y="381"/>
                  </a:cxn>
                  <a:cxn ang="0">
                    <a:pos x="315" y="0"/>
                  </a:cxn>
                  <a:cxn ang="0">
                    <a:pos x="57" y="0"/>
                  </a:cxn>
                </a:cxnLst>
                <a:rect l="0" t="0" r="r" b="b"/>
                <a:pathLst>
                  <a:path w="315" h="381">
                    <a:moveTo>
                      <a:pt x="57" y="0"/>
                    </a:moveTo>
                    <a:lnTo>
                      <a:pt x="29" y="136"/>
                    </a:lnTo>
                    <a:lnTo>
                      <a:pt x="57" y="327"/>
                    </a:lnTo>
                    <a:lnTo>
                      <a:pt x="0" y="381"/>
                    </a:lnTo>
                    <a:lnTo>
                      <a:pt x="315" y="381"/>
                    </a:lnTo>
                    <a:lnTo>
                      <a:pt x="315" y="0"/>
                    </a:lnTo>
                    <a:lnTo>
                      <a:pt x="57"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05" name="Freeform 110">
                <a:extLst>
                  <a:ext uri="{FF2B5EF4-FFF2-40B4-BE49-F238E27FC236}">
                    <a16:creationId xmlns:a16="http://schemas.microsoft.com/office/drawing/2014/main" id="{8A972EF3-3963-3DBA-3080-E6C1D6B6278A}"/>
                  </a:ext>
                </a:extLst>
              </p:cNvPr>
              <p:cNvSpPr>
                <a:spLocks/>
              </p:cNvSpPr>
              <p:nvPr/>
            </p:nvSpPr>
            <p:spPr bwMode="auto">
              <a:xfrm>
                <a:off x="3163" y="2231"/>
                <a:ext cx="315" cy="381"/>
              </a:xfrm>
              <a:custGeom>
                <a:avLst/>
                <a:gdLst/>
                <a:ahLst/>
                <a:cxnLst>
                  <a:cxn ang="0">
                    <a:pos x="57" y="0"/>
                  </a:cxn>
                  <a:cxn ang="0">
                    <a:pos x="29" y="136"/>
                  </a:cxn>
                  <a:cxn ang="0">
                    <a:pos x="57" y="327"/>
                  </a:cxn>
                  <a:cxn ang="0">
                    <a:pos x="0" y="381"/>
                  </a:cxn>
                  <a:cxn ang="0">
                    <a:pos x="315" y="381"/>
                  </a:cxn>
                  <a:cxn ang="0">
                    <a:pos x="315" y="0"/>
                  </a:cxn>
                  <a:cxn ang="0">
                    <a:pos x="57" y="0"/>
                  </a:cxn>
                </a:cxnLst>
                <a:rect l="0" t="0" r="r" b="b"/>
                <a:pathLst>
                  <a:path w="315" h="381">
                    <a:moveTo>
                      <a:pt x="57" y="0"/>
                    </a:moveTo>
                    <a:lnTo>
                      <a:pt x="29" y="136"/>
                    </a:lnTo>
                    <a:lnTo>
                      <a:pt x="57" y="327"/>
                    </a:lnTo>
                    <a:lnTo>
                      <a:pt x="0" y="381"/>
                    </a:lnTo>
                    <a:lnTo>
                      <a:pt x="315" y="381"/>
                    </a:lnTo>
                    <a:lnTo>
                      <a:pt x="315" y="0"/>
                    </a:lnTo>
                    <a:lnTo>
                      <a:pt x="57"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2" name="Group 132">
              <a:extLst>
                <a:ext uri="{FF2B5EF4-FFF2-40B4-BE49-F238E27FC236}">
                  <a16:creationId xmlns:a16="http://schemas.microsoft.com/office/drawing/2014/main" id="{A7D26E58-482B-E994-3B98-39DE7B316F35}"/>
                </a:ext>
              </a:extLst>
            </p:cNvPr>
            <p:cNvGrpSpPr>
              <a:grpSpLocks/>
            </p:cNvGrpSpPr>
            <p:nvPr/>
          </p:nvGrpSpPr>
          <p:grpSpPr bwMode="auto">
            <a:xfrm>
              <a:off x="3279281" y="4655547"/>
              <a:ext cx="727005" cy="531451"/>
              <a:chOff x="2418" y="2773"/>
              <a:chExt cx="632" cy="462"/>
            </a:xfrm>
            <a:solidFill>
              <a:schemeClr val="bg1">
                <a:lumMod val="85000"/>
              </a:schemeClr>
            </a:solidFill>
          </p:grpSpPr>
          <p:sp>
            <p:nvSpPr>
              <p:cNvPr id="702" name="Freeform 133">
                <a:extLst>
                  <a:ext uri="{FF2B5EF4-FFF2-40B4-BE49-F238E27FC236}">
                    <a16:creationId xmlns:a16="http://schemas.microsoft.com/office/drawing/2014/main" id="{58835036-95D1-350A-2DD0-32F1D03CC931}"/>
                  </a:ext>
                </a:extLst>
              </p:cNvPr>
              <p:cNvSpPr>
                <a:spLocks/>
              </p:cNvSpPr>
              <p:nvPr/>
            </p:nvSpPr>
            <p:spPr bwMode="auto">
              <a:xfrm>
                <a:off x="2418" y="2773"/>
                <a:ext cx="632" cy="462"/>
              </a:xfrm>
              <a:custGeom>
                <a:avLst/>
                <a:gdLst/>
                <a:ahLst/>
                <a:cxnLst>
                  <a:cxn ang="0">
                    <a:pos x="0" y="0"/>
                  </a:cxn>
                  <a:cxn ang="0">
                    <a:pos x="58" y="54"/>
                  </a:cxn>
                  <a:cxn ang="0">
                    <a:pos x="115" y="271"/>
                  </a:cxn>
                  <a:cxn ang="0">
                    <a:pos x="202" y="271"/>
                  </a:cxn>
                  <a:cxn ang="0">
                    <a:pos x="230" y="407"/>
                  </a:cxn>
                  <a:cxn ang="0">
                    <a:pos x="317" y="407"/>
                  </a:cxn>
                  <a:cxn ang="0">
                    <a:pos x="317" y="434"/>
                  </a:cxn>
                  <a:cxn ang="0">
                    <a:pos x="402" y="434"/>
                  </a:cxn>
                  <a:cxn ang="0">
                    <a:pos x="459" y="462"/>
                  </a:cxn>
                  <a:cxn ang="0">
                    <a:pos x="546" y="434"/>
                  </a:cxn>
                  <a:cxn ang="0">
                    <a:pos x="632" y="190"/>
                  </a:cxn>
                  <a:cxn ang="0">
                    <a:pos x="345" y="190"/>
                  </a:cxn>
                  <a:cxn ang="0">
                    <a:pos x="202" y="0"/>
                  </a:cxn>
                  <a:cxn ang="0">
                    <a:pos x="0" y="0"/>
                  </a:cxn>
                </a:cxnLst>
                <a:rect l="0" t="0" r="r" b="b"/>
                <a:pathLst>
                  <a:path w="632" h="462">
                    <a:moveTo>
                      <a:pt x="0" y="0"/>
                    </a:moveTo>
                    <a:lnTo>
                      <a:pt x="58" y="54"/>
                    </a:lnTo>
                    <a:lnTo>
                      <a:pt x="115" y="271"/>
                    </a:lnTo>
                    <a:lnTo>
                      <a:pt x="202" y="271"/>
                    </a:lnTo>
                    <a:lnTo>
                      <a:pt x="230" y="407"/>
                    </a:lnTo>
                    <a:lnTo>
                      <a:pt x="317" y="407"/>
                    </a:lnTo>
                    <a:lnTo>
                      <a:pt x="317" y="434"/>
                    </a:lnTo>
                    <a:lnTo>
                      <a:pt x="402" y="434"/>
                    </a:lnTo>
                    <a:lnTo>
                      <a:pt x="459" y="462"/>
                    </a:lnTo>
                    <a:lnTo>
                      <a:pt x="546" y="434"/>
                    </a:lnTo>
                    <a:lnTo>
                      <a:pt x="632" y="190"/>
                    </a:lnTo>
                    <a:lnTo>
                      <a:pt x="345" y="190"/>
                    </a:lnTo>
                    <a:lnTo>
                      <a:pt x="202"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03" name="Freeform 134">
                <a:extLst>
                  <a:ext uri="{FF2B5EF4-FFF2-40B4-BE49-F238E27FC236}">
                    <a16:creationId xmlns:a16="http://schemas.microsoft.com/office/drawing/2014/main" id="{E735B286-3884-28F5-1232-643BCB7B56C1}"/>
                  </a:ext>
                </a:extLst>
              </p:cNvPr>
              <p:cNvSpPr>
                <a:spLocks/>
              </p:cNvSpPr>
              <p:nvPr/>
            </p:nvSpPr>
            <p:spPr bwMode="auto">
              <a:xfrm>
                <a:off x="2418" y="2773"/>
                <a:ext cx="632" cy="462"/>
              </a:xfrm>
              <a:custGeom>
                <a:avLst/>
                <a:gdLst/>
                <a:ahLst/>
                <a:cxnLst>
                  <a:cxn ang="0">
                    <a:pos x="0" y="0"/>
                  </a:cxn>
                  <a:cxn ang="0">
                    <a:pos x="58" y="54"/>
                  </a:cxn>
                  <a:cxn ang="0">
                    <a:pos x="115" y="271"/>
                  </a:cxn>
                  <a:cxn ang="0">
                    <a:pos x="202" y="271"/>
                  </a:cxn>
                  <a:cxn ang="0">
                    <a:pos x="230" y="407"/>
                  </a:cxn>
                  <a:cxn ang="0">
                    <a:pos x="317" y="407"/>
                  </a:cxn>
                  <a:cxn ang="0">
                    <a:pos x="317" y="434"/>
                  </a:cxn>
                  <a:cxn ang="0">
                    <a:pos x="402" y="434"/>
                  </a:cxn>
                  <a:cxn ang="0">
                    <a:pos x="459" y="462"/>
                  </a:cxn>
                  <a:cxn ang="0">
                    <a:pos x="546" y="434"/>
                  </a:cxn>
                  <a:cxn ang="0">
                    <a:pos x="632" y="190"/>
                  </a:cxn>
                  <a:cxn ang="0">
                    <a:pos x="345" y="190"/>
                  </a:cxn>
                  <a:cxn ang="0">
                    <a:pos x="202" y="0"/>
                  </a:cxn>
                  <a:cxn ang="0">
                    <a:pos x="0" y="0"/>
                  </a:cxn>
                </a:cxnLst>
                <a:rect l="0" t="0" r="r" b="b"/>
                <a:pathLst>
                  <a:path w="632" h="462">
                    <a:moveTo>
                      <a:pt x="0" y="0"/>
                    </a:moveTo>
                    <a:lnTo>
                      <a:pt x="58" y="54"/>
                    </a:lnTo>
                    <a:lnTo>
                      <a:pt x="115" y="271"/>
                    </a:lnTo>
                    <a:lnTo>
                      <a:pt x="202" y="271"/>
                    </a:lnTo>
                    <a:lnTo>
                      <a:pt x="230" y="407"/>
                    </a:lnTo>
                    <a:lnTo>
                      <a:pt x="317" y="407"/>
                    </a:lnTo>
                    <a:lnTo>
                      <a:pt x="317" y="434"/>
                    </a:lnTo>
                    <a:lnTo>
                      <a:pt x="402" y="434"/>
                    </a:lnTo>
                    <a:lnTo>
                      <a:pt x="459" y="462"/>
                    </a:lnTo>
                    <a:lnTo>
                      <a:pt x="546" y="434"/>
                    </a:lnTo>
                    <a:lnTo>
                      <a:pt x="632" y="190"/>
                    </a:lnTo>
                    <a:lnTo>
                      <a:pt x="345" y="190"/>
                    </a:lnTo>
                    <a:lnTo>
                      <a:pt x="202"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3" name="Group 135">
              <a:extLst>
                <a:ext uri="{FF2B5EF4-FFF2-40B4-BE49-F238E27FC236}">
                  <a16:creationId xmlns:a16="http://schemas.microsoft.com/office/drawing/2014/main" id="{5A50EA5F-48FF-EED4-07A3-3C08D7D594BF}"/>
                </a:ext>
              </a:extLst>
            </p:cNvPr>
            <p:cNvGrpSpPr>
              <a:grpSpLocks/>
            </p:cNvGrpSpPr>
            <p:nvPr/>
          </p:nvGrpSpPr>
          <p:grpSpPr bwMode="auto">
            <a:xfrm>
              <a:off x="3509345" y="4469195"/>
              <a:ext cx="362353" cy="404915"/>
              <a:chOff x="2618" y="2611"/>
              <a:chExt cx="315" cy="352"/>
            </a:xfrm>
            <a:solidFill>
              <a:schemeClr val="bg1">
                <a:lumMod val="85000"/>
              </a:schemeClr>
            </a:solidFill>
          </p:grpSpPr>
          <p:sp>
            <p:nvSpPr>
              <p:cNvPr id="700" name="Freeform 136">
                <a:extLst>
                  <a:ext uri="{FF2B5EF4-FFF2-40B4-BE49-F238E27FC236}">
                    <a16:creationId xmlns:a16="http://schemas.microsoft.com/office/drawing/2014/main" id="{1F5196A7-4F5F-434D-91F0-05FDD0ED4B8D}"/>
                  </a:ext>
                </a:extLst>
              </p:cNvPr>
              <p:cNvSpPr>
                <a:spLocks/>
              </p:cNvSpPr>
              <p:nvPr/>
            </p:nvSpPr>
            <p:spPr bwMode="auto">
              <a:xfrm>
                <a:off x="2618" y="2611"/>
                <a:ext cx="315" cy="352"/>
              </a:xfrm>
              <a:custGeom>
                <a:avLst/>
                <a:gdLst/>
                <a:ahLst/>
                <a:cxnLst>
                  <a:cxn ang="0">
                    <a:pos x="0" y="162"/>
                  </a:cxn>
                  <a:cxn ang="0">
                    <a:pos x="144" y="352"/>
                  </a:cxn>
                  <a:cxn ang="0">
                    <a:pos x="315" y="352"/>
                  </a:cxn>
                  <a:cxn ang="0">
                    <a:pos x="315" y="325"/>
                  </a:cxn>
                  <a:cxn ang="0">
                    <a:pos x="229" y="325"/>
                  </a:cxn>
                  <a:cxn ang="0">
                    <a:pos x="258" y="216"/>
                  </a:cxn>
                  <a:cxn ang="0">
                    <a:pos x="258" y="135"/>
                  </a:cxn>
                  <a:cxn ang="0">
                    <a:pos x="200" y="81"/>
                  </a:cxn>
                  <a:cxn ang="0">
                    <a:pos x="144" y="81"/>
                  </a:cxn>
                  <a:cxn ang="0">
                    <a:pos x="144" y="0"/>
                  </a:cxn>
                  <a:cxn ang="0">
                    <a:pos x="57" y="135"/>
                  </a:cxn>
                  <a:cxn ang="0">
                    <a:pos x="0" y="162"/>
                  </a:cxn>
                </a:cxnLst>
                <a:rect l="0" t="0" r="r" b="b"/>
                <a:pathLst>
                  <a:path w="315" h="352">
                    <a:moveTo>
                      <a:pt x="0" y="162"/>
                    </a:moveTo>
                    <a:lnTo>
                      <a:pt x="144" y="352"/>
                    </a:lnTo>
                    <a:lnTo>
                      <a:pt x="315" y="352"/>
                    </a:lnTo>
                    <a:lnTo>
                      <a:pt x="315" y="325"/>
                    </a:lnTo>
                    <a:lnTo>
                      <a:pt x="229" y="325"/>
                    </a:lnTo>
                    <a:lnTo>
                      <a:pt x="258" y="216"/>
                    </a:lnTo>
                    <a:lnTo>
                      <a:pt x="258" y="135"/>
                    </a:lnTo>
                    <a:lnTo>
                      <a:pt x="200" y="81"/>
                    </a:lnTo>
                    <a:lnTo>
                      <a:pt x="144" y="81"/>
                    </a:lnTo>
                    <a:lnTo>
                      <a:pt x="144" y="0"/>
                    </a:lnTo>
                    <a:lnTo>
                      <a:pt x="57" y="135"/>
                    </a:lnTo>
                    <a:lnTo>
                      <a:pt x="0" y="16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01" name="Freeform 137">
                <a:extLst>
                  <a:ext uri="{FF2B5EF4-FFF2-40B4-BE49-F238E27FC236}">
                    <a16:creationId xmlns:a16="http://schemas.microsoft.com/office/drawing/2014/main" id="{C1DB66FD-4AEF-B377-4340-43EBF437984B}"/>
                  </a:ext>
                </a:extLst>
              </p:cNvPr>
              <p:cNvSpPr>
                <a:spLocks/>
              </p:cNvSpPr>
              <p:nvPr/>
            </p:nvSpPr>
            <p:spPr bwMode="auto">
              <a:xfrm>
                <a:off x="2618" y="2611"/>
                <a:ext cx="315" cy="352"/>
              </a:xfrm>
              <a:custGeom>
                <a:avLst/>
                <a:gdLst/>
                <a:ahLst/>
                <a:cxnLst>
                  <a:cxn ang="0">
                    <a:pos x="0" y="162"/>
                  </a:cxn>
                  <a:cxn ang="0">
                    <a:pos x="144" y="352"/>
                  </a:cxn>
                  <a:cxn ang="0">
                    <a:pos x="315" y="352"/>
                  </a:cxn>
                  <a:cxn ang="0">
                    <a:pos x="315" y="325"/>
                  </a:cxn>
                  <a:cxn ang="0">
                    <a:pos x="229" y="325"/>
                  </a:cxn>
                  <a:cxn ang="0">
                    <a:pos x="258" y="216"/>
                  </a:cxn>
                  <a:cxn ang="0">
                    <a:pos x="258" y="135"/>
                  </a:cxn>
                  <a:cxn ang="0">
                    <a:pos x="200" y="81"/>
                  </a:cxn>
                  <a:cxn ang="0">
                    <a:pos x="144" y="81"/>
                  </a:cxn>
                  <a:cxn ang="0">
                    <a:pos x="144" y="0"/>
                  </a:cxn>
                  <a:cxn ang="0">
                    <a:pos x="57" y="135"/>
                  </a:cxn>
                  <a:cxn ang="0">
                    <a:pos x="0" y="162"/>
                  </a:cxn>
                </a:cxnLst>
                <a:rect l="0" t="0" r="r" b="b"/>
                <a:pathLst>
                  <a:path w="315" h="352">
                    <a:moveTo>
                      <a:pt x="0" y="162"/>
                    </a:moveTo>
                    <a:lnTo>
                      <a:pt x="144" y="352"/>
                    </a:lnTo>
                    <a:lnTo>
                      <a:pt x="315" y="352"/>
                    </a:lnTo>
                    <a:lnTo>
                      <a:pt x="315" y="325"/>
                    </a:lnTo>
                    <a:lnTo>
                      <a:pt x="229" y="325"/>
                    </a:lnTo>
                    <a:lnTo>
                      <a:pt x="258" y="216"/>
                    </a:lnTo>
                    <a:lnTo>
                      <a:pt x="258" y="135"/>
                    </a:lnTo>
                    <a:lnTo>
                      <a:pt x="200" y="81"/>
                    </a:lnTo>
                    <a:lnTo>
                      <a:pt x="144" y="81"/>
                    </a:lnTo>
                    <a:lnTo>
                      <a:pt x="144" y="0"/>
                    </a:lnTo>
                    <a:lnTo>
                      <a:pt x="57" y="135"/>
                    </a:lnTo>
                    <a:lnTo>
                      <a:pt x="0" y="162"/>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4" name="Group 138">
              <a:extLst>
                <a:ext uri="{FF2B5EF4-FFF2-40B4-BE49-F238E27FC236}">
                  <a16:creationId xmlns:a16="http://schemas.microsoft.com/office/drawing/2014/main" id="{60B4E474-586E-98CD-5CC7-F9A3D92080A7}"/>
                </a:ext>
              </a:extLst>
            </p:cNvPr>
            <p:cNvGrpSpPr>
              <a:grpSpLocks/>
            </p:cNvGrpSpPr>
            <p:nvPr/>
          </p:nvGrpSpPr>
          <p:grpSpPr bwMode="auto">
            <a:xfrm>
              <a:off x="3674993" y="4407078"/>
              <a:ext cx="526849" cy="467032"/>
              <a:chOff x="2762" y="2557"/>
              <a:chExt cx="458" cy="406"/>
            </a:xfrm>
            <a:solidFill>
              <a:schemeClr val="bg1">
                <a:lumMod val="85000"/>
              </a:schemeClr>
            </a:solidFill>
          </p:grpSpPr>
          <p:sp>
            <p:nvSpPr>
              <p:cNvPr id="698" name="Freeform 139">
                <a:extLst>
                  <a:ext uri="{FF2B5EF4-FFF2-40B4-BE49-F238E27FC236}">
                    <a16:creationId xmlns:a16="http://schemas.microsoft.com/office/drawing/2014/main" id="{3527B881-A239-7B0B-2D9D-91A748B1A689}"/>
                  </a:ext>
                </a:extLst>
              </p:cNvPr>
              <p:cNvSpPr>
                <a:spLocks/>
              </p:cNvSpPr>
              <p:nvPr/>
            </p:nvSpPr>
            <p:spPr bwMode="auto">
              <a:xfrm>
                <a:off x="2762" y="2557"/>
                <a:ext cx="458" cy="406"/>
              </a:xfrm>
              <a:custGeom>
                <a:avLst/>
                <a:gdLst/>
                <a:ahLst/>
                <a:cxnLst>
                  <a:cxn ang="0">
                    <a:pos x="0" y="54"/>
                  </a:cxn>
                  <a:cxn ang="0">
                    <a:pos x="0" y="135"/>
                  </a:cxn>
                  <a:cxn ang="0">
                    <a:pos x="56" y="135"/>
                  </a:cxn>
                  <a:cxn ang="0">
                    <a:pos x="114" y="189"/>
                  </a:cxn>
                  <a:cxn ang="0">
                    <a:pos x="114" y="270"/>
                  </a:cxn>
                  <a:cxn ang="0">
                    <a:pos x="85" y="379"/>
                  </a:cxn>
                  <a:cxn ang="0">
                    <a:pos x="171" y="379"/>
                  </a:cxn>
                  <a:cxn ang="0">
                    <a:pos x="171" y="406"/>
                  </a:cxn>
                  <a:cxn ang="0">
                    <a:pos x="286" y="406"/>
                  </a:cxn>
                  <a:cxn ang="0">
                    <a:pos x="343" y="379"/>
                  </a:cxn>
                  <a:cxn ang="0">
                    <a:pos x="430" y="352"/>
                  </a:cxn>
                  <a:cxn ang="0">
                    <a:pos x="343" y="243"/>
                  </a:cxn>
                  <a:cxn ang="0">
                    <a:pos x="315" y="135"/>
                  </a:cxn>
                  <a:cxn ang="0">
                    <a:pos x="401" y="54"/>
                  </a:cxn>
                  <a:cxn ang="0">
                    <a:pos x="458" y="0"/>
                  </a:cxn>
                  <a:cxn ang="0">
                    <a:pos x="56" y="0"/>
                  </a:cxn>
                  <a:cxn ang="0">
                    <a:pos x="0" y="54"/>
                  </a:cxn>
                </a:cxnLst>
                <a:rect l="0" t="0" r="r" b="b"/>
                <a:pathLst>
                  <a:path w="458" h="406">
                    <a:moveTo>
                      <a:pt x="0" y="54"/>
                    </a:moveTo>
                    <a:lnTo>
                      <a:pt x="0" y="135"/>
                    </a:lnTo>
                    <a:lnTo>
                      <a:pt x="56" y="135"/>
                    </a:lnTo>
                    <a:lnTo>
                      <a:pt x="114" y="189"/>
                    </a:lnTo>
                    <a:lnTo>
                      <a:pt x="114" y="270"/>
                    </a:lnTo>
                    <a:lnTo>
                      <a:pt x="85" y="379"/>
                    </a:lnTo>
                    <a:lnTo>
                      <a:pt x="171" y="379"/>
                    </a:lnTo>
                    <a:lnTo>
                      <a:pt x="171" y="406"/>
                    </a:lnTo>
                    <a:lnTo>
                      <a:pt x="286" y="406"/>
                    </a:lnTo>
                    <a:lnTo>
                      <a:pt x="343" y="379"/>
                    </a:lnTo>
                    <a:lnTo>
                      <a:pt x="430" y="352"/>
                    </a:lnTo>
                    <a:lnTo>
                      <a:pt x="343" y="243"/>
                    </a:lnTo>
                    <a:lnTo>
                      <a:pt x="315" y="135"/>
                    </a:lnTo>
                    <a:lnTo>
                      <a:pt x="401" y="54"/>
                    </a:lnTo>
                    <a:lnTo>
                      <a:pt x="458" y="0"/>
                    </a:lnTo>
                    <a:lnTo>
                      <a:pt x="56" y="0"/>
                    </a:lnTo>
                    <a:lnTo>
                      <a:pt x="0" y="5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99" name="Freeform 140">
                <a:extLst>
                  <a:ext uri="{FF2B5EF4-FFF2-40B4-BE49-F238E27FC236}">
                    <a16:creationId xmlns:a16="http://schemas.microsoft.com/office/drawing/2014/main" id="{CF2EAD57-B4D3-7A7D-5996-2696D2BE88C0}"/>
                  </a:ext>
                </a:extLst>
              </p:cNvPr>
              <p:cNvSpPr>
                <a:spLocks/>
              </p:cNvSpPr>
              <p:nvPr/>
            </p:nvSpPr>
            <p:spPr bwMode="auto">
              <a:xfrm>
                <a:off x="2762" y="2557"/>
                <a:ext cx="458" cy="406"/>
              </a:xfrm>
              <a:custGeom>
                <a:avLst/>
                <a:gdLst/>
                <a:ahLst/>
                <a:cxnLst>
                  <a:cxn ang="0">
                    <a:pos x="0" y="54"/>
                  </a:cxn>
                  <a:cxn ang="0">
                    <a:pos x="0" y="135"/>
                  </a:cxn>
                  <a:cxn ang="0">
                    <a:pos x="56" y="135"/>
                  </a:cxn>
                  <a:cxn ang="0">
                    <a:pos x="114" y="189"/>
                  </a:cxn>
                  <a:cxn ang="0">
                    <a:pos x="114" y="270"/>
                  </a:cxn>
                  <a:cxn ang="0">
                    <a:pos x="85" y="379"/>
                  </a:cxn>
                  <a:cxn ang="0">
                    <a:pos x="171" y="379"/>
                  </a:cxn>
                  <a:cxn ang="0">
                    <a:pos x="171" y="406"/>
                  </a:cxn>
                  <a:cxn ang="0">
                    <a:pos x="286" y="406"/>
                  </a:cxn>
                  <a:cxn ang="0">
                    <a:pos x="343" y="379"/>
                  </a:cxn>
                  <a:cxn ang="0">
                    <a:pos x="430" y="352"/>
                  </a:cxn>
                  <a:cxn ang="0">
                    <a:pos x="343" y="243"/>
                  </a:cxn>
                  <a:cxn ang="0">
                    <a:pos x="315" y="135"/>
                  </a:cxn>
                  <a:cxn ang="0">
                    <a:pos x="401" y="54"/>
                  </a:cxn>
                  <a:cxn ang="0">
                    <a:pos x="458" y="0"/>
                  </a:cxn>
                  <a:cxn ang="0">
                    <a:pos x="56" y="0"/>
                  </a:cxn>
                  <a:cxn ang="0">
                    <a:pos x="0" y="54"/>
                  </a:cxn>
                </a:cxnLst>
                <a:rect l="0" t="0" r="r" b="b"/>
                <a:pathLst>
                  <a:path w="458" h="406">
                    <a:moveTo>
                      <a:pt x="0" y="54"/>
                    </a:moveTo>
                    <a:lnTo>
                      <a:pt x="0" y="135"/>
                    </a:lnTo>
                    <a:lnTo>
                      <a:pt x="56" y="135"/>
                    </a:lnTo>
                    <a:lnTo>
                      <a:pt x="114" y="189"/>
                    </a:lnTo>
                    <a:lnTo>
                      <a:pt x="114" y="270"/>
                    </a:lnTo>
                    <a:lnTo>
                      <a:pt x="85" y="379"/>
                    </a:lnTo>
                    <a:lnTo>
                      <a:pt x="171" y="379"/>
                    </a:lnTo>
                    <a:lnTo>
                      <a:pt x="171" y="406"/>
                    </a:lnTo>
                    <a:lnTo>
                      <a:pt x="286" y="406"/>
                    </a:lnTo>
                    <a:lnTo>
                      <a:pt x="343" y="379"/>
                    </a:lnTo>
                    <a:lnTo>
                      <a:pt x="430" y="352"/>
                    </a:lnTo>
                    <a:lnTo>
                      <a:pt x="343" y="243"/>
                    </a:lnTo>
                    <a:lnTo>
                      <a:pt x="315" y="135"/>
                    </a:lnTo>
                    <a:lnTo>
                      <a:pt x="401" y="54"/>
                    </a:lnTo>
                    <a:lnTo>
                      <a:pt x="458" y="0"/>
                    </a:lnTo>
                    <a:lnTo>
                      <a:pt x="56" y="0"/>
                    </a:lnTo>
                    <a:lnTo>
                      <a:pt x="0" y="5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5" name="Group 144">
              <a:extLst>
                <a:ext uri="{FF2B5EF4-FFF2-40B4-BE49-F238E27FC236}">
                  <a16:creationId xmlns:a16="http://schemas.microsoft.com/office/drawing/2014/main" id="{DFEB4AB1-9DC9-3E97-9681-A7447E38C005}"/>
                </a:ext>
              </a:extLst>
            </p:cNvPr>
            <p:cNvGrpSpPr>
              <a:grpSpLocks/>
            </p:cNvGrpSpPr>
            <p:nvPr/>
          </p:nvGrpSpPr>
          <p:grpSpPr bwMode="auto">
            <a:xfrm>
              <a:off x="3906210" y="4811993"/>
              <a:ext cx="527999" cy="343947"/>
              <a:chOff x="2963" y="2909"/>
              <a:chExt cx="459" cy="299"/>
            </a:xfrm>
            <a:solidFill>
              <a:schemeClr val="bg1">
                <a:lumMod val="85000"/>
              </a:schemeClr>
            </a:solidFill>
          </p:grpSpPr>
          <p:sp>
            <p:nvSpPr>
              <p:cNvPr id="696" name="Freeform 145">
                <a:extLst>
                  <a:ext uri="{FF2B5EF4-FFF2-40B4-BE49-F238E27FC236}">
                    <a16:creationId xmlns:a16="http://schemas.microsoft.com/office/drawing/2014/main" id="{F72674C0-D1E7-0C41-0724-318D0530A229}"/>
                  </a:ext>
                </a:extLst>
              </p:cNvPr>
              <p:cNvSpPr>
                <a:spLocks/>
              </p:cNvSpPr>
              <p:nvPr/>
            </p:nvSpPr>
            <p:spPr bwMode="auto">
              <a:xfrm>
                <a:off x="2963" y="2909"/>
                <a:ext cx="459" cy="299"/>
              </a:xfrm>
              <a:custGeom>
                <a:avLst/>
                <a:gdLst/>
                <a:ahLst/>
                <a:cxnLst>
                  <a:cxn ang="0">
                    <a:pos x="230" y="0"/>
                  </a:cxn>
                  <a:cxn ang="0">
                    <a:pos x="144" y="27"/>
                  </a:cxn>
                  <a:cxn ang="0">
                    <a:pos x="86" y="54"/>
                  </a:cxn>
                  <a:cxn ang="0">
                    <a:pos x="0" y="299"/>
                  </a:cxn>
                  <a:cxn ang="0">
                    <a:pos x="144" y="299"/>
                  </a:cxn>
                  <a:cxn ang="0">
                    <a:pos x="201" y="245"/>
                  </a:cxn>
                  <a:cxn ang="0">
                    <a:pos x="459" y="190"/>
                  </a:cxn>
                  <a:cxn ang="0">
                    <a:pos x="459" y="136"/>
                  </a:cxn>
                  <a:cxn ang="0">
                    <a:pos x="401" y="163"/>
                  </a:cxn>
                  <a:cxn ang="0">
                    <a:pos x="230" y="0"/>
                  </a:cxn>
                </a:cxnLst>
                <a:rect l="0" t="0" r="r" b="b"/>
                <a:pathLst>
                  <a:path w="459" h="299">
                    <a:moveTo>
                      <a:pt x="230" y="0"/>
                    </a:moveTo>
                    <a:lnTo>
                      <a:pt x="144" y="27"/>
                    </a:lnTo>
                    <a:lnTo>
                      <a:pt x="86" y="54"/>
                    </a:lnTo>
                    <a:lnTo>
                      <a:pt x="0" y="299"/>
                    </a:lnTo>
                    <a:lnTo>
                      <a:pt x="144" y="299"/>
                    </a:lnTo>
                    <a:lnTo>
                      <a:pt x="201" y="245"/>
                    </a:lnTo>
                    <a:lnTo>
                      <a:pt x="459" y="190"/>
                    </a:lnTo>
                    <a:lnTo>
                      <a:pt x="459" y="136"/>
                    </a:lnTo>
                    <a:lnTo>
                      <a:pt x="401" y="163"/>
                    </a:lnTo>
                    <a:lnTo>
                      <a:pt x="23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97" name="Freeform 146">
                <a:extLst>
                  <a:ext uri="{FF2B5EF4-FFF2-40B4-BE49-F238E27FC236}">
                    <a16:creationId xmlns:a16="http://schemas.microsoft.com/office/drawing/2014/main" id="{1224126F-3E52-2AA8-9689-41AEB75004FF}"/>
                  </a:ext>
                </a:extLst>
              </p:cNvPr>
              <p:cNvSpPr>
                <a:spLocks/>
              </p:cNvSpPr>
              <p:nvPr/>
            </p:nvSpPr>
            <p:spPr bwMode="auto">
              <a:xfrm>
                <a:off x="2963" y="2909"/>
                <a:ext cx="459" cy="299"/>
              </a:xfrm>
              <a:custGeom>
                <a:avLst/>
                <a:gdLst/>
                <a:ahLst/>
                <a:cxnLst>
                  <a:cxn ang="0">
                    <a:pos x="230" y="0"/>
                  </a:cxn>
                  <a:cxn ang="0">
                    <a:pos x="144" y="27"/>
                  </a:cxn>
                  <a:cxn ang="0">
                    <a:pos x="86" y="54"/>
                  </a:cxn>
                  <a:cxn ang="0">
                    <a:pos x="0" y="299"/>
                  </a:cxn>
                  <a:cxn ang="0">
                    <a:pos x="144" y="299"/>
                  </a:cxn>
                  <a:cxn ang="0">
                    <a:pos x="201" y="245"/>
                  </a:cxn>
                  <a:cxn ang="0">
                    <a:pos x="459" y="190"/>
                  </a:cxn>
                  <a:cxn ang="0">
                    <a:pos x="459" y="136"/>
                  </a:cxn>
                  <a:cxn ang="0">
                    <a:pos x="401" y="163"/>
                  </a:cxn>
                  <a:cxn ang="0">
                    <a:pos x="230" y="0"/>
                  </a:cxn>
                </a:cxnLst>
                <a:rect l="0" t="0" r="r" b="b"/>
                <a:pathLst>
                  <a:path w="459" h="299">
                    <a:moveTo>
                      <a:pt x="230" y="0"/>
                    </a:moveTo>
                    <a:lnTo>
                      <a:pt x="144" y="27"/>
                    </a:lnTo>
                    <a:lnTo>
                      <a:pt x="86" y="54"/>
                    </a:lnTo>
                    <a:lnTo>
                      <a:pt x="0" y="299"/>
                    </a:lnTo>
                    <a:lnTo>
                      <a:pt x="144" y="299"/>
                    </a:lnTo>
                    <a:lnTo>
                      <a:pt x="201" y="245"/>
                    </a:lnTo>
                    <a:lnTo>
                      <a:pt x="459" y="190"/>
                    </a:lnTo>
                    <a:lnTo>
                      <a:pt x="459" y="136"/>
                    </a:lnTo>
                    <a:lnTo>
                      <a:pt x="401" y="163"/>
                    </a:lnTo>
                    <a:lnTo>
                      <a:pt x="23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6" name="Group 150">
              <a:extLst>
                <a:ext uri="{FF2B5EF4-FFF2-40B4-BE49-F238E27FC236}">
                  <a16:creationId xmlns:a16="http://schemas.microsoft.com/office/drawing/2014/main" id="{238A795E-7EA9-2E02-DA4C-4437496B8000}"/>
                </a:ext>
              </a:extLst>
            </p:cNvPr>
            <p:cNvGrpSpPr>
              <a:grpSpLocks/>
            </p:cNvGrpSpPr>
            <p:nvPr/>
          </p:nvGrpSpPr>
          <p:grpSpPr bwMode="auto">
            <a:xfrm>
              <a:off x="4064955" y="5035155"/>
              <a:ext cx="364653" cy="311737"/>
              <a:chOff x="3101" y="3103"/>
              <a:chExt cx="317" cy="271"/>
            </a:xfrm>
            <a:solidFill>
              <a:schemeClr val="bg1">
                <a:lumMod val="85000"/>
              </a:schemeClr>
            </a:solidFill>
          </p:grpSpPr>
          <p:sp>
            <p:nvSpPr>
              <p:cNvPr id="694" name="Freeform 151">
                <a:extLst>
                  <a:ext uri="{FF2B5EF4-FFF2-40B4-BE49-F238E27FC236}">
                    <a16:creationId xmlns:a16="http://schemas.microsoft.com/office/drawing/2014/main" id="{E40BE3E5-9E3C-316B-1013-8F47487D8B66}"/>
                  </a:ext>
                </a:extLst>
              </p:cNvPr>
              <p:cNvSpPr>
                <a:spLocks/>
              </p:cNvSpPr>
              <p:nvPr/>
            </p:nvSpPr>
            <p:spPr bwMode="auto">
              <a:xfrm>
                <a:off x="3101" y="3103"/>
                <a:ext cx="317" cy="271"/>
              </a:xfrm>
              <a:custGeom>
                <a:avLst/>
                <a:gdLst/>
                <a:ahLst/>
                <a:cxnLst>
                  <a:cxn ang="0">
                    <a:pos x="317" y="0"/>
                  </a:cxn>
                  <a:cxn ang="0">
                    <a:pos x="58" y="54"/>
                  </a:cxn>
                  <a:cxn ang="0">
                    <a:pos x="0" y="108"/>
                  </a:cxn>
                  <a:cxn ang="0">
                    <a:pos x="0" y="135"/>
                  </a:cxn>
                  <a:cxn ang="0">
                    <a:pos x="29" y="135"/>
                  </a:cxn>
                  <a:cxn ang="0">
                    <a:pos x="29" y="190"/>
                  </a:cxn>
                  <a:cxn ang="0">
                    <a:pos x="58" y="190"/>
                  </a:cxn>
                  <a:cxn ang="0">
                    <a:pos x="58" y="244"/>
                  </a:cxn>
                  <a:cxn ang="0">
                    <a:pos x="87" y="244"/>
                  </a:cxn>
                  <a:cxn ang="0">
                    <a:pos x="87" y="271"/>
                  </a:cxn>
                  <a:cxn ang="0">
                    <a:pos x="317" y="271"/>
                  </a:cxn>
                  <a:cxn ang="0">
                    <a:pos x="288" y="135"/>
                  </a:cxn>
                  <a:cxn ang="0">
                    <a:pos x="317" y="0"/>
                  </a:cxn>
                </a:cxnLst>
                <a:rect l="0" t="0" r="r" b="b"/>
                <a:pathLst>
                  <a:path w="317" h="271">
                    <a:moveTo>
                      <a:pt x="317" y="0"/>
                    </a:moveTo>
                    <a:lnTo>
                      <a:pt x="58" y="54"/>
                    </a:lnTo>
                    <a:lnTo>
                      <a:pt x="0" y="108"/>
                    </a:lnTo>
                    <a:lnTo>
                      <a:pt x="0" y="135"/>
                    </a:lnTo>
                    <a:lnTo>
                      <a:pt x="29" y="135"/>
                    </a:lnTo>
                    <a:lnTo>
                      <a:pt x="29" y="190"/>
                    </a:lnTo>
                    <a:lnTo>
                      <a:pt x="58" y="190"/>
                    </a:lnTo>
                    <a:lnTo>
                      <a:pt x="58" y="244"/>
                    </a:lnTo>
                    <a:lnTo>
                      <a:pt x="87" y="244"/>
                    </a:lnTo>
                    <a:lnTo>
                      <a:pt x="87" y="271"/>
                    </a:lnTo>
                    <a:lnTo>
                      <a:pt x="317" y="271"/>
                    </a:lnTo>
                    <a:lnTo>
                      <a:pt x="288" y="135"/>
                    </a:lnTo>
                    <a:lnTo>
                      <a:pt x="317"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95" name="Freeform 152">
                <a:extLst>
                  <a:ext uri="{FF2B5EF4-FFF2-40B4-BE49-F238E27FC236}">
                    <a16:creationId xmlns:a16="http://schemas.microsoft.com/office/drawing/2014/main" id="{7A620D44-9837-D2A4-D5FD-BFA2A02B8B4B}"/>
                  </a:ext>
                </a:extLst>
              </p:cNvPr>
              <p:cNvSpPr>
                <a:spLocks/>
              </p:cNvSpPr>
              <p:nvPr/>
            </p:nvSpPr>
            <p:spPr bwMode="auto">
              <a:xfrm>
                <a:off x="3101" y="3103"/>
                <a:ext cx="317" cy="271"/>
              </a:xfrm>
              <a:custGeom>
                <a:avLst/>
                <a:gdLst/>
                <a:ahLst/>
                <a:cxnLst>
                  <a:cxn ang="0">
                    <a:pos x="317" y="0"/>
                  </a:cxn>
                  <a:cxn ang="0">
                    <a:pos x="58" y="54"/>
                  </a:cxn>
                  <a:cxn ang="0">
                    <a:pos x="0" y="108"/>
                  </a:cxn>
                  <a:cxn ang="0">
                    <a:pos x="0" y="135"/>
                  </a:cxn>
                  <a:cxn ang="0">
                    <a:pos x="29" y="135"/>
                  </a:cxn>
                  <a:cxn ang="0">
                    <a:pos x="29" y="190"/>
                  </a:cxn>
                  <a:cxn ang="0">
                    <a:pos x="58" y="190"/>
                  </a:cxn>
                  <a:cxn ang="0">
                    <a:pos x="58" y="244"/>
                  </a:cxn>
                  <a:cxn ang="0">
                    <a:pos x="87" y="244"/>
                  </a:cxn>
                  <a:cxn ang="0">
                    <a:pos x="87" y="271"/>
                  </a:cxn>
                  <a:cxn ang="0">
                    <a:pos x="317" y="271"/>
                  </a:cxn>
                  <a:cxn ang="0">
                    <a:pos x="288" y="135"/>
                  </a:cxn>
                  <a:cxn ang="0">
                    <a:pos x="317" y="0"/>
                  </a:cxn>
                </a:cxnLst>
                <a:rect l="0" t="0" r="r" b="b"/>
                <a:pathLst>
                  <a:path w="317" h="271">
                    <a:moveTo>
                      <a:pt x="317" y="0"/>
                    </a:moveTo>
                    <a:lnTo>
                      <a:pt x="58" y="54"/>
                    </a:lnTo>
                    <a:lnTo>
                      <a:pt x="0" y="108"/>
                    </a:lnTo>
                    <a:lnTo>
                      <a:pt x="0" y="135"/>
                    </a:lnTo>
                    <a:lnTo>
                      <a:pt x="29" y="135"/>
                    </a:lnTo>
                    <a:lnTo>
                      <a:pt x="29" y="190"/>
                    </a:lnTo>
                    <a:lnTo>
                      <a:pt x="58" y="190"/>
                    </a:lnTo>
                    <a:lnTo>
                      <a:pt x="58" y="244"/>
                    </a:lnTo>
                    <a:lnTo>
                      <a:pt x="87" y="244"/>
                    </a:lnTo>
                    <a:lnTo>
                      <a:pt x="87" y="271"/>
                    </a:lnTo>
                    <a:lnTo>
                      <a:pt x="317" y="271"/>
                    </a:lnTo>
                    <a:lnTo>
                      <a:pt x="288" y="135"/>
                    </a:lnTo>
                    <a:lnTo>
                      <a:pt x="317" y="0"/>
                    </a:lnTo>
                  </a:path>
                </a:pathLst>
              </a:custGeom>
              <a:grpFill/>
              <a:ln w="9525"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7" name="Group 168">
              <a:extLst>
                <a:ext uri="{FF2B5EF4-FFF2-40B4-BE49-F238E27FC236}">
                  <a16:creationId xmlns:a16="http://schemas.microsoft.com/office/drawing/2014/main" id="{59E43974-866D-9633-B996-E24E37954A38}"/>
                </a:ext>
              </a:extLst>
            </p:cNvPr>
            <p:cNvGrpSpPr>
              <a:grpSpLocks/>
            </p:cNvGrpSpPr>
            <p:nvPr/>
          </p:nvGrpSpPr>
          <p:grpSpPr bwMode="auto">
            <a:xfrm>
              <a:off x="3739412" y="5157089"/>
              <a:ext cx="429072" cy="499240"/>
              <a:chOff x="2818" y="3209"/>
              <a:chExt cx="373" cy="434"/>
            </a:xfrm>
            <a:solidFill>
              <a:schemeClr val="bg1">
                <a:lumMod val="85000"/>
              </a:schemeClr>
            </a:solidFill>
          </p:grpSpPr>
          <p:sp>
            <p:nvSpPr>
              <p:cNvPr id="692" name="Freeform 169">
                <a:extLst>
                  <a:ext uri="{FF2B5EF4-FFF2-40B4-BE49-F238E27FC236}">
                    <a16:creationId xmlns:a16="http://schemas.microsoft.com/office/drawing/2014/main" id="{75EF2ABC-D936-AC1B-05C5-4AFB524FABEC}"/>
                  </a:ext>
                </a:extLst>
              </p:cNvPr>
              <p:cNvSpPr>
                <a:spLocks/>
              </p:cNvSpPr>
              <p:nvPr/>
            </p:nvSpPr>
            <p:spPr bwMode="auto">
              <a:xfrm>
                <a:off x="2818" y="3209"/>
                <a:ext cx="373" cy="434"/>
              </a:xfrm>
              <a:custGeom>
                <a:avLst/>
                <a:gdLst/>
                <a:ahLst/>
                <a:cxnLst>
                  <a:cxn ang="0">
                    <a:pos x="58" y="27"/>
                  </a:cxn>
                  <a:cxn ang="0">
                    <a:pos x="0" y="108"/>
                  </a:cxn>
                  <a:cxn ang="0">
                    <a:pos x="86" y="216"/>
                  </a:cxn>
                  <a:cxn ang="0">
                    <a:pos x="172" y="243"/>
                  </a:cxn>
                  <a:cxn ang="0">
                    <a:pos x="172" y="351"/>
                  </a:cxn>
                  <a:cxn ang="0">
                    <a:pos x="203" y="434"/>
                  </a:cxn>
                  <a:cxn ang="0">
                    <a:pos x="262" y="352"/>
                  </a:cxn>
                  <a:cxn ang="0">
                    <a:pos x="344" y="189"/>
                  </a:cxn>
                  <a:cxn ang="0">
                    <a:pos x="373" y="189"/>
                  </a:cxn>
                  <a:cxn ang="0">
                    <a:pos x="373" y="135"/>
                  </a:cxn>
                  <a:cxn ang="0">
                    <a:pos x="344" y="135"/>
                  </a:cxn>
                  <a:cxn ang="0">
                    <a:pos x="344" y="81"/>
                  </a:cxn>
                  <a:cxn ang="0">
                    <a:pos x="316" y="81"/>
                  </a:cxn>
                  <a:cxn ang="0">
                    <a:pos x="316" y="27"/>
                  </a:cxn>
                  <a:cxn ang="0">
                    <a:pos x="287" y="27"/>
                  </a:cxn>
                  <a:cxn ang="0">
                    <a:pos x="287" y="0"/>
                  </a:cxn>
                  <a:cxn ang="0">
                    <a:pos x="144" y="0"/>
                  </a:cxn>
                  <a:cxn ang="0">
                    <a:pos x="58" y="27"/>
                  </a:cxn>
                </a:cxnLst>
                <a:rect l="0" t="0" r="r" b="b"/>
                <a:pathLst>
                  <a:path w="373" h="434">
                    <a:moveTo>
                      <a:pt x="58" y="27"/>
                    </a:moveTo>
                    <a:lnTo>
                      <a:pt x="0" y="108"/>
                    </a:lnTo>
                    <a:lnTo>
                      <a:pt x="86" y="216"/>
                    </a:lnTo>
                    <a:lnTo>
                      <a:pt x="172" y="243"/>
                    </a:lnTo>
                    <a:lnTo>
                      <a:pt x="172" y="351"/>
                    </a:lnTo>
                    <a:lnTo>
                      <a:pt x="203" y="434"/>
                    </a:lnTo>
                    <a:lnTo>
                      <a:pt x="262" y="352"/>
                    </a:lnTo>
                    <a:lnTo>
                      <a:pt x="344" y="189"/>
                    </a:lnTo>
                    <a:lnTo>
                      <a:pt x="373" y="189"/>
                    </a:lnTo>
                    <a:lnTo>
                      <a:pt x="373" y="135"/>
                    </a:lnTo>
                    <a:lnTo>
                      <a:pt x="344" y="135"/>
                    </a:lnTo>
                    <a:lnTo>
                      <a:pt x="344" y="81"/>
                    </a:lnTo>
                    <a:lnTo>
                      <a:pt x="316" y="81"/>
                    </a:lnTo>
                    <a:lnTo>
                      <a:pt x="316" y="27"/>
                    </a:lnTo>
                    <a:lnTo>
                      <a:pt x="287" y="27"/>
                    </a:lnTo>
                    <a:lnTo>
                      <a:pt x="287" y="0"/>
                    </a:lnTo>
                    <a:lnTo>
                      <a:pt x="144" y="0"/>
                    </a:lnTo>
                    <a:lnTo>
                      <a:pt x="58" y="27"/>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93" name="Freeform 170">
                <a:extLst>
                  <a:ext uri="{FF2B5EF4-FFF2-40B4-BE49-F238E27FC236}">
                    <a16:creationId xmlns:a16="http://schemas.microsoft.com/office/drawing/2014/main" id="{A7FD9593-8B99-56F9-B5A5-59D6F1179B75}"/>
                  </a:ext>
                </a:extLst>
              </p:cNvPr>
              <p:cNvSpPr>
                <a:spLocks/>
              </p:cNvSpPr>
              <p:nvPr/>
            </p:nvSpPr>
            <p:spPr bwMode="auto">
              <a:xfrm>
                <a:off x="2818" y="3209"/>
                <a:ext cx="373" cy="434"/>
              </a:xfrm>
              <a:custGeom>
                <a:avLst/>
                <a:gdLst/>
                <a:ahLst/>
                <a:cxnLst>
                  <a:cxn ang="0">
                    <a:pos x="58" y="27"/>
                  </a:cxn>
                  <a:cxn ang="0">
                    <a:pos x="0" y="108"/>
                  </a:cxn>
                  <a:cxn ang="0">
                    <a:pos x="86" y="216"/>
                  </a:cxn>
                  <a:cxn ang="0">
                    <a:pos x="172" y="243"/>
                  </a:cxn>
                  <a:cxn ang="0">
                    <a:pos x="172" y="351"/>
                  </a:cxn>
                  <a:cxn ang="0">
                    <a:pos x="203" y="434"/>
                  </a:cxn>
                  <a:cxn ang="0">
                    <a:pos x="262" y="352"/>
                  </a:cxn>
                  <a:cxn ang="0">
                    <a:pos x="344" y="189"/>
                  </a:cxn>
                  <a:cxn ang="0">
                    <a:pos x="373" y="189"/>
                  </a:cxn>
                  <a:cxn ang="0">
                    <a:pos x="373" y="135"/>
                  </a:cxn>
                  <a:cxn ang="0">
                    <a:pos x="344" y="135"/>
                  </a:cxn>
                  <a:cxn ang="0">
                    <a:pos x="344" y="81"/>
                  </a:cxn>
                  <a:cxn ang="0">
                    <a:pos x="316" y="81"/>
                  </a:cxn>
                  <a:cxn ang="0">
                    <a:pos x="316" y="27"/>
                  </a:cxn>
                  <a:cxn ang="0">
                    <a:pos x="287" y="27"/>
                  </a:cxn>
                  <a:cxn ang="0">
                    <a:pos x="287" y="0"/>
                  </a:cxn>
                  <a:cxn ang="0">
                    <a:pos x="144" y="0"/>
                  </a:cxn>
                  <a:cxn ang="0">
                    <a:pos x="58" y="27"/>
                  </a:cxn>
                </a:cxnLst>
                <a:rect l="0" t="0" r="r" b="b"/>
                <a:pathLst>
                  <a:path w="373" h="434">
                    <a:moveTo>
                      <a:pt x="58" y="27"/>
                    </a:moveTo>
                    <a:lnTo>
                      <a:pt x="0" y="108"/>
                    </a:lnTo>
                    <a:lnTo>
                      <a:pt x="86" y="216"/>
                    </a:lnTo>
                    <a:lnTo>
                      <a:pt x="172" y="243"/>
                    </a:lnTo>
                    <a:lnTo>
                      <a:pt x="172" y="351"/>
                    </a:lnTo>
                    <a:lnTo>
                      <a:pt x="203" y="434"/>
                    </a:lnTo>
                    <a:lnTo>
                      <a:pt x="262" y="352"/>
                    </a:lnTo>
                    <a:lnTo>
                      <a:pt x="344" y="189"/>
                    </a:lnTo>
                    <a:lnTo>
                      <a:pt x="373" y="189"/>
                    </a:lnTo>
                    <a:lnTo>
                      <a:pt x="373" y="135"/>
                    </a:lnTo>
                    <a:lnTo>
                      <a:pt x="344" y="135"/>
                    </a:lnTo>
                    <a:lnTo>
                      <a:pt x="344" y="81"/>
                    </a:lnTo>
                    <a:lnTo>
                      <a:pt x="316" y="81"/>
                    </a:lnTo>
                    <a:lnTo>
                      <a:pt x="316" y="27"/>
                    </a:lnTo>
                    <a:lnTo>
                      <a:pt x="287" y="27"/>
                    </a:lnTo>
                    <a:lnTo>
                      <a:pt x="287" y="0"/>
                    </a:lnTo>
                    <a:lnTo>
                      <a:pt x="144" y="0"/>
                    </a:lnTo>
                    <a:lnTo>
                      <a:pt x="58" y="27"/>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8" name="Group 183">
              <a:extLst>
                <a:ext uri="{FF2B5EF4-FFF2-40B4-BE49-F238E27FC236}">
                  <a16:creationId xmlns:a16="http://schemas.microsoft.com/office/drawing/2014/main" id="{2F63D4BC-5339-EE31-0EBA-22B120078FF3}"/>
                </a:ext>
              </a:extLst>
            </p:cNvPr>
            <p:cNvGrpSpPr>
              <a:grpSpLocks/>
            </p:cNvGrpSpPr>
            <p:nvPr/>
          </p:nvGrpSpPr>
          <p:grpSpPr bwMode="auto">
            <a:xfrm>
              <a:off x="4533134" y="5123731"/>
              <a:ext cx="395712" cy="438274"/>
              <a:chOff x="3508" y="3180"/>
              <a:chExt cx="344" cy="381"/>
            </a:xfrm>
            <a:solidFill>
              <a:schemeClr val="bg1">
                <a:lumMod val="85000"/>
              </a:schemeClr>
            </a:solidFill>
          </p:grpSpPr>
          <p:sp>
            <p:nvSpPr>
              <p:cNvPr id="690" name="Freeform 184">
                <a:extLst>
                  <a:ext uri="{FF2B5EF4-FFF2-40B4-BE49-F238E27FC236}">
                    <a16:creationId xmlns:a16="http://schemas.microsoft.com/office/drawing/2014/main" id="{749CFCFB-4DAC-B7A7-EEC5-F9EF42DBE4DF}"/>
                  </a:ext>
                </a:extLst>
              </p:cNvPr>
              <p:cNvSpPr>
                <a:spLocks/>
              </p:cNvSpPr>
              <p:nvPr/>
            </p:nvSpPr>
            <p:spPr bwMode="auto">
              <a:xfrm>
                <a:off x="3508" y="3180"/>
                <a:ext cx="344" cy="381"/>
              </a:xfrm>
              <a:custGeom>
                <a:avLst/>
                <a:gdLst/>
                <a:ahLst/>
                <a:cxnLst>
                  <a:cxn ang="0">
                    <a:pos x="0" y="191"/>
                  </a:cxn>
                  <a:cxn ang="0">
                    <a:pos x="57" y="217"/>
                  </a:cxn>
                  <a:cxn ang="0">
                    <a:pos x="86" y="299"/>
                  </a:cxn>
                  <a:cxn ang="0">
                    <a:pos x="172" y="326"/>
                  </a:cxn>
                  <a:cxn ang="0">
                    <a:pos x="172" y="381"/>
                  </a:cxn>
                  <a:cxn ang="0">
                    <a:pos x="315" y="381"/>
                  </a:cxn>
                  <a:cxn ang="0">
                    <a:pos x="344" y="244"/>
                  </a:cxn>
                  <a:cxn ang="0">
                    <a:pos x="286" y="217"/>
                  </a:cxn>
                  <a:cxn ang="0">
                    <a:pos x="258" y="137"/>
                  </a:cxn>
                  <a:cxn ang="0">
                    <a:pos x="258" y="28"/>
                  </a:cxn>
                  <a:cxn ang="0">
                    <a:pos x="143" y="0"/>
                  </a:cxn>
                  <a:cxn ang="0">
                    <a:pos x="86" y="55"/>
                  </a:cxn>
                  <a:cxn ang="0">
                    <a:pos x="0" y="55"/>
                  </a:cxn>
                  <a:cxn ang="0">
                    <a:pos x="0" y="191"/>
                  </a:cxn>
                </a:cxnLst>
                <a:rect l="0" t="0" r="r" b="b"/>
                <a:pathLst>
                  <a:path w="344" h="381">
                    <a:moveTo>
                      <a:pt x="0" y="191"/>
                    </a:moveTo>
                    <a:lnTo>
                      <a:pt x="57" y="217"/>
                    </a:lnTo>
                    <a:lnTo>
                      <a:pt x="86" y="299"/>
                    </a:lnTo>
                    <a:lnTo>
                      <a:pt x="172" y="326"/>
                    </a:lnTo>
                    <a:lnTo>
                      <a:pt x="172" y="381"/>
                    </a:lnTo>
                    <a:lnTo>
                      <a:pt x="315" y="381"/>
                    </a:lnTo>
                    <a:lnTo>
                      <a:pt x="344" y="244"/>
                    </a:lnTo>
                    <a:lnTo>
                      <a:pt x="286" y="217"/>
                    </a:lnTo>
                    <a:lnTo>
                      <a:pt x="258" y="137"/>
                    </a:lnTo>
                    <a:lnTo>
                      <a:pt x="258" y="28"/>
                    </a:lnTo>
                    <a:lnTo>
                      <a:pt x="143" y="0"/>
                    </a:lnTo>
                    <a:lnTo>
                      <a:pt x="86" y="55"/>
                    </a:lnTo>
                    <a:lnTo>
                      <a:pt x="0" y="55"/>
                    </a:lnTo>
                    <a:lnTo>
                      <a:pt x="0" y="191"/>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91" name="Freeform 185">
                <a:extLst>
                  <a:ext uri="{FF2B5EF4-FFF2-40B4-BE49-F238E27FC236}">
                    <a16:creationId xmlns:a16="http://schemas.microsoft.com/office/drawing/2014/main" id="{321007F7-131E-70CF-60CA-27EC9AD1A45B}"/>
                  </a:ext>
                </a:extLst>
              </p:cNvPr>
              <p:cNvSpPr>
                <a:spLocks/>
              </p:cNvSpPr>
              <p:nvPr/>
            </p:nvSpPr>
            <p:spPr bwMode="auto">
              <a:xfrm>
                <a:off x="3508" y="3180"/>
                <a:ext cx="344" cy="381"/>
              </a:xfrm>
              <a:custGeom>
                <a:avLst/>
                <a:gdLst/>
                <a:ahLst/>
                <a:cxnLst>
                  <a:cxn ang="0">
                    <a:pos x="0" y="191"/>
                  </a:cxn>
                  <a:cxn ang="0">
                    <a:pos x="57" y="217"/>
                  </a:cxn>
                  <a:cxn ang="0">
                    <a:pos x="86" y="299"/>
                  </a:cxn>
                  <a:cxn ang="0">
                    <a:pos x="172" y="326"/>
                  </a:cxn>
                  <a:cxn ang="0">
                    <a:pos x="172" y="381"/>
                  </a:cxn>
                  <a:cxn ang="0">
                    <a:pos x="315" y="381"/>
                  </a:cxn>
                  <a:cxn ang="0">
                    <a:pos x="344" y="244"/>
                  </a:cxn>
                  <a:cxn ang="0">
                    <a:pos x="286" y="217"/>
                  </a:cxn>
                  <a:cxn ang="0">
                    <a:pos x="258" y="137"/>
                  </a:cxn>
                  <a:cxn ang="0">
                    <a:pos x="258" y="28"/>
                  </a:cxn>
                  <a:cxn ang="0">
                    <a:pos x="143" y="0"/>
                  </a:cxn>
                  <a:cxn ang="0">
                    <a:pos x="86" y="55"/>
                  </a:cxn>
                  <a:cxn ang="0">
                    <a:pos x="0" y="55"/>
                  </a:cxn>
                  <a:cxn ang="0">
                    <a:pos x="0" y="191"/>
                  </a:cxn>
                </a:cxnLst>
                <a:rect l="0" t="0" r="r" b="b"/>
                <a:pathLst>
                  <a:path w="344" h="381">
                    <a:moveTo>
                      <a:pt x="0" y="191"/>
                    </a:moveTo>
                    <a:lnTo>
                      <a:pt x="57" y="217"/>
                    </a:lnTo>
                    <a:lnTo>
                      <a:pt x="86" y="299"/>
                    </a:lnTo>
                    <a:lnTo>
                      <a:pt x="172" y="326"/>
                    </a:lnTo>
                    <a:lnTo>
                      <a:pt x="172" y="381"/>
                    </a:lnTo>
                    <a:lnTo>
                      <a:pt x="315" y="381"/>
                    </a:lnTo>
                    <a:lnTo>
                      <a:pt x="344" y="244"/>
                    </a:lnTo>
                    <a:lnTo>
                      <a:pt x="286" y="217"/>
                    </a:lnTo>
                    <a:lnTo>
                      <a:pt x="258" y="137"/>
                    </a:lnTo>
                    <a:lnTo>
                      <a:pt x="258" y="28"/>
                    </a:lnTo>
                    <a:lnTo>
                      <a:pt x="143" y="0"/>
                    </a:lnTo>
                    <a:lnTo>
                      <a:pt x="86" y="55"/>
                    </a:lnTo>
                    <a:lnTo>
                      <a:pt x="0" y="55"/>
                    </a:lnTo>
                    <a:lnTo>
                      <a:pt x="0" y="191"/>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39" name="Group 189">
              <a:extLst>
                <a:ext uri="{FF2B5EF4-FFF2-40B4-BE49-F238E27FC236}">
                  <a16:creationId xmlns:a16="http://schemas.microsoft.com/office/drawing/2014/main" id="{70334DE0-2197-8F83-A183-DB71C8509A86}"/>
                </a:ext>
              </a:extLst>
            </p:cNvPr>
            <p:cNvGrpSpPr>
              <a:grpSpLocks/>
            </p:cNvGrpSpPr>
            <p:nvPr/>
          </p:nvGrpSpPr>
          <p:grpSpPr bwMode="auto">
            <a:xfrm>
              <a:off x="4961054" y="4999495"/>
              <a:ext cx="561359" cy="345098"/>
              <a:chOff x="3880" y="3072"/>
              <a:chExt cx="488" cy="300"/>
            </a:xfrm>
            <a:solidFill>
              <a:schemeClr val="bg1">
                <a:lumMod val="85000"/>
              </a:schemeClr>
            </a:solidFill>
          </p:grpSpPr>
          <p:sp>
            <p:nvSpPr>
              <p:cNvPr id="688" name="Freeform 190">
                <a:extLst>
                  <a:ext uri="{FF2B5EF4-FFF2-40B4-BE49-F238E27FC236}">
                    <a16:creationId xmlns:a16="http://schemas.microsoft.com/office/drawing/2014/main" id="{437B8DCC-780E-3CE8-92BC-20C7BFF2C762}"/>
                  </a:ext>
                </a:extLst>
              </p:cNvPr>
              <p:cNvSpPr>
                <a:spLocks/>
              </p:cNvSpPr>
              <p:nvPr/>
            </p:nvSpPr>
            <p:spPr bwMode="auto">
              <a:xfrm>
                <a:off x="3880" y="3072"/>
                <a:ext cx="488" cy="300"/>
              </a:xfrm>
              <a:custGeom>
                <a:avLst/>
                <a:gdLst/>
                <a:ahLst/>
                <a:cxnLst>
                  <a:cxn ang="0">
                    <a:pos x="29" y="164"/>
                  </a:cxn>
                  <a:cxn ang="0">
                    <a:pos x="0" y="273"/>
                  </a:cxn>
                  <a:cxn ang="0">
                    <a:pos x="58" y="273"/>
                  </a:cxn>
                  <a:cxn ang="0">
                    <a:pos x="86" y="245"/>
                  </a:cxn>
                  <a:cxn ang="0">
                    <a:pos x="144" y="273"/>
                  </a:cxn>
                  <a:cxn ang="0">
                    <a:pos x="230" y="300"/>
                  </a:cxn>
                  <a:cxn ang="0">
                    <a:pos x="230" y="273"/>
                  </a:cxn>
                  <a:cxn ang="0">
                    <a:pos x="144" y="218"/>
                  </a:cxn>
                  <a:cxn ang="0">
                    <a:pos x="172" y="164"/>
                  </a:cxn>
                  <a:cxn ang="0">
                    <a:pos x="258" y="191"/>
                  </a:cxn>
                  <a:cxn ang="0">
                    <a:pos x="316" y="137"/>
                  </a:cxn>
                  <a:cxn ang="0">
                    <a:pos x="402" y="137"/>
                  </a:cxn>
                  <a:cxn ang="0">
                    <a:pos x="488" y="0"/>
                  </a:cxn>
                  <a:cxn ang="0">
                    <a:pos x="373" y="28"/>
                  </a:cxn>
                  <a:cxn ang="0">
                    <a:pos x="345" y="82"/>
                  </a:cxn>
                  <a:cxn ang="0">
                    <a:pos x="258" y="0"/>
                  </a:cxn>
                  <a:cxn ang="0">
                    <a:pos x="115" y="137"/>
                  </a:cxn>
                  <a:cxn ang="0">
                    <a:pos x="29" y="164"/>
                  </a:cxn>
                </a:cxnLst>
                <a:rect l="0" t="0" r="r" b="b"/>
                <a:pathLst>
                  <a:path w="488" h="300">
                    <a:moveTo>
                      <a:pt x="29" y="164"/>
                    </a:moveTo>
                    <a:lnTo>
                      <a:pt x="0" y="273"/>
                    </a:lnTo>
                    <a:lnTo>
                      <a:pt x="58" y="273"/>
                    </a:lnTo>
                    <a:lnTo>
                      <a:pt x="86" y="245"/>
                    </a:lnTo>
                    <a:lnTo>
                      <a:pt x="144" y="273"/>
                    </a:lnTo>
                    <a:lnTo>
                      <a:pt x="230" y="300"/>
                    </a:lnTo>
                    <a:lnTo>
                      <a:pt x="230" y="273"/>
                    </a:lnTo>
                    <a:lnTo>
                      <a:pt x="144" y="218"/>
                    </a:lnTo>
                    <a:lnTo>
                      <a:pt x="172" y="164"/>
                    </a:lnTo>
                    <a:lnTo>
                      <a:pt x="258" y="191"/>
                    </a:lnTo>
                    <a:lnTo>
                      <a:pt x="316" y="137"/>
                    </a:lnTo>
                    <a:lnTo>
                      <a:pt x="402" y="137"/>
                    </a:lnTo>
                    <a:lnTo>
                      <a:pt x="488" y="0"/>
                    </a:lnTo>
                    <a:lnTo>
                      <a:pt x="373" y="28"/>
                    </a:lnTo>
                    <a:lnTo>
                      <a:pt x="345" y="82"/>
                    </a:lnTo>
                    <a:lnTo>
                      <a:pt x="258" y="0"/>
                    </a:lnTo>
                    <a:lnTo>
                      <a:pt x="115" y="137"/>
                    </a:lnTo>
                    <a:lnTo>
                      <a:pt x="29" y="16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89" name="Freeform 191">
                <a:extLst>
                  <a:ext uri="{FF2B5EF4-FFF2-40B4-BE49-F238E27FC236}">
                    <a16:creationId xmlns:a16="http://schemas.microsoft.com/office/drawing/2014/main" id="{C8E8B239-B1C9-4C0B-0E4E-BC9E5A3E5FD1}"/>
                  </a:ext>
                </a:extLst>
              </p:cNvPr>
              <p:cNvSpPr>
                <a:spLocks/>
              </p:cNvSpPr>
              <p:nvPr/>
            </p:nvSpPr>
            <p:spPr bwMode="auto">
              <a:xfrm>
                <a:off x="3880" y="3072"/>
                <a:ext cx="488" cy="300"/>
              </a:xfrm>
              <a:custGeom>
                <a:avLst/>
                <a:gdLst/>
                <a:ahLst/>
                <a:cxnLst>
                  <a:cxn ang="0">
                    <a:pos x="29" y="164"/>
                  </a:cxn>
                  <a:cxn ang="0">
                    <a:pos x="0" y="273"/>
                  </a:cxn>
                  <a:cxn ang="0">
                    <a:pos x="58" y="273"/>
                  </a:cxn>
                  <a:cxn ang="0">
                    <a:pos x="86" y="245"/>
                  </a:cxn>
                  <a:cxn ang="0">
                    <a:pos x="144" y="273"/>
                  </a:cxn>
                  <a:cxn ang="0">
                    <a:pos x="230" y="300"/>
                  </a:cxn>
                  <a:cxn ang="0">
                    <a:pos x="230" y="273"/>
                  </a:cxn>
                  <a:cxn ang="0">
                    <a:pos x="144" y="218"/>
                  </a:cxn>
                  <a:cxn ang="0">
                    <a:pos x="172" y="164"/>
                  </a:cxn>
                  <a:cxn ang="0">
                    <a:pos x="258" y="191"/>
                  </a:cxn>
                  <a:cxn ang="0">
                    <a:pos x="316" y="137"/>
                  </a:cxn>
                  <a:cxn ang="0">
                    <a:pos x="402" y="137"/>
                  </a:cxn>
                  <a:cxn ang="0">
                    <a:pos x="488" y="0"/>
                  </a:cxn>
                  <a:cxn ang="0">
                    <a:pos x="373" y="28"/>
                  </a:cxn>
                  <a:cxn ang="0">
                    <a:pos x="345" y="82"/>
                  </a:cxn>
                  <a:cxn ang="0">
                    <a:pos x="258" y="0"/>
                  </a:cxn>
                  <a:cxn ang="0">
                    <a:pos x="115" y="137"/>
                  </a:cxn>
                  <a:cxn ang="0">
                    <a:pos x="29" y="164"/>
                  </a:cxn>
                </a:cxnLst>
                <a:rect l="0" t="0" r="r" b="b"/>
                <a:pathLst>
                  <a:path w="488" h="300">
                    <a:moveTo>
                      <a:pt x="29" y="164"/>
                    </a:moveTo>
                    <a:lnTo>
                      <a:pt x="0" y="273"/>
                    </a:lnTo>
                    <a:lnTo>
                      <a:pt x="58" y="273"/>
                    </a:lnTo>
                    <a:lnTo>
                      <a:pt x="86" y="245"/>
                    </a:lnTo>
                    <a:lnTo>
                      <a:pt x="144" y="273"/>
                    </a:lnTo>
                    <a:lnTo>
                      <a:pt x="230" y="300"/>
                    </a:lnTo>
                    <a:lnTo>
                      <a:pt x="230" y="273"/>
                    </a:lnTo>
                    <a:lnTo>
                      <a:pt x="144" y="218"/>
                    </a:lnTo>
                    <a:lnTo>
                      <a:pt x="172" y="164"/>
                    </a:lnTo>
                    <a:lnTo>
                      <a:pt x="258" y="191"/>
                    </a:lnTo>
                    <a:lnTo>
                      <a:pt x="316" y="137"/>
                    </a:lnTo>
                    <a:lnTo>
                      <a:pt x="402" y="137"/>
                    </a:lnTo>
                    <a:lnTo>
                      <a:pt x="488" y="0"/>
                    </a:lnTo>
                    <a:lnTo>
                      <a:pt x="373" y="28"/>
                    </a:lnTo>
                    <a:lnTo>
                      <a:pt x="345" y="82"/>
                    </a:lnTo>
                    <a:lnTo>
                      <a:pt x="258" y="0"/>
                    </a:lnTo>
                    <a:lnTo>
                      <a:pt x="115" y="137"/>
                    </a:lnTo>
                    <a:lnTo>
                      <a:pt x="29" y="16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40" name="Group 195">
              <a:extLst>
                <a:ext uri="{FF2B5EF4-FFF2-40B4-BE49-F238E27FC236}">
                  <a16:creationId xmlns:a16="http://schemas.microsoft.com/office/drawing/2014/main" id="{DA25698D-FD4A-7C9E-CBBD-A1400D7196FB}"/>
                </a:ext>
              </a:extLst>
            </p:cNvPr>
            <p:cNvGrpSpPr>
              <a:grpSpLocks/>
            </p:cNvGrpSpPr>
            <p:nvPr/>
          </p:nvGrpSpPr>
          <p:grpSpPr bwMode="auto">
            <a:xfrm>
              <a:off x="3187257" y="4001015"/>
              <a:ext cx="625776" cy="460130"/>
              <a:chOff x="2338" y="2204"/>
              <a:chExt cx="544" cy="400"/>
            </a:xfrm>
            <a:solidFill>
              <a:schemeClr val="bg1">
                <a:lumMod val="85000"/>
              </a:schemeClr>
            </a:solidFill>
          </p:grpSpPr>
          <p:sp>
            <p:nvSpPr>
              <p:cNvPr id="686" name="Freeform 196">
                <a:extLst>
                  <a:ext uri="{FF2B5EF4-FFF2-40B4-BE49-F238E27FC236}">
                    <a16:creationId xmlns:a16="http://schemas.microsoft.com/office/drawing/2014/main" id="{61434C4D-1C35-7E98-6D09-2EB516645A1D}"/>
                  </a:ext>
                </a:extLst>
              </p:cNvPr>
              <p:cNvSpPr>
                <a:spLocks/>
              </p:cNvSpPr>
              <p:nvPr/>
            </p:nvSpPr>
            <p:spPr bwMode="auto">
              <a:xfrm>
                <a:off x="2338" y="2204"/>
                <a:ext cx="544" cy="400"/>
              </a:xfrm>
              <a:custGeom>
                <a:avLst/>
                <a:gdLst/>
                <a:ahLst/>
                <a:cxnLst>
                  <a:cxn ang="0">
                    <a:pos x="136" y="24"/>
                  </a:cxn>
                  <a:cxn ang="0">
                    <a:pos x="111" y="53"/>
                  </a:cxn>
                  <a:cxn ang="0">
                    <a:pos x="29" y="0"/>
                  </a:cxn>
                  <a:cxn ang="0">
                    <a:pos x="0" y="27"/>
                  </a:cxn>
                  <a:cxn ang="0">
                    <a:pos x="57" y="54"/>
                  </a:cxn>
                  <a:cxn ang="0">
                    <a:pos x="115" y="190"/>
                  </a:cxn>
                  <a:cxn ang="0">
                    <a:pos x="201" y="218"/>
                  </a:cxn>
                  <a:cxn ang="0">
                    <a:pos x="201" y="163"/>
                  </a:cxn>
                  <a:cxn ang="0">
                    <a:pos x="143" y="136"/>
                  </a:cxn>
                  <a:cxn ang="0">
                    <a:pos x="229" y="136"/>
                  </a:cxn>
                  <a:cxn ang="0">
                    <a:pos x="229" y="218"/>
                  </a:cxn>
                  <a:cxn ang="0">
                    <a:pos x="172" y="300"/>
                  </a:cxn>
                  <a:cxn ang="0">
                    <a:pos x="373" y="300"/>
                  </a:cxn>
                  <a:cxn ang="0">
                    <a:pos x="423" y="400"/>
                  </a:cxn>
                  <a:cxn ang="0">
                    <a:pos x="430" y="354"/>
                  </a:cxn>
                  <a:cxn ang="0">
                    <a:pos x="487" y="245"/>
                  </a:cxn>
                  <a:cxn ang="0">
                    <a:pos x="544" y="27"/>
                  </a:cxn>
                  <a:cxn ang="0">
                    <a:pos x="143" y="27"/>
                  </a:cxn>
                  <a:cxn ang="0">
                    <a:pos x="136" y="24"/>
                  </a:cxn>
                </a:cxnLst>
                <a:rect l="0" t="0" r="r" b="b"/>
                <a:pathLst>
                  <a:path w="544" h="400">
                    <a:moveTo>
                      <a:pt x="136" y="24"/>
                    </a:moveTo>
                    <a:lnTo>
                      <a:pt x="111" y="53"/>
                    </a:lnTo>
                    <a:lnTo>
                      <a:pt x="29" y="0"/>
                    </a:lnTo>
                    <a:lnTo>
                      <a:pt x="0" y="27"/>
                    </a:lnTo>
                    <a:lnTo>
                      <a:pt x="57" y="54"/>
                    </a:lnTo>
                    <a:lnTo>
                      <a:pt x="115" y="190"/>
                    </a:lnTo>
                    <a:lnTo>
                      <a:pt x="201" y="218"/>
                    </a:lnTo>
                    <a:lnTo>
                      <a:pt x="201" y="163"/>
                    </a:lnTo>
                    <a:lnTo>
                      <a:pt x="143" y="136"/>
                    </a:lnTo>
                    <a:lnTo>
                      <a:pt x="229" y="136"/>
                    </a:lnTo>
                    <a:lnTo>
                      <a:pt x="229" y="218"/>
                    </a:lnTo>
                    <a:lnTo>
                      <a:pt x="172" y="300"/>
                    </a:lnTo>
                    <a:lnTo>
                      <a:pt x="373" y="300"/>
                    </a:lnTo>
                    <a:lnTo>
                      <a:pt x="423" y="400"/>
                    </a:lnTo>
                    <a:lnTo>
                      <a:pt x="430" y="354"/>
                    </a:lnTo>
                    <a:lnTo>
                      <a:pt x="487" y="245"/>
                    </a:lnTo>
                    <a:lnTo>
                      <a:pt x="544" y="27"/>
                    </a:lnTo>
                    <a:lnTo>
                      <a:pt x="143" y="27"/>
                    </a:lnTo>
                    <a:lnTo>
                      <a:pt x="136" y="2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87" name="Freeform 197">
                <a:extLst>
                  <a:ext uri="{FF2B5EF4-FFF2-40B4-BE49-F238E27FC236}">
                    <a16:creationId xmlns:a16="http://schemas.microsoft.com/office/drawing/2014/main" id="{4A185BB6-140E-43C2-53E5-49EB6BC34F43}"/>
                  </a:ext>
                </a:extLst>
              </p:cNvPr>
              <p:cNvSpPr>
                <a:spLocks/>
              </p:cNvSpPr>
              <p:nvPr/>
            </p:nvSpPr>
            <p:spPr bwMode="auto">
              <a:xfrm>
                <a:off x="2338" y="2204"/>
                <a:ext cx="544" cy="400"/>
              </a:xfrm>
              <a:custGeom>
                <a:avLst/>
                <a:gdLst/>
                <a:ahLst/>
                <a:cxnLst>
                  <a:cxn ang="0">
                    <a:pos x="136" y="24"/>
                  </a:cxn>
                  <a:cxn ang="0">
                    <a:pos x="111" y="53"/>
                  </a:cxn>
                  <a:cxn ang="0">
                    <a:pos x="29" y="0"/>
                  </a:cxn>
                  <a:cxn ang="0">
                    <a:pos x="0" y="27"/>
                  </a:cxn>
                  <a:cxn ang="0">
                    <a:pos x="57" y="54"/>
                  </a:cxn>
                  <a:cxn ang="0">
                    <a:pos x="115" y="190"/>
                  </a:cxn>
                  <a:cxn ang="0">
                    <a:pos x="201" y="218"/>
                  </a:cxn>
                  <a:cxn ang="0">
                    <a:pos x="201" y="163"/>
                  </a:cxn>
                  <a:cxn ang="0">
                    <a:pos x="143" y="136"/>
                  </a:cxn>
                  <a:cxn ang="0">
                    <a:pos x="229" y="136"/>
                  </a:cxn>
                  <a:cxn ang="0">
                    <a:pos x="229" y="218"/>
                  </a:cxn>
                  <a:cxn ang="0">
                    <a:pos x="172" y="300"/>
                  </a:cxn>
                  <a:cxn ang="0">
                    <a:pos x="373" y="300"/>
                  </a:cxn>
                  <a:cxn ang="0">
                    <a:pos x="423" y="400"/>
                  </a:cxn>
                  <a:cxn ang="0">
                    <a:pos x="430" y="354"/>
                  </a:cxn>
                  <a:cxn ang="0">
                    <a:pos x="487" y="245"/>
                  </a:cxn>
                  <a:cxn ang="0">
                    <a:pos x="544" y="27"/>
                  </a:cxn>
                  <a:cxn ang="0">
                    <a:pos x="143" y="27"/>
                  </a:cxn>
                </a:cxnLst>
                <a:rect l="0" t="0" r="r" b="b"/>
                <a:pathLst>
                  <a:path w="544" h="400">
                    <a:moveTo>
                      <a:pt x="136" y="24"/>
                    </a:moveTo>
                    <a:lnTo>
                      <a:pt x="111" y="53"/>
                    </a:lnTo>
                    <a:lnTo>
                      <a:pt x="29" y="0"/>
                    </a:lnTo>
                    <a:lnTo>
                      <a:pt x="0" y="27"/>
                    </a:lnTo>
                    <a:lnTo>
                      <a:pt x="57" y="54"/>
                    </a:lnTo>
                    <a:lnTo>
                      <a:pt x="115" y="190"/>
                    </a:lnTo>
                    <a:lnTo>
                      <a:pt x="201" y="218"/>
                    </a:lnTo>
                    <a:lnTo>
                      <a:pt x="201" y="163"/>
                    </a:lnTo>
                    <a:lnTo>
                      <a:pt x="143" y="136"/>
                    </a:lnTo>
                    <a:lnTo>
                      <a:pt x="229" y="136"/>
                    </a:lnTo>
                    <a:lnTo>
                      <a:pt x="229" y="218"/>
                    </a:lnTo>
                    <a:lnTo>
                      <a:pt x="172" y="300"/>
                    </a:lnTo>
                    <a:lnTo>
                      <a:pt x="373" y="300"/>
                    </a:lnTo>
                    <a:lnTo>
                      <a:pt x="423" y="400"/>
                    </a:lnTo>
                    <a:lnTo>
                      <a:pt x="430" y="354"/>
                    </a:lnTo>
                    <a:lnTo>
                      <a:pt x="487" y="245"/>
                    </a:lnTo>
                    <a:lnTo>
                      <a:pt x="544" y="27"/>
                    </a:lnTo>
                    <a:lnTo>
                      <a:pt x="143" y="27"/>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sp>
          <p:nvSpPr>
            <p:cNvPr id="41" name="Rectangle 201">
              <a:extLst>
                <a:ext uri="{FF2B5EF4-FFF2-40B4-BE49-F238E27FC236}">
                  <a16:creationId xmlns:a16="http://schemas.microsoft.com/office/drawing/2014/main" id="{96CDDFE9-0996-F4D9-C42A-CC1A25C56222}"/>
                </a:ext>
              </a:extLst>
            </p:cNvPr>
            <p:cNvSpPr>
              <a:spLocks noChangeArrowheads="1"/>
            </p:cNvSpPr>
            <p:nvPr/>
          </p:nvSpPr>
          <p:spPr bwMode="auto">
            <a:xfrm>
              <a:off x="732464" y="2189253"/>
              <a:ext cx="18723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CADDO</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42" name="Rectangle 202">
              <a:extLst>
                <a:ext uri="{FF2B5EF4-FFF2-40B4-BE49-F238E27FC236}">
                  <a16:creationId xmlns:a16="http://schemas.microsoft.com/office/drawing/2014/main" id="{571E46DE-887D-1CF1-421C-743DE6E7F441}"/>
                </a:ext>
              </a:extLst>
            </p:cNvPr>
            <p:cNvSpPr>
              <a:spLocks noChangeArrowheads="1"/>
            </p:cNvSpPr>
            <p:nvPr/>
          </p:nvSpPr>
          <p:spPr bwMode="auto">
            <a:xfrm>
              <a:off x="1008542" y="1903973"/>
              <a:ext cx="21010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BOSSIER</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43" name="Rectangle 203">
              <a:extLst>
                <a:ext uri="{FF2B5EF4-FFF2-40B4-BE49-F238E27FC236}">
                  <a16:creationId xmlns:a16="http://schemas.microsoft.com/office/drawing/2014/main" id="{DEE542E9-9B0F-FE99-26B4-EF24C6441772}"/>
                </a:ext>
              </a:extLst>
            </p:cNvPr>
            <p:cNvSpPr>
              <a:spLocks noChangeArrowheads="1"/>
            </p:cNvSpPr>
            <p:nvPr/>
          </p:nvSpPr>
          <p:spPr bwMode="auto">
            <a:xfrm>
              <a:off x="1648122" y="1856811"/>
              <a:ext cx="287290"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CLAIBORN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44" name="Rectangle 204">
              <a:extLst>
                <a:ext uri="{FF2B5EF4-FFF2-40B4-BE49-F238E27FC236}">
                  <a16:creationId xmlns:a16="http://schemas.microsoft.com/office/drawing/2014/main" id="{162B6160-F0A6-88E9-CD23-84E997B17213}"/>
                </a:ext>
              </a:extLst>
            </p:cNvPr>
            <p:cNvSpPr>
              <a:spLocks noChangeArrowheads="1"/>
            </p:cNvSpPr>
            <p:nvPr/>
          </p:nvSpPr>
          <p:spPr bwMode="auto">
            <a:xfrm>
              <a:off x="2407336" y="1899370"/>
              <a:ext cx="17723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UNI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45" name="Rectangle 205">
              <a:extLst>
                <a:ext uri="{FF2B5EF4-FFF2-40B4-BE49-F238E27FC236}">
                  <a16:creationId xmlns:a16="http://schemas.microsoft.com/office/drawing/2014/main" id="{B714CC75-4B52-7E86-5B74-8DD192D7FF40}"/>
                </a:ext>
              </a:extLst>
            </p:cNvPr>
            <p:cNvSpPr>
              <a:spLocks noChangeArrowheads="1"/>
            </p:cNvSpPr>
            <p:nvPr/>
          </p:nvSpPr>
          <p:spPr bwMode="auto">
            <a:xfrm>
              <a:off x="2878351" y="1836102"/>
              <a:ext cx="33588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MOREHOUS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46" name="Rectangle 206">
              <a:extLst>
                <a:ext uri="{FF2B5EF4-FFF2-40B4-BE49-F238E27FC236}">
                  <a16:creationId xmlns:a16="http://schemas.microsoft.com/office/drawing/2014/main" id="{05D7C32B-A401-1139-6EB3-EE4BA30A3C9B}"/>
                </a:ext>
              </a:extLst>
            </p:cNvPr>
            <p:cNvSpPr>
              <a:spLocks noChangeArrowheads="1"/>
            </p:cNvSpPr>
            <p:nvPr/>
          </p:nvSpPr>
          <p:spPr bwMode="auto">
            <a:xfrm>
              <a:off x="3364408" y="1863710"/>
              <a:ext cx="142930"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WES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50" name="Rectangle 208">
              <a:extLst>
                <a:ext uri="{FF2B5EF4-FFF2-40B4-BE49-F238E27FC236}">
                  <a16:creationId xmlns:a16="http://schemas.microsoft.com/office/drawing/2014/main" id="{B2F593E0-B059-B0EC-B250-BA6909B1EAA0}"/>
                </a:ext>
              </a:extLst>
            </p:cNvPr>
            <p:cNvSpPr>
              <a:spLocks noChangeArrowheads="1"/>
            </p:cNvSpPr>
            <p:nvPr/>
          </p:nvSpPr>
          <p:spPr bwMode="auto">
            <a:xfrm>
              <a:off x="883157" y="2802376"/>
              <a:ext cx="21010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DESOTO</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51" name="Rectangle 209">
              <a:extLst>
                <a:ext uri="{FF2B5EF4-FFF2-40B4-BE49-F238E27FC236}">
                  <a16:creationId xmlns:a16="http://schemas.microsoft.com/office/drawing/2014/main" id="{597730D3-E1C5-7D4B-3858-58508707F4F4}"/>
                </a:ext>
              </a:extLst>
            </p:cNvPr>
            <p:cNvSpPr>
              <a:spLocks noChangeArrowheads="1"/>
            </p:cNvSpPr>
            <p:nvPr/>
          </p:nvSpPr>
          <p:spPr bwMode="auto">
            <a:xfrm>
              <a:off x="1382399" y="2739109"/>
              <a:ext cx="101481"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RED</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2" name="Rectangle 210">
              <a:extLst>
                <a:ext uri="{FF2B5EF4-FFF2-40B4-BE49-F238E27FC236}">
                  <a16:creationId xmlns:a16="http://schemas.microsoft.com/office/drawing/2014/main" id="{434B3F15-B0DD-508C-1396-4DB32B9A58BA}"/>
                </a:ext>
              </a:extLst>
            </p:cNvPr>
            <p:cNvSpPr>
              <a:spLocks noChangeArrowheads="1"/>
            </p:cNvSpPr>
            <p:nvPr/>
          </p:nvSpPr>
          <p:spPr bwMode="auto">
            <a:xfrm>
              <a:off x="1381571" y="2806978"/>
              <a:ext cx="14721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RIVER</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3" name="Rectangle 211">
              <a:extLst>
                <a:ext uri="{FF2B5EF4-FFF2-40B4-BE49-F238E27FC236}">
                  <a16:creationId xmlns:a16="http://schemas.microsoft.com/office/drawing/2014/main" id="{9669D934-27EE-67CD-35F3-0BE20F8F6AF3}"/>
                </a:ext>
              </a:extLst>
            </p:cNvPr>
            <p:cNvSpPr>
              <a:spLocks noChangeArrowheads="1"/>
            </p:cNvSpPr>
            <p:nvPr/>
          </p:nvSpPr>
          <p:spPr bwMode="auto">
            <a:xfrm>
              <a:off x="1648121" y="2507893"/>
              <a:ext cx="251557"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BIENVILL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4" name="Rectangle 212">
              <a:extLst>
                <a:ext uri="{FF2B5EF4-FFF2-40B4-BE49-F238E27FC236}">
                  <a16:creationId xmlns:a16="http://schemas.microsoft.com/office/drawing/2014/main" id="{3DC8D6BB-AB07-18EB-A52E-EE1C93B3EC4D}"/>
                </a:ext>
              </a:extLst>
            </p:cNvPr>
            <p:cNvSpPr>
              <a:spLocks noChangeArrowheads="1"/>
            </p:cNvSpPr>
            <p:nvPr/>
          </p:nvSpPr>
          <p:spPr bwMode="auto">
            <a:xfrm>
              <a:off x="2116304" y="2457278"/>
              <a:ext cx="23011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JACKS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5" name="Rectangle 213">
              <a:extLst>
                <a:ext uri="{FF2B5EF4-FFF2-40B4-BE49-F238E27FC236}">
                  <a16:creationId xmlns:a16="http://schemas.microsoft.com/office/drawing/2014/main" id="{7A96182D-B69D-BCC4-FED5-56294041A898}"/>
                </a:ext>
              </a:extLst>
            </p:cNvPr>
            <p:cNvSpPr>
              <a:spLocks noChangeArrowheads="1"/>
            </p:cNvSpPr>
            <p:nvPr/>
          </p:nvSpPr>
          <p:spPr bwMode="auto">
            <a:xfrm>
              <a:off x="2004677" y="2168549"/>
              <a:ext cx="22154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LINCOL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6" name="Rectangle 214">
              <a:extLst>
                <a:ext uri="{FF2B5EF4-FFF2-40B4-BE49-F238E27FC236}">
                  <a16:creationId xmlns:a16="http://schemas.microsoft.com/office/drawing/2014/main" id="{14936EB5-7CC6-6074-5588-4C0814831E88}"/>
                </a:ext>
              </a:extLst>
            </p:cNvPr>
            <p:cNvSpPr>
              <a:spLocks noChangeArrowheads="1"/>
            </p:cNvSpPr>
            <p:nvPr/>
          </p:nvSpPr>
          <p:spPr bwMode="auto">
            <a:xfrm>
              <a:off x="2505115" y="2380207"/>
              <a:ext cx="27013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OUACHITA</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7" name="Rectangle 215">
              <a:extLst>
                <a:ext uri="{FF2B5EF4-FFF2-40B4-BE49-F238E27FC236}">
                  <a16:creationId xmlns:a16="http://schemas.microsoft.com/office/drawing/2014/main" id="{8BB7B43B-0130-B575-27E1-BA679F3A5909}"/>
                </a:ext>
              </a:extLst>
            </p:cNvPr>
            <p:cNvSpPr>
              <a:spLocks noChangeArrowheads="1"/>
            </p:cNvSpPr>
            <p:nvPr/>
          </p:nvSpPr>
          <p:spPr bwMode="auto">
            <a:xfrm>
              <a:off x="2990552" y="2364104"/>
              <a:ext cx="26013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RICHLAND</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8" name="Rectangle 216">
              <a:extLst>
                <a:ext uri="{FF2B5EF4-FFF2-40B4-BE49-F238E27FC236}">
                  <a16:creationId xmlns:a16="http://schemas.microsoft.com/office/drawing/2014/main" id="{7B7E058C-2FBA-F2B8-3F09-91C6159C4D99}"/>
                </a:ext>
              </a:extLst>
            </p:cNvPr>
            <p:cNvSpPr>
              <a:spLocks noChangeArrowheads="1"/>
            </p:cNvSpPr>
            <p:nvPr/>
          </p:nvSpPr>
          <p:spPr bwMode="auto">
            <a:xfrm>
              <a:off x="3562261" y="2411266"/>
              <a:ext cx="252987"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MADIS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9" name="Rectangle 217">
              <a:extLst>
                <a:ext uri="{FF2B5EF4-FFF2-40B4-BE49-F238E27FC236}">
                  <a16:creationId xmlns:a16="http://schemas.microsoft.com/office/drawing/2014/main" id="{0A881D90-23B8-AA72-32E7-3F288A092BD5}"/>
                </a:ext>
              </a:extLst>
            </p:cNvPr>
            <p:cNvSpPr>
              <a:spLocks noChangeArrowheads="1"/>
            </p:cNvSpPr>
            <p:nvPr/>
          </p:nvSpPr>
          <p:spPr bwMode="auto">
            <a:xfrm>
              <a:off x="1104020" y="3310819"/>
              <a:ext cx="182950"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SABIN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0" name="Rectangle 237">
              <a:extLst>
                <a:ext uri="{FF2B5EF4-FFF2-40B4-BE49-F238E27FC236}">
                  <a16:creationId xmlns:a16="http://schemas.microsoft.com/office/drawing/2014/main" id="{818CDDF9-C255-02D8-C0FF-86CEB07E4BD1}"/>
                </a:ext>
              </a:extLst>
            </p:cNvPr>
            <p:cNvSpPr>
              <a:spLocks noChangeArrowheads="1"/>
            </p:cNvSpPr>
            <p:nvPr/>
          </p:nvSpPr>
          <p:spPr bwMode="auto">
            <a:xfrm>
              <a:off x="3431124" y="1987946"/>
              <a:ext cx="22725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CARROLL</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1" name="Rectangle 238">
              <a:extLst>
                <a:ext uri="{FF2B5EF4-FFF2-40B4-BE49-F238E27FC236}">
                  <a16:creationId xmlns:a16="http://schemas.microsoft.com/office/drawing/2014/main" id="{EE4C8110-04D2-4635-E9F6-13A20CFC48D2}"/>
                </a:ext>
              </a:extLst>
            </p:cNvPr>
            <p:cNvSpPr>
              <a:spLocks noChangeArrowheads="1"/>
            </p:cNvSpPr>
            <p:nvPr/>
          </p:nvSpPr>
          <p:spPr bwMode="auto">
            <a:xfrm>
              <a:off x="2174970" y="2933514"/>
              <a:ext cx="150077"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WIN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2" name="Rectangle 239">
              <a:extLst>
                <a:ext uri="{FF2B5EF4-FFF2-40B4-BE49-F238E27FC236}">
                  <a16:creationId xmlns:a16="http://schemas.microsoft.com/office/drawing/2014/main" id="{81A1CAE0-3ED6-C1D4-4861-E9978F686639}"/>
                </a:ext>
              </a:extLst>
            </p:cNvPr>
            <p:cNvSpPr>
              <a:spLocks noChangeArrowheads="1"/>
            </p:cNvSpPr>
            <p:nvPr/>
          </p:nvSpPr>
          <p:spPr bwMode="auto">
            <a:xfrm>
              <a:off x="2602533" y="2739109"/>
              <a:ext cx="26870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CALDWELL</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3" name="Rectangle 240">
              <a:extLst>
                <a:ext uri="{FF2B5EF4-FFF2-40B4-BE49-F238E27FC236}">
                  <a16:creationId xmlns:a16="http://schemas.microsoft.com/office/drawing/2014/main" id="{01158AAF-8B08-2291-196E-BFCE5F7B37A7}"/>
                </a:ext>
              </a:extLst>
            </p:cNvPr>
            <p:cNvSpPr>
              <a:spLocks noChangeArrowheads="1"/>
            </p:cNvSpPr>
            <p:nvPr/>
          </p:nvSpPr>
          <p:spPr bwMode="auto">
            <a:xfrm>
              <a:off x="3048066" y="2731055"/>
              <a:ext cx="25012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FRANKLI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4" name="Rectangle 241">
              <a:extLst>
                <a:ext uri="{FF2B5EF4-FFF2-40B4-BE49-F238E27FC236}">
                  <a16:creationId xmlns:a16="http://schemas.microsoft.com/office/drawing/2014/main" id="{27F84447-3C86-9B81-4AF7-5A1DDF5125F6}"/>
                </a:ext>
              </a:extLst>
            </p:cNvPr>
            <p:cNvSpPr>
              <a:spLocks noChangeArrowheads="1"/>
            </p:cNvSpPr>
            <p:nvPr/>
          </p:nvSpPr>
          <p:spPr bwMode="auto">
            <a:xfrm>
              <a:off x="3497844" y="2739109"/>
              <a:ext cx="19295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TENSAS</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5" name="Rectangle 242">
              <a:extLst>
                <a:ext uri="{FF2B5EF4-FFF2-40B4-BE49-F238E27FC236}">
                  <a16:creationId xmlns:a16="http://schemas.microsoft.com/office/drawing/2014/main" id="{38EDE1A8-3B84-B92E-124C-CE00FA7F07FE}"/>
                </a:ext>
              </a:extLst>
            </p:cNvPr>
            <p:cNvSpPr>
              <a:spLocks noChangeArrowheads="1"/>
            </p:cNvSpPr>
            <p:nvPr/>
          </p:nvSpPr>
          <p:spPr bwMode="auto">
            <a:xfrm>
              <a:off x="2182062" y="3349930"/>
              <a:ext cx="17723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GRAN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6" name="Rectangle 243">
              <a:extLst>
                <a:ext uri="{FF2B5EF4-FFF2-40B4-BE49-F238E27FC236}">
                  <a16:creationId xmlns:a16="http://schemas.microsoft.com/office/drawing/2014/main" id="{E7ADB673-8A5D-8F5B-FA44-A54577B28E99}"/>
                </a:ext>
              </a:extLst>
            </p:cNvPr>
            <p:cNvSpPr>
              <a:spLocks noChangeArrowheads="1"/>
            </p:cNvSpPr>
            <p:nvPr/>
          </p:nvSpPr>
          <p:spPr bwMode="auto">
            <a:xfrm>
              <a:off x="2540681" y="3254454"/>
              <a:ext cx="20724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LASALL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7" name="Rectangle 244">
              <a:extLst>
                <a:ext uri="{FF2B5EF4-FFF2-40B4-BE49-F238E27FC236}">
                  <a16:creationId xmlns:a16="http://schemas.microsoft.com/office/drawing/2014/main" id="{086012C9-3F13-7039-D0AE-D3A785B2E6F4}"/>
                </a:ext>
              </a:extLst>
            </p:cNvPr>
            <p:cNvSpPr>
              <a:spLocks noChangeArrowheads="1"/>
            </p:cNvSpPr>
            <p:nvPr/>
          </p:nvSpPr>
          <p:spPr bwMode="auto">
            <a:xfrm>
              <a:off x="2924983" y="3076154"/>
              <a:ext cx="31587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CATAHOULA</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8" name="Rectangle 254">
              <a:extLst>
                <a:ext uri="{FF2B5EF4-FFF2-40B4-BE49-F238E27FC236}">
                  <a16:creationId xmlns:a16="http://schemas.microsoft.com/office/drawing/2014/main" id="{B3C7BC3D-F369-6AA0-D707-FC3600C30216}"/>
                </a:ext>
              </a:extLst>
            </p:cNvPr>
            <p:cNvSpPr>
              <a:spLocks noChangeArrowheads="1"/>
            </p:cNvSpPr>
            <p:nvPr/>
          </p:nvSpPr>
          <p:spPr bwMode="auto">
            <a:xfrm>
              <a:off x="1490528" y="3913589"/>
              <a:ext cx="22011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VERN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79" name="Rectangle 255">
              <a:extLst>
                <a:ext uri="{FF2B5EF4-FFF2-40B4-BE49-F238E27FC236}">
                  <a16:creationId xmlns:a16="http://schemas.microsoft.com/office/drawing/2014/main" id="{4529FBFA-3AEE-A2D0-3F21-9C3E6FAA7BDD}"/>
                </a:ext>
              </a:extLst>
            </p:cNvPr>
            <p:cNvSpPr>
              <a:spLocks noChangeArrowheads="1"/>
            </p:cNvSpPr>
            <p:nvPr/>
          </p:nvSpPr>
          <p:spPr bwMode="auto">
            <a:xfrm>
              <a:off x="2192227" y="3864125"/>
              <a:ext cx="21296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RAPIDES</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0" name="Rectangle 256">
              <a:extLst>
                <a:ext uri="{FF2B5EF4-FFF2-40B4-BE49-F238E27FC236}">
                  <a16:creationId xmlns:a16="http://schemas.microsoft.com/office/drawing/2014/main" id="{6E56E566-1A4F-E782-2937-0870AA0DE6AE}"/>
                </a:ext>
              </a:extLst>
            </p:cNvPr>
            <p:cNvSpPr>
              <a:spLocks noChangeArrowheads="1"/>
            </p:cNvSpPr>
            <p:nvPr/>
          </p:nvSpPr>
          <p:spPr bwMode="auto">
            <a:xfrm>
              <a:off x="2763937" y="3944648"/>
              <a:ext cx="28300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AVOYELLES</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1" name="Rectangle 262">
              <a:extLst>
                <a:ext uri="{FF2B5EF4-FFF2-40B4-BE49-F238E27FC236}">
                  <a16:creationId xmlns:a16="http://schemas.microsoft.com/office/drawing/2014/main" id="{4574A69A-0D5B-C3A1-F558-5A6DF3029D74}"/>
                </a:ext>
              </a:extLst>
            </p:cNvPr>
            <p:cNvSpPr>
              <a:spLocks noChangeArrowheads="1"/>
            </p:cNvSpPr>
            <p:nvPr/>
          </p:nvSpPr>
          <p:spPr bwMode="auto">
            <a:xfrm>
              <a:off x="3272380" y="4418582"/>
              <a:ext cx="188667"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POINT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2" name="Rectangle 263">
              <a:extLst>
                <a:ext uri="{FF2B5EF4-FFF2-40B4-BE49-F238E27FC236}">
                  <a16:creationId xmlns:a16="http://schemas.microsoft.com/office/drawing/2014/main" id="{950ABCE7-DCDB-2319-B6CE-BBF557BF9290}"/>
                </a:ext>
              </a:extLst>
            </p:cNvPr>
            <p:cNvSpPr>
              <a:spLocks noChangeArrowheads="1"/>
            </p:cNvSpPr>
            <p:nvPr/>
          </p:nvSpPr>
          <p:spPr bwMode="auto">
            <a:xfrm>
              <a:off x="3272379" y="4486450"/>
              <a:ext cx="205819"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COUPE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3" name="Rectangle 264">
              <a:extLst>
                <a:ext uri="{FF2B5EF4-FFF2-40B4-BE49-F238E27FC236}">
                  <a16:creationId xmlns:a16="http://schemas.microsoft.com/office/drawing/2014/main" id="{5B745926-1C9D-A5F1-6E69-D5456A21B9BD}"/>
                </a:ext>
              </a:extLst>
            </p:cNvPr>
            <p:cNvSpPr>
              <a:spLocks noChangeArrowheads="1"/>
            </p:cNvSpPr>
            <p:nvPr/>
          </p:nvSpPr>
          <p:spPr bwMode="auto">
            <a:xfrm>
              <a:off x="3488640" y="4079236"/>
              <a:ext cx="121491"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WES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4" name="Rectangle 265">
              <a:extLst>
                <a:ext uri="{FF2B5EF4-FFF2-40B4-BE49-F238E27FC236}">
                  <a16:creationId xmlns:a16="http://schemas.microsoft.com/office/drawing/2014/main" id="{363A7371-4EE3-7735-7134-EACF07A6D2E7}"/>
                </a:ext>
              </a:extLst>
            </p:cNvPr>
            <p:cNvSpPr>
              <a:spLocks noChangeArrowheads="1"/>
            </p:cNvSpPr>
            <p:nvPr/>
          </p:nvSpPr>
          <p:spPr bwMode="auto">
            <a:xfrm>
              <a:off x="3488641" y="4135603"/>
              <a:ext cx="217253"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FELICIANA</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5" name="Rectangle 266">
              <a:extLst>
                <a:ext uri="{FF2B5EF4-FFF2-40B4-BE49-F238E27FC236}">
                  <a16:creationId xmlns:a16="http://schemas.microsoft.com/office/drawing/2014/main" id="{661EC05B-9856-6287-765B-3EA2BE152591}"/>
                </a:ext>
              </a:extLst>
            </p:cNvPr>
            <p:cNvSpPr>
              <a:spLocks noChangeArrowheads="1"/>
            </p:cNvSpPr>
            <p:nvPr/>
          </p:nvSpPr>
          <p:spPr bwMode="auto">
            <a:xfrm>
              <a:off x="3877451" y="4119497"/>
              <a:ext cx="12435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EAS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6" name="Rectangle 267">
              <a:extLst>
                <a:ext uri="{FF2B5EF4-FFF2-40B4-BE49-F238E27FC236}">
                  <a16:creationId xmlns:a16="http://schemas.microsoft.com/office/drawing/2014/main" id="{D7FEEC30-A900-028B-A189-DD23D6EAAAA7}"/>
                </a:ext>
              </a:extLst>
            </p:cNvPr>
            <p:cNvSpPr>
              <a:spLocks noChangeArrowheads="1"/>
            </p:cNvSpPr>
            <p:nvPr/>
          </p:nvSpPr>
          <p:spPr bwMode="auto">
            <a:xfrm>
              <a:off x="3798080" y="4186217"/>
              <a:ext cx="26013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FELICIANA</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7" name="Rectangle 268">
              <a:extLst>
                <a:ext uri="{FF2B5EF4-FFF2-40B4-BE49-F238E27FC236}">
                  <a16:creationId xmlns:a16="http://schemas.microsoft.com/office/drawing/2014/main" id="{3C9A68C5-0374-D5E6-AAF7-EE8A1EAB0E32}"/>
                </a:ext>
              </a:extLst>
            </p:cNvPr>
            <p:cNvSpPr>
              <a:spLocks noChangeArrowheads="1"/>
            </p:cNvSpPr>
            <p:nvPr/>
          </p:nvSpPr>
          <p:spPr bwMode="auto">
            <a:xfrm>
              <a:off x="4250155" y="4163209"/>
              <a:ext cx="150077"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SAIN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8" name="Rectangle 269">
              <a:extLst>
                <a:ext uri="{FF2B5EF4-FFF2-40B4-BE49-F238E27FC236}">
                  <a16:creationId xmlns:a16="http://schemas.microsoft.com/office/drawing/2014/main" id="{09AC4C34-C79B-CB7A-CAEC-2D2DB94B6DEE}"/>
                </a:ext>
              </a:extLst>
            </p:cNvPr>
            <p:cNvSpPr>
              <a:spLocks noChangeArrowheads="1"/>
            </p:cNvSpPr>
            <p:nvPr/>
          </p:nvSpPr>
          <p:spPr bwMode="auto">
            <a:xfrm>
              <a:off x="4234052" y="4229930"/>
              <a:ext cx="20010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HELENA</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89" name="Rectangle 294">
              <a:extLst>
                <a:ext uri="{FF2B5EF4-FFF2-40B4-BE49-F238E27FC236}">
                  <a16:creationId xmlns:a16="http://schemas.microsoft.com/office/drawing/2014/main" id="{5801C912-98F0-FB76-DC58-A45E5D6A3787}"/>
                </a:ext>
              </a:extLst>
            </p:cNvPr>
            <p:cNvSpPr>
              <a:spLocks noChangeArrowheads="1"/>
            </p:cNvSpPr>
            <p:nvPr/>
          </p:nvSpPr>
          <p:spPr bwMode="auto">
            <a:xfrm>
              <a:off x="4817698" y="4137903"/>
              <a:ext cx="36304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WASHINGT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0" name="Rectangle 295">
              <a:extLst>
                <a:ext uri="{FF2B5EF4-FFF2-40B4-BE49-F238E27FC236}">
                  <a16:creationId xmlns:a16="http://schemas.microsoft.com/office/drawing/2014/main" id="{D008D0AF-437E-8683-E94C-4CB3CB32DFC4}"/>
                </a:ext>
              </a:extLst>
            </p:cNvPr>
            <p:cNvSpPr>
              <a:spLocks noChangeArrowheads="1"/>
            </p:cNvSpPr>
            <p:nvPr/>
          </p:nvSpPr>
          <p:spPr bwMode="auto">
            <a:xfrm>
              <a:off x="3818182" y="4511758"/>
              <a:ext cx="105768"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EAS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1" name="Rectangle 296">
              <a:extLst>
                <a:ext uri="{FF2B5EF4-FFF2-40B4-BE49-F238E27FC236}">
                  <a16:creationId xmlns:a16="http://schemas.microsoft.com/office/drawing/2014/main" id="{0660AAE3-842A-0543-7ED0-6267B501ACEC}"/>
                </a:ext>
              </a:extLst>
            </p:cNvPr>
            <p:cNvSpPr>
              <a:spLocks noChangeArrowheads="1"/>
            </p:cNvSpPr>
            <p:nvPr/>
          </p:nvSpPr>
          <p:spPr bwMode="auto">
            <a:xfrm>
              <a:off x="3832588" y="4566974"/>
              <a:ext cx="151506"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BAT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2" name="Rectangle 297">
              <a:extLst>
                <a:ext uri="{FF2B5EF4-FFF2-40B4-BE49-F238E27FC236}">
                  <a16:creationId xmlns:a16="http://schemas.microsoft.com/office/drawing/2014/main" id="{1B540569-465B-46ED-EE6D-6482FF05F428}"/>
                </a:ext>
              </a:extLst>
            </p:cNvPr>
            <p:cNvSpPr>
              <a:spLocks noChangeArrowheads="1"/>
            </p:cNvSpPr>
            <p:nvPr/>
          </p:nvSpPr>
          <p:spPr bwMode="auto">
            <a:xfrm>
              <a:off x="3845567" y="4623341"/>
              <a:ext cx="154364"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ROUG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3" name="Rectangle 298">
              <a:extLst>
                <a:ext uri="{FF2B5EF4-FFF2-40B4-BE49-F238E27FC236}">
                  <a16:creationId xmlns:a16="http://schemas.microsoft.com/office/drawing/2014/main" id="{1AA6B0B5-3FBD-CC41-6E32-D7B270C22692}"/>
                </a:ext>
              </a:extLst>
            </p:cNvPr>
            <p:cNvSpPr>
              <a:spLocks noChangeArrowheads="1"/>
            </p:cNvSpPr>
            <p:nvPr/>
          </p:nvSpPr>
          <p:spPr bwMode="auto">
            <a:xfrm>
              <a:off x="4129372" y="4676255"/>
              <a:ext cx="311588"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LIVINGST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4" name="Rectangle 299">
              <a:extLst>
                <a:ext uri="{FF2B5EF4-FFF2-40B4-BE49-F238E27FC236}">
                  <a16:creationId xmlns:a16="http://schemas.microsoft.com/office/drawing/2014/main" id="{A3659E7C-EE88-414A-FB24-322EB25CED54}"/>
                </a:ext>
              </a:extLst>
            </p:cNvPr>
            <p:cNvSpPr>
              <a:spLocks noChangeArrowheads="1"/>
            </p:cNvSpPr>
            <p:nvPr/>
          </p:nvSpPr>
          <p:spPr bwMode="auto">
            <a:xfrm>
              <a:off x="5050781" y="4522110"/>
              <a:ext cx="150077"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SAIN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5" name="Rectangle 300">
              <a:extLst>
                <a:ext uri="{FF2B5EF4-FFF2-40B4-BE49-F238E27FC236}">
                  <a16:creationId xmlns:a16="http://schemas.microsoft.com/office/drawing/2014/main" id="{DCA68260-4AAE-85CE-22EA-387E10ECD0B9}"/>
                </a:ext>
              </a:extLst>
            </p:cNvPr>
            <p:cNvSpPr>
              <a:spLocks noChangeArrowheads="1"/>
            </p:cNvSpPr>
            <p:nvPr/>
          </p:nvSpPr>
          <p:spPr bwMode="auto">
            <a:xfrm>
              <a:off x="5002469" y="4589980"/>
              <a:ext cx="27728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TAMMANY</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6" name="Rectangle 301">
              <a:extLst>
                <a:ext uri="{FF2B5EF4-FFF2-40B4-BE49-F238E27FC236}">
                  <a16:creationId xmlns:a16="http://schemas.microsoft.com/office/drawing/2014/main" id="{CF03FB4F-D782-E07D-3262-18389D141C43}"/>
                </a:ext>
              </a:extLst>
            </p:cNvPr>
            <p:cNvSpPr>
              <a:spLocks noChangeArrowheads="1"/>
            </p:cNvSpPr>
            <p:nvPr/>
          </p:nvSpPr>
          <p:spPr bwMode="auto">
            <a:xfrm>
              <a:off x="3570314" y="4975339"/>
              <a:ext cx="244411"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IBERVILL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7" name="Rectangle 302">
              <a:extLst>
                <a:ext uri="{FF2B5EF4-FFF2-40B4-BE49-F238E27FC236}">
                  <a16:creationId xmlns:a16="http://schemas.microsoft.com/office/drawing/2014/main" id="{EF5764E4-B0B4-DAAE-A92A-6CCC62749414}"/>
                </a:ext>
              </a:extLst>
            </p:cNvPr>
            <p:cNvSpPr>
              <a:spLocks noChangeArrowheads="1"/>
            </p:cNvSpPr>
            <p:nvPr/>
          </p:nvSpPr>
          <p:spPr bwMode="auto">
            <a:xfrm>
              <a:off x="3594468" y="4598032"/>
              <a:ext cx="121491"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WES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8" name="Rectangle 303">
              <a:extLst>
                <a:ext uri="{FF2B5EF4-FFF2-40B4-BE49-F238E27FC236}">
                  <a16:creationId xmlns:a16="http://schemas.microsoft.com/office/drawing/2014/main" id="{0178898B-13BC-FCA6-9F78-D6931310ADE4}"/>
                </a:ext>
              </a:extLst>
            </p:cNvPr>
            <p:cNvSpPr>
              <a:spLocks noChangeArrowheads="1"/>
            </p:cNvSpPr>
            <p:nvPr/>
          </p:nvSpPr>
          <p:spPr bwMode="auto">
            <a:xfrm>
              <a:off x="3602523" y="4655549"/>
              <a:ext cx="151506"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BAT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99" name="Rectangle 304">
              <a:extLst>
                <a:ext uri="{FF2B5EF4-FFF2-40B4-BE49-F238E27FC236}">
                  <a16:creationId xmlns:a16="http://schemas.microsoft.com/office/drawing/2014/main" id="{684DB4F9-FD61-BDE7-FEF2-6565B42E3CC8}"/>
                </a:ext>
              </a:extLst>
            </p:cNvPr>
            <p:cNvSpPr>
              <a:spLocks noChangeArrowheads="1"/>
            </p:cNvSpPr>
            <p:nvPr/>
          </p:nvSpPr>
          <p:spPr bwMode="auto">
            <a:xfrm>
              <a:off x="3615501" y="4710763"/>
              <a:ext cx="154364" cy="61746"/>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ROUG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100" name="Rectangle 305">
              <a:extLst>
                <a:ext uri="{FF2B5EF4-FFF2-40B4-BE49-F238E27FC236}">
                  <a16:creationId xmlns:a16="http://schemas.microsoft.com/office/drawing/2014/main" id="{0A65CA4E-96A5-0CFF-D60D-8786A955A2D8}"/>
                </a:ext>
              </a:extLst>
            </p:cNvPr>
            <p:cNvSpPr>
              <a:spLocks noChangeArrowheads="1"/>
            </p:cNvSpPr>
            <p:nvPr/>
          </p:nvSpPr>
          <p:spPr bwMode="auto">
            <a:xfrm>
              <a:off x="4020091" y="4969585"/>
              <a:ext cx="244411" cy="61746"/>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ASCENSI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101" name="Rectangle 306">
              <a:extLst>
                <a:ext uri="{FF2B5EF4-FFF2-40B4-BE49-F238E27FC236}">
                  <a16:creationId xmlns:a16="http://schemas.microsoft.com/office/drawing/2014/main" id="{E28D9256-FE9E-6BC7-7426-696B0ACBF2F6}"/>
                </a:ext>
              </a:extLst>
            </p:cNvPr>
            <p:cNvSpPr>
              <a:spLocks noChangeArrowheads="1"/>
            </p:cNvSpPr>
            <p:nvPr/>
          </p:nvSpPr>
          <p:spPr bwMode="auto">
            <a:xfrm>
              <a:off x="4471018" y="5037457"/>
              <a:ext cx="125778" cy="61746"/>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SAIN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102" name="Rectangle 307">
              <a:extLst>
                <a:ext uri="{FF2B5EF4-FFF2-40B4-BE49-F238E27FC236}">
                  <a16:creationId xmlns:a16="http://schemas.microsoft.com/office/drawing/2014/main" id="{13861D20-4DF2-B4B7-CEEB-6B9D6238EB0D}"/>
                </a:ext>
              </a:extLst>
            </p:cNvPr>
            <p:cNvSpPr>
              <a:spLocks noChangeArrowheads="1"/>
            </p:cNvSpPr>
            <p:nvPr/>
          </p:nvSpPr>
          <p:spPr bwMode="auto">
            <a:xfrm>
              <a:off x="4468716" y="5096123"/>
              <a:ext cx="114344" cy="61746"/>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JOH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103" name="Rectangle 319">
              <a:extLst>
                <a:ext uri="{FF2B5EF4-FFF2-40B4-BE49-F238E27FC236}">
                  <a16:creationId xmlns:a16="http://schemas.microsoft.com/office/drawing/2014/main" id="{757AF4FD-F1D5-2ED6-FEC8-E4F08DA737BD}"/>
                </a:ext>
              </a:extLst>
            </p:cNvPr>
            <p:cNvSpPr>
              <a:spLocks noChangeArrowheads="1"/>
            </p:cNvSpPr>
            <p:nvPr/>
          </p:nvSpPr>
          <p:spPr bwMode="auto">
            <a:xfrm>
              <a:off x="3994043" y="5857638"/>
              <a:ext cx="340174"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TERREBONNE</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104" name="Rectangle 340">
              <a:extLst>
                <a:ext uri="{FF2B5EF4-FFF2-40B4-BE49-F238E27FC236}">
                  <a16:creationId xmlns:a16="http://schemas.microsoft.com/office/drawing/2014/main" id="{1E9C1AFD-F484-9366-D436-4443514BD4B0}"/>
                </a:ext>
              </a:extLst>
            </p:cNvPr>
            <p:cNvSpPr>
              <a:spLocks noChangeArrowheads="1"/>
            </p:cNvSpPr>
            <p:nvPr/>
          </p:nvSpPr>
          <p:spPr bwMode="auto">
            <a:xfrm>
              <a:off x="5292350" y="5358397"/>
              <a:ext cx="354467" cy="61746"/>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SAINT  BERNARD</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105" name="Rectangle 341">
              <a:extLst>
                <a:ext uri="{FF2B5EF4-FFF2-40B4-BE49-F238E27FC236}">
                  <a16:creationId xmlns:a16="http://schemas.microsoft.com/office/drawing/2014/main" id="{6DB8031C-FE97-C6A5-C9FD-39EC4325E5BB}"/>
                </a:ext>
              </a:extLst>
            </p:cNvPr>
            <p:cNvSpPr>
              <a:spLocks noChangeArrowheads="1"/>
            </p:cNvSpPr>
            <p:nvPr/>
          </p:nvSpPr>
          <p:spPr bwMode="auto">
            <a:xfrm>
              <a:off x="5179620" y="5086921"/>
              <a:ext cx="197243" cy="61746"/>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ORLEANS</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106" name="Rectangle 342">
              <a:extLst>
                <a:ext uri="{FF2B5EF4-FFF2-40B4-BE49-F238E27FC236}">
                  <a16:creationId xmlns:a16="http://schemas.microsoft.com/office/drawing/2014/main" id="{D4176B26-6397-C202-441D-E1C7C956E494}"/>
                </a:ext>
              </a:extLst>
            </p:cNvPr>
            <p:cNvSpPr>
              <a:spLocks noChangeArrowheads="1"/>
            </p:cNvSpPr>
            <p:nvPr/>
          </p:nvSpPr>
          <p:spPr bwMode="auto">
            <a:xfrm>
              <a:off x="3794279" y="5264069"/>
              <a:ext cx="288719" cy="61746"/>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C5C5C5"/>
                  </a:solidFill>
                  <a:effectLst/>
                  <a:uLnTx/>
                  <a:uFillTx/>
                  <a:latin typeface="Calibri"/>
                  <a:ea typeface="+mn-ea"/>
                  <a:cs typeface="+mn-cs"/>
                </a:rPr>
                <a:t>ASSUMPTION</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107" name="Rectangle 343">
              <a:extLst>
                <a:ext uri="{FF2B5EF4-FFF2-40B4-BE49-F238E27FC236}">
                  <a16:creationId xmlns:a16="http://schemas.microsoft.com/office/drawing/2014/main" id="{5910B2DE-9AFA-7250-2ABF-B672F6862B22}"/>
                </a:ext>
              </a:extLst>
            </p:cNvPr>
            <p:cNvSpPr>
              <a:spLocks noChangeArrowheads="1"/>
            </p:cNvSpPr>
            <p:nvPr/>
          </p:nvSpPr>
          <p:spPr bwMode="auto">
            <a:xfrm>
              <a:off x="4160430" y="5137535"/>
              <a:ext cx="7432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ST.</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108" name="Rectangle 344">
              <a:extLst>
                <a:ext uri="{FF2B5EF4-FFF2-40B4-BE49-F238E27FC236}">
                  <a16:creationId xmlns:a16="http://schemas.microsoft.com/office/drawing/2014/main" id="{7C7CFED7-F134-3E07-7676-D5812C1B34C7}"/>
                </a:ext>
              </a:extLst>
            </p:cNvPr>
            <p:cNvSpPr>
              <a:spLocks noChangeArrowheads="1"/>
            </p:cNvSpPr>
            <p:nvPr/>
          </p:nvSpPr>
          <p:spPr bwMode="auto">
            <a:xfrm>
              <a:off x="4160430" y="5204252"/>
              <a:ext cx="18152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C5C5C5"/>
                  </a:solidFill>
                  <a:effectLst/>
                  <a:uLnTx/>
                  <a:uFillTx/>
                  <a:latin typeface="Calibri"/>
                  <a:ea typeface="+mn-ea"/>
                  <a:cs typeface="+mn-cs"/>
                </a:rPr>
                <a:t>JAM ES</a:t>
              </a: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nvGrpSpPr>
            <p:cNvPr id="109" name="Group 345">
              <a:extLst>
                <a:ext uri="{FF2B5EF4-FFF2-40B4-BE49-F238E27FC236}">
                  <a16:creationId xmlns:a16="http://schemas.microsoft.com/office/drawing/2014/main" id="{03821858-9E42-33C5-ABA7-BFC1700CA875}"/>
                </a:ext>
              </a:extLst>
            </p:cNvPr>
            <p:cNvGrpSpPr>
              <a:grpSpLocks/>
            </p:cNvGrpSpPr>
            <p:nvPr/>
          </p:nvGrpSpPr>
          <p:grpSpPr bwMode="auto">
            <a:xfrm>
              <a:off x="672649" y="1691164"/>
              <a:ext cx="659136" cy="967423"/>
              <a:chOff x="152" y="196"/>
              <a:chExt cx="573" cy="841"/>
            </a:xfrm>
            <a:solidFill>
              <a:schemeClr val="bg1">
                <a:lumMod val="85000"/>
              </a:schemeClr>
            </a:solidFill>
          </p:grpSpPr>
          <p:sp>
            <p:nvSpPr>
              <p:cNvPr id="684" name="Freeform 346">
                <a:extLst>
                  <a:ext uri="{FF2B5EF4-FFF2-40B4-BE49-F238E27FC236}">
                    <a16:creationId xmlns:a16="http://schemas.microsoft.com/office/drawing/2014/main" id="{0FFCD97E-782A-7240-EA6F-76822A814ECE}"/>
                  </a:ext>
                </a:extLst>
              </p:cNvPr>
              <p:cNvSpPr>
                <a:spLocks/>
              </p:cNvSpPr>
              <p:nvPr/>
            </p:nvSpPr>
            <p:spPr bwMode="auto">
              <a:xfrm>
                <a:off x="152" y="196"/>
                <a:ext cx="573" cy="841"/>
              </a:xfrm>
              <a:custGeom>
                <a:avLst/>
                <a:gdLst/>
                <a:ahLst/>
                <a:cxnLst>
                  <a:cxn ang="0">
                    <a:pos x="29" y="0"/>
                  </a:cxn>
                  <a:cxn ang="0">
                    <a:pos x="229" y="0"/>
                  </a:cxn>
                  <a:cxn ang="0">
                    <a:pos x="257" y="299"/>
                  </a:cxn>
                  <a:cxn ang="0">
                    <a:pos x="314" y="542"/>
                  </a:cxn>
                  <a:cxn ang="0">
                    <a:pos x="400" y="678"/>
                  </a:cxn>
                  <a:cxn ang="0">
                    <a:pos x="573" y="814"/>
                  </a:cxn>
                  <a:cxn ang="0">
                    <a:pos x="429" y="814"/>
                  </a:cxn>
                  <a:cxn ang="0">
                    <a:pos x="372" y="733"/>
                  </a:cxn>
                  <a:cxn ang="0">
                    <a:pos x="229" y="705"/>
                  </a:cxn>
                  <a:cxn ang="0">
                    <a:pos x="114" y="841"/>
                  </a:cxn>
                  <a:cxn ang="0">
                    <a:pos x="0" y="841"/>
                  </a:cxn>
                  <a:cxn ang="0">
                    <a:pos x="29" y="0"/>
                  </a:cxn>
                </a:cxnLst>
                <a:rect l="0" t="0" r="r" b="b"/>
                <a:pathLst>
                  <a:path w="573" h="841">
                    <a:moveTo>
                      <a:pt x="29" y="0"/>
                    </a:moveTo>
                    <a:lnTo>
                      <a:pt x="229" y="0"/>
                    </a:lnTo>
                    <a:lnTo>
                      <a:pt x="257" y="299"/>
                    </a:lnTo>
                    <a:lnTo>
                      <a:pt x="314" y="542"/>
                    </a:lnTo>
                    <a:lnTo>
                      <a:pt x="400" y="678"/>
                    </a:lnTo>
                    <a:lnTo>
                      <a:pt x="573" y="814"/>
                    </a:lnTo>
                    <a:lnTo>
                      <a:pt x="429" y="814"/>
                    </a:lnTo>
                    <a:lnTo>
                      <a:pt x="372" y="733"/>
                    </a:lnTo>
                    <a:lnTo>
                      <a:pt x="229" y="705"/>
                    </a:lnTo>
                    <a:lnTo>
                      <a:pt x="114" y="841"/>
                    </a:lnTo>
                    <a:lnTo>
                      <a:pt x="0" y="841"/>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85" name="Freeform 347">
                <a:extLst>
                  <a:ext uri="{FF2B5EF4-FFF2-40B4-BE49-F238E27FC236}">
                    <a16:creationId xmlns:a16="http://schemas.microsoft.com/office/drawing/2014/main" id="{239BCC00-35FA-9768-15D4-B93566AE74E1}"/>
                  </a:ext>
                </a:extLst>
              </p:cNvPr>
              <p:cNvSpPr>
                <a:spLocks/>
              </p:cNvSpPr>
              <p:nvPr/>
            </p:nvSpPr>
            <p:spPr bwMode="auto">
              <a:xfrm>
                <a:off x="152" y="196"/>
                <a:ext cx="573" cy="841"/>
              </a:xfrm>
              <a:custGeom>
                <a:avLst/>
                <a:gdLst/>
                <a:ahLst/>
                <a:cxnLst>
                  <a:cxn ang="0">
                    <a:pos x="29" y="0"/>
                  </a:cxn>
                  <a:cxn ang="0">
                    <a:pos x="229" y="0"/>
                  </a:cxn>
                  <a:cxn ang="0">
                    <a:pos x="257" y="299"/>
                  </a:cxn>
                  <a:cxn ang="0">
                    <a:pos x="314" y="542"/>
                  </a:cxn>
                  <a:cxn ang="0">
                    <a:pos x="400" y="678"/>
                  </a:cxn>
                  <a:cxn ang="0">
                    <a:pos x="573" y="814"/>
                  </a:cxn>
                  <a:cxn ang="0">
                    <a:pos x="429" y="814"/>
                  </a:cxn>
                  <a:cxn ang="0">
                    <a:pos x="372" y="733"/>
                  </a:cxn>
                  <a:cxn ang="0">
                    <a:pos x="229" y="705"/>
                  </a:cxn>
                  <a:cxn ang="0">
                    <a:pos x="114" y="841"/>
                  </a:cxn>
                  <a:cxn ang="0">
                    <a:pos x="0" y="841"/>
                  </a:cxn>
                  <a:cxn ang="0">
                    <a:pos x="29" y="0"/>
                  </a:cxn>
                </a:cxnLst>
                <a:rect l="0" t="0" r="r" b="b"/>
                <a:pathLst>
                  <a:path w="573" h="841">
                    <a:moveTo>
                      <a:pt x="29" y="0"/>
                    </a:moveTo>
                    <a:lnTo>
                      <a:pt x="229" y="0"/>
                    </a:lnTo>
                    <a:lnTo>
                      <a:pt x="257" y="299"/>
                    </a:lnTo>
                    <a:lnTo>
                      <a:pt x="314" y="542"/>
                    </a:lnTo>
                    <a:lnTo>
                      <a:pt x="400" y="678"/>
                    </a:lnTo>
                    <a:lnTo>
                      <a:pt x="573" y="814"/>
                    </a:lnTo>
                    <a:lnTo>
                      <a:pt x="429" y="814"/>
                    </a:lnTo>
                    <a:lnTo>
                      <a:pt x="372" y="733"/>
                    </a:lnTo>
                    <a:lnTo>
                      <a:pt x="229" y="705"/>
                    </a:lnTo>
                    <a:lnTo>
                      <a:pt x="114" y="841"/>
                    </a:lnTo>
                    <a:lnTo>
                      <a:pt x="0" y="841"/>
                    </a:lnTo>
                    <a:lnTo>
                      <a:pt x="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0" name="Group 348">
              <a:extLst>
                <a:ext uri="{FF2B5EF4-FFF2-40B4-BE49-F238E27FC236}">
                  <a16:creationId xmlns:a16="http://schemas.microsoft.com/office/drawing/2014/main" id="{FDDBECD9-E3AC-9291-C4A5-52CAF016DE48}"/>
                </a:ext>
              </a:extLst>
            </p:cNvPr>
            <p:cNvGrpSpPr>
              <a:grpSpLocks/>
            </p:cNvGrpSpPr>
            <p:nvPr/>
          </p:nvGrpSpPr>
          <p:grpSpPr bwMode="auto">
            <a:xfrm>
              <a:off x="934922" y="1691162"/>
              <a:ext cx="462431" cy="936364"/>
              <a:chOff x="380" y="196"/>
              <a:chExt cx="402" cy="814"/>
            </a:xfrm>
            <a:solidFill>
              <a:schemeClr val="bg1">
                <a:lumMod val="85000"/>
              </a:schemeClr>
            </a:solidFill>
          </p:grpSpPr>
          <p:sp>
            <p:nvSpPr>
              <p:cNvPr id="682" name="Freeform 349">
                <a:extLst>
                  <a:ext uri="{FF2B5EF4-FFF2-40B4-BE49-F238E27FC236}">
                    <a16:creationId xmlns:a16="http://schemas.microsoft.com/office/drawing/2014/main" id="{CB319ADA-AEE9-CCFA-2652-EBD082D17813}"/>
                  </a:ext>
                </a:extLst>
              </p:cNvPr>
              <p:cNvSpPr>
                <a:spLocks/>
              </p:cNvSpPr>
              <p:nvPr/>
            </p:nvSpPr>
            <p:spPr bwMode="auto">
              <a:xfrm>
                <a:off x="380" y="196"/>
                <a:ext cx="402" cy="814"/>
              </a:xfrm>
              <a:custGeom>
                <a:avLst/>
                <a:gdLst/>
                <a:ahLst/>
                <a:cxnLst>
                  <a:cxn ang="0">
                    <a:pos x="0" y="0"/>
                  </a:cxn>
                  <a:cxn ang="0">
                    <a:pos x="29" y="299"/>
                  </a:cxn>
                  <a:cxn ang="0">
                    <a:pos x="86" y="542"/>
                  </a:cxn>
                  <a:cxn ang="0">
                    <a:pos x="172" y="678"/>
                  </a:cxn>
                  <a:cxn ang="0">
                    <a:pos x="345" y="814"/>
                  </a:cxn>
                  <a:cxn ang="0">
                    <a:pos x="373" y="814"/>
                  </a:cxn>
                  <a:cxn ang="0">
                    <a:pos x="373" y="678"/>
                  </a:cxn>
                  <a:cxn ang="0">
                    <a:pos x="402" y="651"/>
                  </a:cxn>
                  <a:cxn ang="0">
                    <a:pos x="345" y="651"/>
                  </a:cxn>
                  <a:cxn ang="0">
                    <a:pos x="345" y="272"/>
                  </a:cxn>
                  <a:cxn ang="0">
                    <a:pos x="316" y="272"/>
                  </a:cxn>
                  <a:cxn ang="0">
                    <a:pos x="345" y="190"/>
                  </a:cxn>
                  <a:cxn ang="0">
                    <a:pos x="287" y="54"/>
                  </a:cxn>
                  <a:cxn ang="0">
                    <a:pos x="316" y="0"/>
                  </a:cxn>
                  <a:cxn ang="0">
                    <a:pos x="0" y="0"/>
                  </a:cxn>
                </a:cxnLst>
                <a:rect l="0" t="0" r="r" b="b"/>
                <a:pathLst>
                  <a:path w="402" h="814">
                    <a:moveTo>
                      <a:pt x="0" y="0"/>
                    </a:moveTo>
                    <a:lnTo>
                      <a:pt x="29" y="299"/>
                    </a:lnTo>
                    <a:lnTo>
                      <a:pt x="86" y="542"/>
                    </a:lnTo>
                    <a:lnTo>
                      <a:pt x="172" y="678"/>
                    </a:lnTo>
                    <a:lnTo>
                      <a:pt x="345" y="814"/>
                    </a:lnTo>
                    <a:lnTo>
                      <a:pt x="373" y="814"/>
                    </a:lnTo>
                    <a:lnTo>
                      <a:pt x="373" y="678"/>
                    </a:lnTo>
                    <a:lnTo>
                      <a:pt x="402" y="651"/>
                    </a:lnTo>
                    <a:lnTo>
                      <a:pt x="345" y="651"/>
                    </a:lnTo>
                    <a:lnTo>
                      <a:pt x="345" y="272"/>
                    </a:lnTo>
                    <a:lnTo>
                      <a:pt x="316" y="272"/>
                    </a:lnTo>
                    <a:lnTo>
                      <a:pt x="345" y="190"/>
                    </a:lnTo>
                    <a:lnTo>
                      <a:pt x="287" y="54"/>
                    </a:lnTo>
                    <a:lnTo>
                      <a:pt x="316"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83" name="Freeform 350">
                <a:extLst>
                  <a:ext uri="{FF2B5EF4-FFF2-40B4-BE49-F238E27FC236}">
                    <a16:creationId xmlns:a16="http://schemas.microsoft.com/office/drawing/2014/main" id="{3CB4BD83-4C02-C9BB-A961-28805FB6C14C}"/>
                  </a:ext>
                </a:extLst>
              </p:cNvPr>
              <p:cNvSpPr>
                <a:spLocks/>
              </p:cNvSpPr>
              <p:nvPr/>
            </p:nvSpPr>
            <p:spPr bwMode="auto">
              <a:xfrm>
                <a:off x="380" y="196"/>
                <a:ext cx="402" cy="814"/>
              </a:xfrm>
              <a:custGeom>
                <a:avLst/>
                <a:gdLst/>
                <a:ahLst/>
                <a:cxnLst>
                  <a:cxn ang="0">
                    <a:pos x="0" y="0"/>
                  </a:cxn>
                  <a:cxn ang="0">
                    <a:pos x="29" y="299"/>
                  </a:cxn>
                  <a:cxn ang="0">
                    <a:pos x="86" y="542"/>
                  </a:cxn>
                  <a:cxn ang="0">
                    <a:pos x="172" y="678"/>
                  </a:cxn>
                  <a:cxn ang="0">
                    <a:pos x="345" y="814"/>
                  </a:cxn>
                  <a:cxn ang="0">
                    <a:pos x="373" y="814"/>
                  </a:cxn>
                  <a:cxn ang="0">
                    <a:pos x="373" y="678"/>
                  </a:cxn>
                  <a:cxn ang="0">
                    <a:pos x="402" y="651"/>
                  </a:cxn>
                  <a:cxn ang="0">
                    <a:pos x="345" y="651"/>
                  </a:cxn>
                  <a:cxn ang="0">
                    <a:pos x="345" y="272"/>
                  </a:cxn>
                  <a:cxn ang="0">
                    <a:pos x="316" y="272"/>
                  </a:cxn>
                  <a:cxn ang="0">
                    <a:pos x="345" y="190"/>
                  </a:cxn>
                  <a:cxn ang="0">
                    <a:pos x="287" y="54"/>
                  </a:cxn>
                  <a:cxn ang="0">
                    <a:pos x="316" y="0"/>
                  </a:cxn>
                  <a:cxn ang="0">
                    <a:pos x="0" y="0"/>
                  </a:cxn>
                </a:cxnLst>
                <a:rect l="0" t="0" r="r" b="b"/>
                <a:pathLst>
                  <a:path w="402" h="814">
                    <a:moveTo>
                      <a:pt x="0" y="0"/>
                    </a:moveTo>
                    <a:lnTo>
                      <a:pt x="29" y="299"/>
                    </a:lnTo>
                    <a:lnTo>
                      <a:pt x="86" y="542"/>
                    </a:lnTo>
                    <a:lnTo>
                      <a:pt x="172" y="678"/>
                    </a:lnTo>
                    <a:lnTo>
                      <a:pt x="345" y="814"/>
                    </a:lnTo>
                    <a:lnTo>
                      <a:pt x="373" y="814"/>
                    </a:lnTo>
                    <a:lnTo>
                      <a:pt x="373" y="678"/>
                    </a:lnTo>
                    <a:lnTo>
                      <a:pt x="402" y="651"/>
                    </a:lnTo>
                    <a:lnTo>
                      <a:pt x="345" y="651"/>
                    </a:lnTo>
                    <a:lnTo>
                      <a:pt x="345" y="272"/>
                    </a:lnTo>
                    <a:lnTo>
                      <a:pt x="316" y="272"/>
                    </a:lnTo>
                    <a:lnTo>
                      <a:pt x="345" y="190"/>
                    </a:lnTo>
                    <a:lnTo>
                      <a:pt x="287" y="54"/>
                    </a:lnTo>
                    <a:lnTo>
                      <a:pt x="316"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1" name="Group 351">
              <a:extLst>
                <a:ext uri="{FF2B5EF4-FFF2-40B4-BE49-F238E27FC236}">
                  <a16:creationId xmlns:a16="http://schemas.microsoft.com/office/drawing/2014/main" id="{72FFDEAA-BC5E-48F7-9320-D182F904BD34}"/>
                </a:ext>
              </a:extLst>
            </p:cNvPr>
            <p:cNvGrpSpPr>
              <a:grpSpLocks/>
            </p:cNvGrpSpPr>
            <p:nvPr/>
          </p:nvGrpSpPr>
          <p:grpSpPr bwMode="auto">
            <a:xfrm>
              <a:off x="1265064" y="1691164"/>
              <a:ext cx="396861" cy="750012"/>
              <a:chOff x="667" y="196"/>
              <a:chExt cx="345" cy="652"/>
            </a:xfrm>
            <a:solidFill>
              <a:schemeClr val="bg1">
                <a:lumMod val="85000"/>
              </a:schemeClr>
            </a:solidFill>
          </p:grpSpPr>
          <p:sp>
            <p:nvSpPr>
              <p:cNvPr id="680" name="Freeform 352">
                <a:extLst>
                  <a:ext uri="{FF2B5EF4-FFF2-40B4-BE49-F238E27FC236}">
                    <a16:creationId xmlns:a16="http://schemas.microsoft.com/office/drawing/2014/main" id="{540E9676-BE48-0FC5-C7CF-0179DD771D14}"/>
                  </a:ext>
                </a:extLst>
              </p:cNvPr>
              <p:cNvSpPr>
                <a:spLocks/>
              </p:cNvSpPr>
              <p:nvPr/>
            </p:nvSpPr>
            <p:spPr bwMode="auto">
              <a:xfrm>
                <a:off x="667" y="196"/>
                <a:ext cx="345" cy="652"/>
              </a:xfrm>
              <a:custGeom>
                <a:avLst/>
                <a:gdLst/>
                <a:ahLst/>
                <a:cxnLst>
                  <a:cxn ang="0">
                    <a:pos x="29" y="0"/>
                  </a:cxn>
                  <a:cxn ang="0">
                    <a:pos x="0" y="54"/>
                  </a:cxn>
                  <a:cxn ang="0">
                    <a:pos x="58" y="190"/>
                  </a:cxn>
                  <a:cxn ang="0">
                    <a:pos x="29" y="272"/>
                  </a:cxn>
                  <a:cxn ang="0">
                    <a:pos x="58" y="272"/>
                  </a:cxn>
                  <a:cxn ang="0">
                    <a:pos x="58" y="652"/>
                  </a:cxn>
                  <a:cxn ang="0">
                    <a:pos x="259" y="652"/>
                  </a:cxn>
                  <a:cxn ang="0">
                    <a:pos x="259" y="597"/>
                  </a:cxn>
                  <a:cxn ang="0">
                    <a:pos x="345" y="597"/>
                  </a:cxn>
                  <a:cxn ang="0">
                    <a:pos x="316" y="461"/>
                  </a:cxn>
                  <a:cxn ang="0">
                    <a:pos x="316" y="326"/>
                  </a:cxn>
                  <a:cxn ang="0">
                    <a:pos x="259" y="326"/>
                  </a:cxn>
                  <a:cxn ang="0">
                    <a:pos x="259" y="0"/>
                  </a:cxn>
                  <a:cxn ang="0">
                    <a:pos x="29" y="0"/>
                  </a:cxn>
                </a:cxnLst>
                <a:rect l="0" t="0" r="r" b="b"/>
                <a:pathLst>
                  <a:path w="345" h="652">
                    <a:moveTo>
                      <a:pt x="29" y="0"/>
                    </a:moveTo>
                    <a:lnTo>
                      <a:pt x="0" y="54"/>
                    </a:lnTo>
                    <a:lnTo>
                      <a:pt x="58" y="190"/>
                    </a:lnTo>
                    <a:lnTo>
                      <a:pt x="29" y="272"/>
                    </a:lnTo>
                    <a:lnTo>
                      <a:pt x="58" y="272"/>
                    </a:lnTo>
                    <a:lnTo>
                      <a:pt x="58" y="652"/>
                    </a:lnTo>
                    <a:lnTo>
                      <a:pt x="259" y="652"/>
                    </a:lnTo>
                    <a:lnTo>
                      <a:pt x="259" y="597"/>
                    </a:lnTo>
                    <a:lnTo>
                      <a:pt x="345" y="597"/>
                    </a:lnTo>
                    <a:lnTo>
                      <a:pt x="316" y="461"/>
                    </a:lnTo>
                    <a:lnTo>
                      <a:pt x="316" y="326"/>
                    </a:lnTo>
                    <a:lnTo>
                      <a:pt x="259" y="326"/>
                    </a:lnTo>
                    <a:lnTo>
                      <a:pt x="259" y="0"/>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81" name="Freeform 353">
                <a:extLst>
                  <a:ext uri="{FF2B5EF4-FFF2-40B4-BE49-F238E27FC236}">
                    <a16:creationId xmlns:a16="http://schemas.microsoft.com/office/drawing/2014/main" id="{119087DD-EB7D-56B1-11B2-E6E8B808A194}"/>
                  </a:ext>
                </a:extLst>
              </p:cNvPr>
              <p:cNvSpPr>
                <a:spLocks/>
              </p:cNvSpPr>
              <p:nvPr/>
            </p:nvSpPr>
            <p:spPr bwMode="auto">
              <a:xfrm>
                <a:off x="667" y="196"/>
                <a:ext cx="345" cy="652"/>
              </a:xfrm>
              <a:custGeom>
                <a:avLst/>
                <a:gdLst/>
                <a:ahLst/>
                <a:cxnLst>
                  <a:cxn ang="0">
                    <a:pos x="29" y="0"/>
                  </a:cxn>
                  <a:cxn ang="0">
                    <a:pos x="0" y="54"/>
                  </a:cxn>
                  <a:cxn ang="0">
                    <a:pos x="58" y="190"/>
                  </a:cxn>
                  <a:cxn ang="0">
                    <a:pos x="29" y="272"/>
                  </a:cxn>
                  <a:cxn ang="0">
                    <a:pos x="58" y="272"/>
                  </a:cxn>
                  <a:cxn ang="0">
                    <a:pos x="58" y="652"/>
                  </a:cxn>
                  <a:cxn ang="0">
                    <a:pos x="259" y="652"/>
                  </a:cxn>
                  <a:cxn ang="0">
                    <a:pos x="259" y="597"/>
                  </a:cxn>
                  <a:cxn ang="0">
                    <a:pos x="345" y="597"/>
                  </a:cxn>
                  <a:cxn ang="0">
                    <a:pos x="316" y="461"/>
                  </a:cxn>
                  <a:cxn ang="0">
                    <a:pos x="316" y="326"/>
                  </a:cxn>
                  <a:cxn ang="0">
                    <a:pos x="259" y="326"/>
                  </a:cxn>
                  <a:cxn ang="0">
                    <a:pos x="259" y="0"/>
                  </a:cxn>
                  <a:cxn ang="0">
                    <a:pos x="29" y="0"/>
                  </a:cxn>
                </a:cxnLst>
                <a:rect l="0" t="0" r="r" b="b"/>
                <a:pathLst>
                  <a:path w="345" h="652">
                    <a:moveTo>
                      <a:pt x="29" y="0"/>
                    </a:moveTo>
                    <a:lnTo>
                      <a:pt x="0" y="54"/>
                    </a:lnTo>
                    <a:lnTo>
                      <a:pt x="58" y="190"/>
                    </a:lnTo>
                    <a:lnTo>
                      <a:pt x="29" y="272"/>
                    </a:lnTo>
                    <a:lnTo>
                      <a:pt x="58" y="272"/>
                    </a:lnTo>
                    <a:lnTo>
                      <a:pt x="58" y="652"/>
                    </a:lnTo>
                    <a:lnTo>
                      <a:pt x="259" y="652"/>
                    </a:lnTo>
                    <a:lnTo>
                      <a:pt x="259" y="597"/>
                    </a:lnTo>
                    <a:lnTo>
                      <a:pt x="345" y="597"/>
                    </a:lnTo>
                    <a:lnTo>
                      <a:pt x="316" y="461"/>
                    </a:lnTo>
                    <a:lnTo>
                      <a:pt x="316" y="326"/>
                    </a:lnTo>
                    <a:lnTo>
                      <a:pt x="259" y="326"/>
                    </a:lnTo>
                    <a:lnTo>
                      <a:pt x="259" y="0"/>
                    </a:lnTo>
                    <a:lnTo>
                      <a:pt x="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2" name="Group 354">
              <a:extLst>
                <a:ext uri="{FF2B5EF4-FFF2-40B4-BE49-F238E27FC236}">
                  <a16:creationId xmlns:a16="http://schemas.microsoft.com/office/drawing/2014/main" id="{E619454B-9A10-BAAE-065B-4C5354C36DB1}"/>
                </a:ext>
              </a:extLst>
            </p:cNvPr>
            <p:cNvGrpSpPr>
              <a:grpSpLocks/>
            </p:cNvGrpSpPr>
            <p:nvPr/>
          </p:nvGrpSpPr>
          <p:grpSpPr bwMode="auto">
            <a:xfrm>
              <a:off x="1564151" y="1691164"/>
              <a:ext cx="559058" cy="530300"/>
              <a:chOff x="927" y="196"/>
              <a:chExt cx="486" cy="461"/>
            </a:xfrm>
            <a:solidFill>
              <a:schemeClr val="bg1">
                <a:lumMod val="85000"/>
              </a:schemeClr>
            </a:solidFill>
          </p:grpSpPr>
          <p:sp>
            <p:nvSpPr>
              <p:cNvPr id="678" name="Freeform 355">
                <a:extLst>
                  <a:ext uri="{FF2B5EF4-FFF2-40B4-BE49-F238E27FC236}">
                    <a16:creationId xmlns:a16="http://schemas.microsoft.com/office/drawing/2014/main" id="{532D1C2D-6228-41A9-D762-95AA2D9AA345}"/>
                  </a:ext>
                </a:extLst>
              </p:cNvPr>
              <p:cNvSpPr>
                <a:spLocks/>
              </p:cNvSpPr>
              <p:nvPr/>
            </p:nvSpPr>
            <p:spPr bwMode="auto">
              <a:xfrm>
                <a:off x="927" y="196"/>
                <a:ext cx="486" cy="461"/>
              </a:xfrm>
              <a:custGeom>
                <a:avLst/>
                <a:gdLst/>
                <a:ahLst/>
                <a:cxnLst>
                  <a:cxn ang="0">
                    <a:pos x="0" y="0"/>
                  </a:cxn>
                  <a:cxn ang="0">
                    <a:pos x="0" y="326"/>
                  </a:cxn>
                  <a:cxn ang="0">
                    <a:pos x="57" y="326"/>
                  </a:cxn>
                  <a:cxn ang="0">
                    <a:pos x="57" y="461"/>
                  </a:cxn>
                  <a:cxn ang="0">
                    <a:pos x="343" y="461"/>
                  </a:cxn>
                  <a:cxn ang="0">
                    <a:pos x="343" y="379"/>
                  </a:cxn>
                  <a:cxn ang="0">
                    <a:pos x="371" y="326"/>
                  </a:cxn>
                  <a:cxn ang="0">
                    <a:pos x="371" y="272"/>
                  </a:cxn>
                  <a:cxn ang="0">
                    <a:pos x="486" y="272"/>
                  </a:cxn>
                  <a:cxn ang="0">
                    <a:pos x="486" y="0"/>
                  </a:cxn>
                  <a:cxn ang="0">
                    <a:pos x="0" y="0"/>
                  </a:cxn>
                </a:cxnLst>
                <a:rect l="0" t="0" r="r" b="b"/>
                <a:pathLst>
                  <a:path w="486" h="461">
                    <a:moveTo>
                      <a:pt x="0" y="0"/>
                    </a:moveTo>
                    <a:lnTo>
                      <a:pt x="0" y="326"/>
                    </a:lnTo>
                    <a:lnTo>
                      <a:pt x="57" y="326"/>
                    </a:lnTo>
                    <a:lnTo>
                      <a:pt x="57" y="461"/>
                    </a:lnTo>
                    <a:lnTo>
                      <a:pt x="343" y="461"/>
                    </a:lnTo>
                    <a:lnTo>
                      <a:pt x="343" y="379"/>
                    </a:lnTo>
                    <a:lnTo>
                      <a:pt x="371" y="326"/>
                    </a:lnTo>
                    <a:lnTo>
                      <a:pt x="371" y="272"/>
                    </a:lnTo>
                    <a:lnTo>
                      <a:pt x="486" y="272"/>
                    </a:lnTo>
                    <a:lnTo>
                      <a:pt x="486"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79" name="Freeform 356">
                <a:extLst>
                  <a:ext uri="{FF2B5EF4-FFF2-40B4-BE49-F238E27FC236}">
                    <a16:creationId xmlns:a16="http://schemas.microsoft.com/office/drawing/2014/main" id="{5466A0BB-858C-1AE6-667D-9BE0ADB925A0}"/>
                  </a:ext>
                </a:extLst>
              </p:cNvPr>
              <p:cNvSpPr>
                <a:spLocks/>
              </p:cNvSpPr>
              <p:nvPr/>
            </p:nvSpPr>
            <p:spPr bwMode="auto">
              <a:xfrm>
                <a:off x="927" y="196"/>
                <a:ext cx="486" cy="461"/>
              </a:xfrm>
              <a:custGeom>
                <a:avLst/>
                <a:gdLst/>
                <a:ahLst/>
                <a:cxnLst>
                  <a:cxn ang="0">
                    <a:pos x="0" y="0"/>
                  </a:cxn>
                  <a:cxn ang="0">
                    <a:pos x="0" y="326"/>
                  </a:cxn>
                  <a:cxn ang="0">
                    <a:pos x="57" y="326"/>
                  </a:cxn>
                  <a:cxn ang="0">
                    <a:pos x="57" y="461"/>
                  </a:cxn>
                  <a:cxn ang="0">
                    <a:pos x="343" y="461"/>
                  </a:cxn>
                  <a:cxn ang="0">
                    <a:pos x="343" y="379"/>
                  </a:cxn>
                  <a:cxn ang="0">
                    <a:pos x="371" y="326"/>
                  </a:cxn>
                  <a:cxn ang="0">
                    <a:pos x="371" y="272"/>
                  </a:cxn>
                  <a:cxn ang="0">
                    <a:pos x="486" y="272"/>
                  </a:cxn>
                  <a:cxn ang="0">
                    <a:pos x="486" y="0"/>
                  </a:cxn>
                  <a:cxn ang="0">
                    <a:pos x="0" y="0"/>
                  </a:cxn>
                </a:cxnLst>
                <a:rect l="0" t="0" r="r" b="b"/>
                <a:pathLst>
                  <a:path w="486" h="461">
                    <a:moveTo>
                      <a:pt x="0" y="0"/>
                    </a:moveTo>
                    <a:lnTo>
                      <a:pt x="0" y="326"/>
                    </a:lnTo>
                    <a:lnTo>
                      <a:pt x="57" y="326"/>
                    </a:lnTo>
                    <a:lnTo>
                      <a:pt x="57" y="461"/>
                    </a:lnTo>
                    <a:lnTo>
                      <a:pt x="343" y="461"/>
                    </a:lnTo>
                    <a:lnTo>
                      <a:pt x="343" y="379"/>
                    </a:lnTo>
                    <a:lnTo>
                      <a:pt x="371" y="326"/>
                    </a:lnTo>
                    <a:lnTo>
                      <a:pt x="371" y="272"/>
                    </a:lnTo>
                    <a:lnTo>
                      <a:pt x="486" y="272"/>
                    </a:lnTo>
                    <a:lnTo>
                      <a:pt x="486"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3" name="Group 357">
              <a:extLst>
                <a:ext uri="{FF2B5EF4-FFF2-40B4-BE49-F238E27FC236}">
                  <a16:creationId xmlns:a16="http://schemas.microsoft.com/office/drawing/2014/main" id="{385A373A-9356-D2E5-37A8-5A2A7EE7AF92}"/>
                </a:ext>
              </a:extLst>
            </p:cNvPr>
            <p:cNvGrpSpPr>
              <a:grpSpLocks/>
            </p:cNvGrpSpPr>
            <p:nvPr/>
          </p:nvGrpSpPr>
          <p:grpSpPr bwMode="auto">
            <a:xfrm>
              <a:off x="2123207" y="1691164"/>
              <a:ext cx="691345" cy="530300"/>
              <a:chOff x="1413" y="196"/>
              <a:chExt cx="601" cy="461"/>
            </a:xfrm>
            <a:solidFill>
              <a:schemeClr val="bg1">
                <a:lumMod val="85000"/>
              </a:schemeClr>
            </a:solidFill>
          </p:grpSpPr>
          <p:sp>
            <p:nvSpPr>
              <p:cNvPr id="676" name="Freeform 358">
                <a:extLst>
                  <a:ext uri="{FF2B5EF4-FFF2-40B4-BE49-F238E27FC236}">
                    <a16:creationId xmlns:a16="http://schemas.microsoft.com/office/drawing/2014/main" id="{3F73AAA2-D478-1576-7E9C-B018228318DF}"/>
                  </a:ext>
                </a:extLst>
              </p:cNvPr>
              <p:cNvSpPr>
                <a:spLocks/>
              </p:cNvSpPr>
              <p:nvPr/>
            </p:nvSpPr>
            <p:spPr bwMode="auto">
              <a:xfrm>
                <a:off x="1413" y="196"/>
                <a:ext cx="601" cy="461"/>
              </a:xfrm>
              <a:custGeom>
                <a:avLst/>
                <a:gdLst/>
                <a:ahLst/>
                <a:cxnLst>
                  <a:cxn ang="0">
                    <a:pos x="0" y="0"/>
                  </a:cxn>
                  <a:cxn ang="0">
                    <a:pos x="0" y="272"/>
                  </a:cxn>
                  <a:cxn ang="0">
                    <a:pos x="57" y="272"/>
                  </a:cxn>
                  <a:cxn ang="0">
                    <a:pos x="172" y="326"/>
                  </a:cxn>
                  <a:cxn ang="0">
                    <a:pos x="172" y="379"/>
                  </a:cxn>
                  <a:cxn ang="0">
                    <a:pos x="287" y="379"/>
                  </a:cxn>
                  <a:cxn ang="0">
                    <a:pos x="287" y="461"/>
                  </a:cxn>
                  <a:cxn ang="0">
                    <a:pos x="401" y="461"/>
                  </a:cxn>
                  <a:cxn ang="0">
                    <a:pos x="601" y="326"/>
                  </a:cxn>
                  <a:cxn ang="0">
                    <a:pos x="601" y="190"/>
                  </a:cxn>
                  <a:cxn ang="0">
                    <a:pos x="572" y="136"/>
                  </a:cxn>
                  <a:cxn ang="0">
                    <a:pos x="601" y="0"/>
                  </a:cxn>
                  <a:cxn ang="0">
                    <a:pos x="0" y="0"/>
                  </a:cxn>
                </a:cxnLst>
                <a:rect l="0" t="0" r="r" b="b"/>
                <a:pathLst>
                  <a:path w="601" h="461">
                    <a:moveTo>
                      <a:pt x="0" y="0"/>
                    </a:moveTo>
                    <a:lnTo>
                      <a:pt x="0" y="272"/>
                    </a:lnTo>
                    <a:lnTo>
                      <a:pt x="57" y="272"/>
                    </a:lnTo>
                    <a:lnTo>
                      <a:pt x="172" y="326"/>
                    </a:lnTo>
                    <a:lnTo>
                      <a:pt x="172" y="379"/>
                    </a:lnTo>
                    <a:lnTo>
                      <a:pt x="287" y="379"/>
                    </a:lnTo>
                    <a:lnTo>
                      <a:pt x="287" y="461"/>
                    </a:lnTo>
                    <a:lnTo>
                      <a:pt x="401" y="461"/>
                    </a:lnTo>
                    <a:lnTo>
                      <a:pt x="601" y="326"/>
                    </a:lnTo>
                    <a:lnTo>
                      <a:pt x="601" y="190"/>
                    </a:lnTo>
                    <a:lnTo>
                      <a:pt x="572" y="136"/>
                    </a:lnTo>
                    <a:lnTo>
                      <a:pt x="601"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77" name="Freeform 359">
                <a:extLst>
                  <a:ext uri="{FF2B5EF4-FFF2-40B4-BE49-F238E27FC236}">
                    <a16:creationId xmlns:a16="http://schemas.microsoft.com/office/drawing/2014/main" id="{78FA42EC-CD77-B256-3038-70276F560D13}"/>
                  </a:ext>
                </a:extLst>
              </p:cNvPr>
              <p:cNvSpPr>
                <a:spLocks/>
              </p:cNvSpPr>
              <p:nvPr/>
            </p:nvSpPr>
            <p:spPr bwMode="auto">
              <a:xfrm>
                <a:off x="1413" y="196"/>
                <a:ext cx="601" cy="461"/>
              </a:xfrm>
              <a:custGeom>
                <a:avLst/>
                <a:gdLst/>
                <a:ahLst/>
                <a:cxnLst>
                  <a:cxn ang="0">
                    <a:pos x="0" y="0"/>
                  </a:cxn>
                  <a:cxn ang="0">
                    <a:pos x="0" y="272"/>
                  </a:cxn>
                  <a:cxn ang="0">
                    <a:pos x="57" y="272"/>
                  </a:cxn>
                  <a:cxn ang="0">
                    <a:pos x="172" y="326"/>
                  </a:cxn>
                  <a:cxn ang="0">
                    <a:pos x="172" y="379"/>
                  </a:cxn>
                  <a:cxn ang="0">
                    <a:pos x="287" y="379"/>
                  </a:cxn>
                  <a:cxn ang="0">
                    <a:pos x="287" y="461"/>
                  </a:cxn>
                  <a:cxn ang="0">
                    <a:pos x="401" y="461"/>
                  </a:cxn>
                  <a:cxn ang="0">
                    <a:pos x="601" y="326"/>
                  </a:cxn>
                  <a:cxn ang="0">
                    <a:pos x="601" y="190"/>
                  </a:cxn>
                  <a:cxn ang="0">
                    <a:pos x="572" y="136"/>
                  </a:cxn>
                  <a:cxn ang="0">
                    <a:pos x="601" y="0"/>
                  </a:cxn>
                  <a:cxn ang="0">
                    <a:pos x="0" y="0"/>
                  </a:cxn>
                </a:cxnLst>
                <a:rect l="0" t="0" r="r" b="b"/>
                <a:pathLst>
                  <a:path w="601" h="461">
                    <a:moveTo>
                      <a:pt x="0" y="0"/>
                    </a:moveTo>
                    <a:lnTo>
                      <a:pt x="0" y="272"/>
                    </a:lnTo>
                    <a:lnTo>
                      <a:pt x="57" y="272"/>
                    </a:lnTo>
                    <a:lnTo>
                      <a:pt x="172" y="326"/>
                    </a:lnTo>
                    <a:lnTo>
                      <a:pt x="172" y="379"/>
                    </a:lnTo>
                    <a:lnTo>
                      <a:pt x="287" y="379"/>
                    </a:lnTo>
                    <a:lnTo>
                      <a:pt x="287" y="461"/>
                    </a:lnTo>
                    <a:lnTo>
                      <a:pt x="401" y="461"/>
                    </a:lnTo>
                    <a:lnTo>
                      <a:pt x="601" y="326"/>
                    </a:lnTo>
                    <a:lnTo>
                      <a:pt x="601" y="190"/>
                    </a:lnTo>
                    <a:lnTo>
                      <a:pt x="572" y="136"/>
                    </a:lnTo>
                    <a:lnTo>
                      <a:pt x="601"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4" name="Group 360">
              <a:extLst>
                <a:ext uri="{FF2B5EF4-FFF2-40B4-BE49-F238E27FC236}">
                  <a16:creationId xmlns:a16="http://schemas.microsoft.com/office/drawing/2014/main" id="{6CFBE058-34A7-2D32-B33E-B9A144F6437A}"/>
                </a:ext>
              </a:extLst>
            </p:cNvPr>
            <p:cNvGrpSpPr>
              <a:grpSpLocks/>
            </p:cNvGrpSpPr>
            <p:nvPr/>
          </p:nvGrpSpPr>
          <p:grpSpPr bwMode="auto">
            <a:xfrm>
              <a:off x="2782342" y="1691161"/>
              <a:ext cx="692495" cy="591267"/>
              <a:chOff x="1986" y="196"/>
              <a:chExt cx="602" cy="514"/>
            </a:xfrm>
            <a:solidFill>
              <a:schemeClr val="bg1">
                <a:lumMod val="85000"/>
              </a:schemeClr>
            </a:solidFill>
          </p:grpSpPr>
          <p:sp>
            <p:nvSpPr>
              <p:cNvPr id="674" name="Freeform 361">
                <a:extLst>
                  <a:ext uri="{FF2B5EF4-FFF2-40B4-BE49-F238E27FC236}">
                    <a16:creationId xmlns:a16="http://schemas.microsoft.com/office/drawing/2014/main" id="{513D0DC3-1121-86CF-B900-C5D2FEBA74E2}"/>
                  </a:ext>
                </a:extLst>
              </p:cNvPr>
              <p:cNvSpPr>
                <a:spLocks/>
              </p:cNvSpPr>
              <p:nvPr/>
            </p:nvSpPr>
            <p:spPr bwMode="auto">
              <a:xfrm>
                <a:off x="1986" y="196"/>
                <a:ext cx="602" cy="514"/>
              </a:xfrm>
              <a:custGeom>
                <a:avLst/>
                <a:gdLst/>
                <a:ahLst/>
                <a:cxnLst>
                  <a:cxn ang="0">
                    <a:pos x="29" y="0"/>
                  </a:cxn>
                  <a:cxn ang="0">
                    <a:pos x="0" y="136"/>
                  </a:cxn>
                  <a:cxn ang="0">
                    <a:pos x="29" y="190"/>
                  </a:cxn>
                  <a:cxn ang="0">
                    <a:pos x="29" y="326"/>
                  </a:cxn>
                  <a:cxn ang="0">
                    <a:pos x="57" y="352"/>
                  </a:cxn>
                  <a:cxn ang="0">
                    <a:pos x="115" y="352"/>
                  </a:cxn>
                  <a:cxn ang="0">
                    <a:pos x="143" y="379"/>
                  </a:cxn>
                  <a:cxn ang="0">
                    <a:pos x="172" y="514"/>
                  </a:cxn>
                  <a:cxn ang="0">
                    <a:pos x="402" y="406"/>
                  </a:cxn>
                  <a:cxn ang="0">
                    <a:pos x="430" y="352"/>
                  </a:cxn>
                  <a:cxn ang="0">
                    <a:pos x="488" y="136"/>
                  </a:cxn>
                  <a:cxn ang="0">
                    <a:pos x="602" y="0"/>
                  </a:cxn>
                  <a:cxn ang="0">
                    <a:pos x="29" y="0"/>
                  </a:cxn>
                </a:cxnLst>
                <a:rect l="0" t="0" r="r" b="b"/>
                <a:pathLst>
                  <a:path w="602" h="514">
                    <a:moveTo>
                      <a:pt x="29" y="0"/>
                    </a:moveTo>
                    <a:lnTo>
                      <a:pt x="0" y="136"/>
                    </a:lnTo>
                    <a:lnTo>
                      <a:pt x="29" y="190"/>
                    </a:lnTo>
                    <a:lnTo>
                      <a:pt x="29" y="326"/>
                    </a:lnTo>
                    <a:lnTo>
                      <a:pt x="57" y="352"/>
                    </a:lnTo>
                    <a:lnTo>
                      <a:pt x="115" y="352"/>
                    </a:lnTo>
                    <a:lnTo>
                      <a:pt x="143" y="379"/>
                    </a:lnTo>
                    <a:lnTo>
                      <a:pt x="172" y="514"/>
                    </a:lnTo>
                    <a:lnTo>
                      <a:pt x="402" y="406"/>
                    </a:lnTo>
                    <a:lnTo>
                      <a:pt x="430" y="352"/>
                    </a:lnTo>
                    <a:lnTo>
                      <a:pt x="488" y="136"/>
                    </a:lnTo>
                    <a:lnTo>
                      <a:pt x="602" y="0"/>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75" name="Freeform 362">
                <a:extLst>
                  <a:ext uri="{FF2B5EF4-FFF2-40B4-BE49-F238E27FC236}">
                    <a16:creationId xmlns:a16="http://schemas.microsoft.com/office/drawing/2014/main" id="{F96D12F8-F216-5169-DF56-282376CF4BAD}"/>
                  </a:ext>
                </a:extLst>
              </p:cNvPr>
              <p:cNvSpPr>
                <a:spLocks/>
              </p:cNvSpPr>
              <p:nvPr/>
            </p:nvSpPr>
            <p:spPr bwMode="auto">
              <a:xfrm>
                <a:off x="1986" y="196"/>
                <a:ext cx="602" cy="514"/>
              </a:xfrm>
              <a:custGeom>
                <a:avLst/>
                <a:gdLst/>
                <a:ahLst/>
                <a:cxnLst>
                  <a:cxn ang="0">
                    <a:pos x="29" y="0"/>
                  </a:cxn>
                  <a:cxn ang="0">
                    <a:pos x="0" y="136"/>
                  </a:cxn>
                  <a:cxn ang="0">
                    <a:pos x="29" y="190"/>
                  </a:cxn>
                  <a:cxn ang="0">
                    <a:pos x="29" y="326"/>
                  </a:cxn>
                  <a:cxn ang="0">
                    <a:pos x="57" y="352"/>
                  </a:cxn>
                  <a:cxn ang="0">
                    <a:pos x="115" y="352"/>
                  </a:cxn>
                  <a:cxn ang="0">
                    <a:pos x="143" y="379"/>
                  </a:cxn>
                  <a:cxn ang="0">
                    <a:pos x="172" y="514"/>
                  </a:cxn>
                  <a:cxn ang="0">
                    <a:pos x="402" y="406"/>
                  </a:cxn>
                  <a:cxn ang="0">
                    <a:pos x="430" y="352"/>
                  </a:cxn>
                  <a:cxn ang="0">
                    <a:pos x="488" y="136"/>
                  </a:cxn>
                  <a:cxn ang="0">
                    <a:pos x="602" y="0"/>
                  </a:cxn>
                  <a:cxn ang="0">
                    <a:pos x="29" y="0"/>
                  </a:cxn>
                </a:cxnLst>
                <a:rect l="0" t="0" r="r" b="b"/>
                <a:pathLst>
                  <a:path w="602" h="514">
                    <a:moveTo>
                      <a:pt x="29" y="0"/>
                    </a:moveTo>
                    <a:lnTo>
                      <a:pt x="0" y="136"/>
                    </a:lnTo>
                    <a:lnTo>
                      <a:pt x="29" y="190"/>
                    </a:lnTo>
                    <a:lnTo>
                      <a:pt x="29" y="326"/>
                    </a:lnTo>
                    <a:lnTo>
                      <a:pt x="57" y="352"/>
                    </a:lnTo>
                    <a:lnTo>
                      <a:pt x="115" y="352"/>
                    </a:lnTo>
                    <a:lnTo>
                      <a:pt x="143" y="379"/>
                    </a:lnTo>
                    <a:lnTo>
                      <a:pt x="172" y="514"/>
                    </a:lnTo>
                    <a:lnTo>
                      <a:pt x="402" y="406"/>
                    </a:lnTo>
                    <a:lnTo>
                      <a:pt x="430" y="352"/>
                    </a:lnTo>
                    <a:lnTo>
                      <a:pt x="488" y="136"/>
                    </a:lnTo>
                    <a:lnTo>
                      <a:pt x="602" y="0"/>
                    </a:lnTo>
                    <a:lnTo>
                      <a:pt x="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5" name="Group 363">
              <a:extLst>
                <a:ext uri="{FF2B5EF4-FFF2-40B4-BE49-F238E27FC236}">
                  <a16:creationId xmlns:a16="http://schemas.microsoft.com/office/drawing/2014/main" id="{1647C93F-3F28-0E54-54C8-F2613DF69AFE}"/>
                </a:ext>
              </a:extLst>
            </p:cNvPr>
            <p:cNvGrpSpPr>
              <a:grpSpLocks/>
            </p:cNvGrpSpPr>
            <p:nvPr/>
          </p:nvGrpSpPr>
          <p:grpSpPr bwMode="auto">
            <a:xfrm>
              <a:off x="3276981" y="1691164"/>
              <a:ext cx="364654" cy="530300"/>
              <a:chOff x="2416" y="196"/>
              <a:chExt cx="317" cy="461"/>
            </a:xfrm>
            <a:solidFill>
              <a:schemeClr val="bg1">
                <a:lumMod val="85000"/>
              </a:schemeClr>
            </a:solidFill>
          </p:grpSpPr>
          <p:sp>
            <p:nvSpPr>
              <p:cNvPr id="672" name="Freeform 364">
                <a:extLst>
                  <a:ext uri="{FF2B5EF4-FFF2-40B4-BE49-F238E27FC236}">
                    <a16:creationId xmlns:a16="http://schemas.microsoft.com/office/drawing/2014/main" id="{66D7BE29-CFBB-B800-6CB2-8F7182F374B7}"/>
                  </a:ext>
                </a:extLst>
              </p:cNvPr>
              <p:cNvSpPr>
                <a:spLocks/>
              </p:cNvSpPr>
              <p:nvPr/>
            </p:nvSpPr>
            <p:spPr bwMode="auto">
              <a:xfrm>
                <a:off x="2416" y="196"/>
                <a:ext cx="317" cy="461"/>
              </a:xfrm>
              <a:custGeom>
                <a:avLst/>
                <a:gdLst/>
                <a:ahLst/>
                <a:cxnLst>
                  <a:cxn ang="0">
                    <a:pos x="173" y="0"/>
                  </a:cxn>
                  <a:cxn ang="0">
                    <a:pos x="58" y="136"/>
                  </a:cxn>
                  <a:cxn ang="0">
                    <a:pos x="0" y="352"/>
                  </a:cxn>
                  <a:cxn ang="0">
                    <a:pos x="29" y="352"/>
                  </a:cxn>
                  <a:cxn ang="0">
                    <a:pos x="29" y="434"/>
                  </a:cxn>
                  <a:cxn ang="0">
                    <a:pos x="173" y="461"/>
                  </a:cxn>
                  <a:cxn ang="0">
                    <a:pos x="230" y="272"/>
                  </a:cxn>
                  <a:cxn ang="0">
                    <a:pos x="288" y="82"/>
                  </a:cxn>
                  <a:cxn ang="0">
                    <a:pos x="317" y="0"/>
                  </a:cxn>
                  <a:cxn ang="0">
                    <a:pos x="173" y="0"/>
                  </a:cxn>
                </a:cxnLst>
                <a:rect l="0" t="0" r="r" b="b"/>
                <a:pathLst>
                  <a:path w="317" h="461">
                    <a:moveTo>
                      <a:pt x="173" y="0"/>
                    </a:moveTo>
                    <a:lnTo>
                      <a:pt x="58" y="136"/>
                    </a:lnTo>
                    <a:lnTo>
                      <a:pt x="0" y="352"/>
                    </a:lnTo>
                    <a:lnTo>
                      <a:pt x="29" y="352"/>
                    </a:lnTo>
                    <a:lnTo>
                      <a:pt x="29" y="434"/>
                    </a:lnTo>
                    <a:lnTo>
                      <a:pt x="173" y="461"/>
                    </a:lnTo>
                    <a:lnTo>
                      <a:pt x="230" y="272"/>
                    </a:lnTo>
                    <a:lnTo>
                      <a:pt x="288" y="82"/>
                    </a:lnTo>
                    <a:lnTo>
                      <a:pt x="317" y="0"/>
                    </a:lnTo>
                    <a:lnTo>
                      <a:pt x="173"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73" name="Freeform 365">
                <a:extLst>
                  <a:ext uri="{FF2B5EF4-FFF2-40B4-BE49-F238E27FC236}">
                    <a16:creationId xmlns:a16="http://schemas.microsoft.com/office/drawing/2014/main" id="{75B29E85-F1B2-A4DF-445C-F7A7EDE27A61}"/>
                  </a:ext>
                </a:extLst>
              </p:cNvPr>
              <p:cNvSpPr>
                <a:spLocks/>
              </p:cNvSpPr>
              <p:nvPr/>
            </p:nvSpPr>
            <p:spPr bwMode="auto">
              <a:xfrm>
                <a:off x="2416" y="196"/>
                <a:ext cx="317" cy="461"/>
              </a:xfrm>
              <a:custGeom>
                <a:avLst/>
                <a:gdLst/>
                <a:ahLst/>
                <a:cxnLst>
                  <a:cxn ang="0">
                    <a:pos x="173" y="0"/>
                  </a:cxn>
                  <a:cxn ang="0">
                    <a:pos x="58" y="136"/>
                  </a:cxn>
                  <a:cxn ang="0">
                    <a:pos x="0" y="352"/>
                  </a:cxn>
                  <a:cxn ang="0">
                    <a:pos x="29" y="352"/>
                  </a:cxn>
                  <a:cxn ang="0">
                    <a:pos x="29" y="434"/>
                  </a:cxn>
                  <a:cxn ang="0">
                    <a:pos x="173" y="461"/>
                  </a:cxn>
                  <a:cxn ang="0">
                    <a:pos x="230" y="272"/>
                  </a:cxn>
                  <a:cxn ang="0">
                    <a:pos x="288" y="82"/>
                  </a:cxn>
                  <a:cxn ang="0">
                    <a:pos x="317" y="0"/>
                  </a:cxn>
                  <a:cxn ang="0">
                    <a:pos x="173" y="0"/>
                  </a:cxn>
                </a:cxnLst>
                <a:rect l="0" t="0" r="r" b="b"/>
                <a:pathLst>
                  <a:path w="317" h="461">
                    <a:moveTo>
                      <a:pt x="173" y="0"/>
                    </a:moveTo>
                    <a:lnTo>
                      <a:pt x="58" y="136"/>
                    </a:lnTo>
                    <a:lnTo>
                      <a:pt x="0" y="352"/>
                    </a:lnTo>
                    <a:lnTo>
                      <a:pt x="29" y="352"/>
                    </a:lnTo>
                    <a:lnTo>
                      <a:pt x="29" y="434"/>
                    </a:lnTo>
                    <a:lnTo>
                      <a:pt x="173" y="461"/>
                    </a:lnTo>
                    <a:lnTo>
                      <a:pt x="230" y="272"/>
                    </a:lnTo>
                    <a:lnTo>
                      <a:pt x="288" y="82"/>
                    </a:lnTo>
                    <a:lnTo>
                      <a:pt x="317" y="0"/>
                    </a:lnTo>
                    <a:lnTo>
                      <a:pt x="173"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6" name="Group 372">
              <a:extLst>
                <a:ext uri="{FF2B5EF4-FFF2-40B4-BE49-F238E27FC236}">
                  <a16:creationId xmlns:a16="http://schemas.microsoft.com/office/drawing/2014/main" id="{8E8E5B4D-B3C1-BAC2-0451-B4BE07069074}"/>
                </a:ext>
              </a:extLst>
            </p:cNvPr>
            <p:cNvGrpSpPr>
              <a:grpSpLocks/>
            </p:cNvGrpSpPr>
            <p:nvPr/>
          </p:nvGrpSpPr>
          <p:grpSpPr bwMode="auto">
            <a:xfrm>
              <a:off x="1164984" y="2627525"/>
              <a:ext cx="531451" cy="404915"/>
              <a:chOff x="580" y="1010"/>
              <a:chExt cx="462" cy="352"/>
            </a:xfrm>
            <a:solidFill>
              <a:schemeClr val="bg1">
                <a:lumMod val="85000"/>
              </a:schemeClr>
            </a:solidFill>
          </p:grpSpPr>
          <p:sp>
            <p:nvSpPr>
              <p:cNvPr id="670" name="Freeform 373">
                <a:extLst>
                  <a:ext uri="{FF2B5EF4-FFF2-40B4-BE49-F238E27FC236}">
                    <a16:creationId xmlns:a16="http://schemas.microsoft.com/office/drawing/2014/main" id="{985A19C2-C2D2-FEAB-7CEF-6EC2A64AE893}"/>
                  </a:ext>
                </a:extLst>
              </p:cNvPr>
              <p:cNvSpPr>
                <a:spLocks/>
              </p:cNvSpPr>
              <p:nvPr/>
            </p:nvSpPr>
            <p:spPr bwMode="auto">
              <a:xfrm>
                <a:off x="580" y="1010"/>
                <a:ext cx="462" cy="352"/>
              </a:xfrm>
              <a:custGeom>
                <a:avLst/>
                <a:gdLst/>
                <a:ahLst/>
                <a:cxnLst>
                  <a:cxn ang="0">
                    <a:pos x="0" y="0"/>
                  </a:cxn>
                  <a:cxn ang="0">
                    <a:pos x="58" y="55"/>
                  </a:cxn>
                  <a:cxn ang="0">
                    <a:pos x="87" y="109"/>
                  </a:cxn>
                  <a:cxn ang="0">
                    <a:pos x="58" y="136"/>
                  </a:cxn>
                  <a:cxn ang="0">
                    <a:pos x="231" y="298"/>
                  </a:cxn>
                  <a:cxn ang="0">
                    <a:pos x="260" y="352"/>
                  </a:cxn>
                  <a:cxn ang="0">
                    <a:pos x="347" y="352"/>
                  </a:cxn>
                  <a:cxn ang="0">
                    <a:pos x="347" y="271"/>
                  </a:cxn>
                  <a:cxn ang="0">
                    <a:pos x="462" y="271"/>
                  </a:cxn>
                  <a:cxn ang="0">
                    <a:pos x="404" y="82"/>
                  </a:cxn>
                  <a:cxn ang="0">
                    <a:pos x="375" y="0"/>
                  </a:cxn>
                  <a:cxn ang="0">
                    <a:pos x="0" y="0"/>
                  </a:cxn>
                </a:cxnLst>
                <a:rect l="0" t="0" r="r" b="b"/>
                <a:pathLst>
                  <a:path w="462" h="352">
                    <a:moveTo>
                      <a:pt x="0" y="0"/>
                    </a:moveTo>
                    <a:lnTo>
                      <a:pt x="58" y="55"/>
                    </a:lnTo>
                    <a:lnTo>
                      <a:pt x="87" y="109"/>
                    </a:lnTo>
                    <a:lnTo>
                      <a:pt x="58" y="136"/>
                    </a:lnTo>
                    <a:lnTo>
                      <a:pt x="231" y="298"/>
                    </a:lnTo>
                    <a:lnTo>
                      <a:pt x="260" y="352"/>
                    </a:lnTo>
                    <a:lnTo>
                      <a:pt x="347" y="352"/>
                    </a:lnTo>
                    <a:lnTo>
                      <a:pt x="347" y="271"/>
                    </a:lnTo>
                    <a:lnTo>
                      <a:pt x="462" y="271"/>
                    </a:lnTo>
                    <a:lnTo>
                      <a:pt x="404" y="82"/>
                    </a:lnTo>
                    <a:lnTo>
                      <a:pt x="375"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71" name="Freeform 374">
                <a:extLst>
                  <a:ext uri="{FF2B5EF4-FFF2-40B4-BE49-F238E27FC236}">
                    <a16:creationId xmlns:a16="http://schemas.microsoft.com/office/drawing/2014/main" id="{903AD466-0A3D-E153-255B-3F0E775EAB34}"/>
                  </a:ext>
                </a:extLst>
              </p:cNvPr>
              <p:cNvSpPr>
                <a:spLocks/>
              </p:cNvSpPr>
              <p:nvPr/>
            </p:nvSpPr>
            <p:spPr bwMode="auto">
              <a:xfrm>
                <a:off x="580" y="1010"/>
                <a:ext cx="462" cy="352"/>
              </a:xfrm>
              <a:custGeom>
                <a:avLst/>
                <a:gdLst/>
                <a:ahLst/>
                <a:cxnLst>
                  <a:cxn ang="0">
                    <a:pos x="0" y="0"/>
                  </a:cxn>
                  <a:cxn ang="0">
                    <a:pos x="58" y="55"/>
                  </a:cxn>
                  <a:cxn ang="0">
                    <a:pos x="87" y="109"/>
                  </a:cxn>
                  <a:cxn ang="0">
                    <a:pos x="58" y="136"/>
                  </a:cxn>
                  <a:cxn ang="0">
                    <a:pos x="231" y="298"/>
                  </a:cxn>
                  <a:cxn ang="0">
                    <a:pos x="260" y="352"/>
                  </a:cxn>
                  <a:cxn ang="0">
                    <a:pos x="347" y="352"/>
                  </a:cxn>
                  <a:cxn ang="0">
                    <a:pos x="347" y="271"/>
                  </a:cxn>
                  <a:cxn ang="0">
                    <a:pos x="462" y="271"/>
                  </a:cxn>
                  <a:cxn ang="0">
                    <a:pos x="404" y="82"/>
                  </a:cxn>
                  <a:cxn ang="0">
                    <a:pos x="375" y="0"/>
                  </a:cxn>
                  <a:cxn ang="0">
                    <a:pos x="0" y="0"/>
                  </a:cxn>
                </a:cxnLst>
                <a:rect l="0" t="0" r="r" b="b"/>
                <a:pathLst>
                  <a:path w="462" h="352">
                    <a:moveTo>
                      <a:pt x="0" y="0"/>
                    </a:moveTo>
                    <a:lnTo>
                      <a:pt x="58" y="55"/>
                    </a:lnTo>
                    <a:lnTo>
                      <a:pt x="87" y="109"/>
                    </a:lnTo>
                    <a:lnTo>
                      <a:pt x="58" y="136"/>
                    </a:lnTo>
                    <a:lnTo>
                      <a:pt x="231" y="298"/>
                    </a:lnTo>
                    <a:lnTo>
                      <a:pt x="260" y="352"/>
                    </a:lnTo>
                    <a:lnTo>
                      <a:pt x="347" y="352"/>
                    </a:lnTo>
                    <a:lnTo>
                      <a:pt x="347" y="271"/>
                    </a:lnTo>
                    <a:lnTo>
                      <a:pt x="462" y="271"/>
                    </a:lnTo>
                    <a:lnTo>
                      <a:pt x="404" y="82"/>
                    </a:lnTo>
                    <a:lnTo>
                      <a:pt x="375"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7" name="Group 375">
              <a:extLst>
                <a:ext uri="{FF2B5EF4-FFF2-40B4-BE49-F238E27FC236}">
                  <a16:creationId xmlns:a16="http://schemas.microsoft.com/office/drawing/2014/main" id="{5877CCE8-53BD-3C95-E8E2-00CD682E79C7}"/>
                </a:ext>
              </a:extLst>
            </p:cNvPr>
            <p:cNvGrpSpPr>
              <a:grpSpLocks/>
            </p:cNvGrpSpPr>
            <p:nvPr/>
          </p:nvGrpSpPr>
          <p:grpSpPr bwMode="auto">
            <a:xfrm>
              <a:off x="1365140" y="2221461"/>
              <a:ext cx="691345" cy="500391"/>
              <a:chOff x="754" y="657"/>
              <a:chExt cx="601" cy="435"/>
            </a:xfrm>
            <a:solidFill>
              <a:schemeClr val="bg1">
                <a:lumMod val="85000"/>
              </a:schemeClr>
            </a:solidFill>
          </p:grpSpPr>
          <p:sp>
            <p:nvSpPr>
              <p:cNvPr id="668" name="Freeform 376">
                <a:extLst>
                  <a:ext uri="{FF2B5EF4-FFF2-40B4-BE49-F238E27FC236}">
                    <a16:creationId xmlns:a16="http://schemas.microsoft.com/office/drawing/2014/main" id="{B71E4F86-7D0D-4A1F-D2F4-10DE377F7FF2}"/>
                  </a:ext>
                </a:extLst>
              </p:cNvPr>
              <p:cNvSpPr>
                <a:spLocks/>
              </p:cNvSpPr>
              <p:nvPr/>
            </p:nvSpPr>
            <p:spPr bwMode="auto">
              <a:xfrm>
                <a:off x="754" y="657"/>
                <a:ext cx="601" cy="435"/>
              </a:xfrm>
              <a:custGeom>
                <a:avLst/>
                <a:gdLst/>
                <a:ahLst/>
                <a:cxnLst>
                  <a:cxn ang="0">
                    <a:pos x="28" y="190"/>
                  </a:cxn>
                  <a:cxn ang="0">
                    <a:pos x="0" y="217"/>
                  </a:cxn>
                  <a:cxn ang="0">
                    <a:pos x="0" y="353"/>
                  </a:cxn>
                  <a:cxn ang="0">
                    <a:pos x="201" y="353"/>
                  </a:cxn>
                  <a:cxn ang="0">
                    <a:pos x="229" y="435"/>
                  </a:cxn>
                  <a:cxn ang="0">
                    <a:pos x="544" y="435"/>
                  </a:cxn>
                  <a:cxn ang="0">
                    <a:pos x="601" y="353"/>
                  </a:cxn>
                  <a:cxn ang="0">
                    <a:pos x="601" y="136"/>
                  </a:cxn>
                  <a:cxn ang="0">
                    <a:pos x="515" y="136"/>
                  </a:cxn>
                  <a:cxn ang="0">
                    <a:pos x="515" y="0"/>
                  </a:cxn>
                  <a:cxn ang="0">
                    <a:pos x="229" y="0"/>
                  </a:cxn>
                  <a:cxn ang="0">
                    <a:pos x="258" y="136"/>
                  </a:cxn>
                  <a:cxn ang="0">
                    <a:pos x="172" y="136"/>
                  </a:cxn>
                  <a:cxn ang="0">
                    <a:pos x="172" y="190"/>
                  </a:cxn>
                  <a:cxn ang="0">
                    <a:pos x="28" y="190"/>
                  </a:cxn>
                </a:cxnLst>
                <a:rect l="0" t="0" r="r" b="b"/>
                <a:pathLst>
                  <a:path w="601" h="435">
                    <a:moveTo>
                      <a:pt x="28" y="190"/>
                    </a:moveTo>
                    <a:lnTo>
                      <a:pt x="0" y="217"/>
                    </a:lnTo>
                    <a:lnTo>
                      <a:pt x="0" y="353"/>
                    </a:lnTo>
                    <a:lnTo>
                      <a:pt x="201" y="353"/>
                    </a:lnTo>
                    <a:lnTo>
                      <a:pt x="229" y="435"/>
                    </a:lnTo>
                    <a:lnTo>
                      <a:pt x="544" y="435"/>
                    </a:lnTo>
                    <a:lnTo>
                      <a:pt x="601" y="353"/>
                    </a:lnTo>
                    <a:lnTo>
                      <a:pt x="601" y="136"/>
                    </a:lnTo>
                    <a:lnTo>
                      <a:pt x="515" y="136"/>
                    </a:lnTo>
                    <a:lnTo>
                      <a:pt x="515" y="0"/>
                    </a:lnTo>
                    <a:lnTo>
                      <a:pt x="229" y="0"/>
                    </a:lnTo>
                    <a:lnTo>
                      <a:pt x="258" y="136"/>
                    </a:lnTo>
                    <a:lnTo>
                      <a:pt x="172" y="136"/>
                    </a:lnTo>
                    <a:lnTo>
                      <a:pt x="172" y="190"/>
                    </a:lnTo>
                    <a:lnTo>
                      <a:pt x="28" y="19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69" name="Freeform 377">
                <a:extLst>
                  <a:ext uri="{FF2B5EF4-FFF2-40B4-BE49-F238E27FC236}">
                    <a16:creationId xmlns:a16="http://schemas.microsoft.com/office/drawing/2014/main" id="{F22886DA-37EC-4855-5CFA-C457A8C5B9F2}"/>
                  </a:ext>
                </a:extLst>
              </p:cNvPr>
              <p:cNvSpPr>
                <a:spLocks/>
              </p:cNvSpPr>
              <p:nvPr/>
            </p:nvSpPr>
            <p:spPr bwMode="auto">
              <a:xfrm>
                <a:off x="754" y="657"/>
                <a:ext cx="601" cy="435"/>
              </a:xfrm>
              <a:custGeom>
                <a:avLst/>
                <a:gdLst/>
                <a:ahLst/>
                <a:cxnLst>
                  <a:cxn ang="0">
                    <a:pos x="28" y="190"/>
                  </a:cxn>
                  <a:cxn ang="0">
                    <a:pos x="0" y="217"/>
                  </a:cxn>
                  <a:cxn ang="0">
                    <a:pos x="0" y="353"/>
                  </a:cxn>
                  <a:cxn ang="0">
                    <a:pos x="201" y="353"/>
                  </a:cxn>
                  <a:cxn ang="0">
                    <a:pos x="229" y="435"/>
                  </a:cxn>
                  <a:cxn ang="0">
                    <a:pos x="544" y="435"/>
                  </a:cxn>
                  <a:cxn ang="0">
                    <a:pos x="601" y="353"/>
                  </a:cxn>
                  <a:cxn ang="0">
                    <a:pos x="601" y="136"/>
                  </a:cxn>
                  <a:cxn ang="0">
                    <a:pos x="515" y="136"/>
                  </a:cxn>
                  <a:cxn ang="0">
                    <a:pos x="515" y="0"/>
                  </a:cxn>
                  <a:cxn ang="0">
                    <a:pos x="229" y="0"/>
                  </a:cxn>
                  <a:cxn ang="0">
                    <a:pos x="258" y="136"/>
                  </a:cxn>
                  <a:cxn ang="0">
                    <a:pos x="172" y="136"/>
                  </a:cxn>
                  <a:cxn ang="0">
                    <a:pos x="172" y="190"/>
                  </a:cxn>
                  <a:cxn ang="0">
                    <a:pos x="28" y="190"/>
                  </a:cxn>
                </a:cxnLst>
                <a:rect l="0" t="0" r="r" b="b"/>
                <a:pathLst>
                  <a:path w="601" h="435">
                    <a:moveTo>
                      <a:pt x="28" y="190"/>
                    </a:moveTo>
                    <a:lnTo>
                      <a:pt x="0" y="217"/>
                    </a:lnTo>
                    <a:lnTo>
                      <a:pt x="0" y="353"/>
                    </a:lnTo>
                    <a:lnTo>
                      <a:pt x="201" y="353"/>
                    </a:lnTo>
                    <a:lnTo>
                      <a:pt x="229" y="435"/>
                    </a:lnTo>
                    <a:lnTo>
                      <a:pt x="544" y="435"/>
                    </a:lnTo>
                    <a:lnTo>
                      <a:pt x="601" y="353"/>
                    </a:lnTo>
                    <a:lnTo>
                      <a:pt x="601" y="136"/>
                    </a:lnTo>
                    <a:lnTo>
                      <a:pt x="515" y="136"/>
                    </a:lnTo>
                    <a:lnTo>
                      <a:pt x="515" y="0"/>
                    </a:lnTo>
                    <a:lnTo>
                      <a:pt x="229" y="0"/>
                    </a:lnTo>
                    <a:lnTo>
                      <a:pt x="258" y="136"/>
                    </a:lnTo>
                    <a:lnTo>
                      <a:pt x="172" y="136"/>
                    </a:lnTo>
                    <a:lnTo>
                      <a:pt x="172" y="190"/>
                    </a:lnTo>
                    <a:lnTo>
                      <a:pt x="28" y="19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8" name="Group 378">
              <a:extLst>
                <a:ext uri="{FF2B5EF4-FFF2-40B4-BE49-F238E27FC236}">
                  <a16:creationId xmlns:a16="http://schemas.microsoft.com/office/drawing/2014/main" id="{92E02535-8EAB-C05A-8FD5-F8F043E035FF}"/>
                </a:ext>
              </a:extLst>
            </p:cNvPr>
            <p:cNvGrpSpPr>
              <a:grpSpLocks/>
            </p:cNvGrpSpPr>
            <p:nvPr/>
          </p:nvGrpSpPr>
          <p:grpSpPr bwMode="auto">
            <a:xfrm>
              <a:off x="1958709" y="2002901"/>
              <a:ext cx="494640" cy="373855"/>
              <a:chOff x="1270" y="467"/>
              <a:chExt cx="430" cy="325"/>
            </a:xfrm>
            <a:solidFill>
              <a:schemeClr val="bg1">
                <a:lumMod val="85000"/>
              </a:schemeClr>
            </a:solidFill>
          </p:grpSpPr>
          <p:sp>
            <p:nvSpPr>
              <p:cNvPr id="666" name="Freeform 379">
                <a:extLst>
                  <a:ext uri="{FF2B5EF4-FFF2-40B4-BE49-F238E27FC236}">
                    <a16:creationId xmlns:a16="http://schemas.microsoft.com/office/drawing/2014/main" id="{158887EC-765C-8714-B352-40C231307479}"/>
                  </a:ext>
                </a:extLst>
              </p:cNvPr>
              <p:cNvSpPr>
                <a:spLocks/>
              </p:cNvSpPr>
              <p:nvPr/>
            </p:nvSpPr>
            <p:spPr bwMode="auto">
              <a:xfrm>
                <a:off x="1270" y="467"/>
                <a:ext cx="430" cy="325"/>
              </a:xfrm>
              <a:custGeom>
                <a:avLst/>
                <a:gdLst/>
                <a:ahLst/>
                <a:cxnLst>
                  <a:cxn ang="0">
                    <a:pos x="28" y="0"/>
                  </a:cxn>
                  <a:cxn ang="0">
                    <a:pos x="28" y="55"/>
                  </a:cxn>
                  <a:cxn ang="0">
                    <a:pos x="0" y="108"/>
                  </a:cxn>
                  <a:cxn ang="0">
                    <a:pos x="0" y="325"/>
                  </a:cxn>
                  <a:cxn ang="0">
                    <a:pos x="229" y="325"/>
                  </a:cxn>
                  <a:cxn ang="0">
                    <a:pos x="229" y="271"/>
                  </a:cxn>
                  <a:cxn ang="0">
                    <a:pos x="430" y="271"/>
                  </a:cxn>
                  <a:cxn ang="0">
                    <a:pos x="430" y="108"/>
                  </a:cxn>
                  <a:cxn ang="0">
                    <a:pos x="315" y="108"/>
                  </a:cxn>
                  <a:cxn ang="0">
                    <a:pos x="315" y="55"/>
                  </a:cxn>
                  <a:cxn ang="0">
                    <a:pos x="200" y="0"/>
                  </a:cxn>
                  <a:cxn ang="0">
                    <a:pos x="28" y="0"/>
                  </a:cxn>
                </a:cxnLst>
                <a:rect l="0" t="0" r="r" b="b"/>
                <a:pathLst>
                  <a:path w="430" h="325">
                    <a:moveTo>
                      <a:pt x="28" y="0"/>
                    </a:moveTo>
                    <a:lnTo>
                      <a:pt x="28" y="55"/>
                    </a:lnTo>
                    <a:lnTo>
                      <a:pt x="0" y="108"/>
                    </a:lnTo>
                    <a:lnTo>
                      <a:pt x="0" y="325"/>
                    </a:lnTo>
                    <a:lnTo>
                      <a:pt x="229" y="325"/>
                    </a:lnTo>
                    <a:lnTo>
                      <a:pt x="229" y="271"/>
                    </a:lnTo>
                    <a:lnTo>
                      <a:pt x="430" y="271"/>
                    </a:lnTo>
                    <a:lnTo>
                      <a:pt x="430" y="108"/>
                    </a:lnTo>
                    <a:lnTo>
                      <a:pt x="315" y="108"/>
                    </a:lnTo>
                    <a:lnTo>
                      <a:pt x="315" y="55"/>
                    </a:lnTo>
                    <a:lnTo>
                      <a:pt x="200" y="0"/>
                    </a:lnTo>
                    <a:lnTo>
                      <a:pt x="28"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67" name="Freeform 380">
                <a:extLst>
                  <a:ext uri="{FF2B5EF4-FFF2-40B4-BE49-F238E27FC236}">
                    <a16:creationId xmlns:a16="http://schemas.microsoft.com/office/drawing/2014/main" id="{5C7FBDE7-411D-9F2A-ABCB-26BF76789A43}"/>
                  </a:ext>
                </a:extLst>
              </p:cNvPr>
              <p:cNvSpPr>
                <a:spLocks/>
              </p:cNvSpPr>
              <p:nvPr/>
            </p:nvSpPr>
            <p:spPr bwMode="auto">
              <a:xfrm>
                <a:off x="1270" y="467"/>
                <a:ext cx="430" cy="325"/>
              </a:xfrm>
              <a:custGeom>
                <a:avLst/>
                <a:gdLst/>
                <a:ahLst/>
                <a:cxnLst>
                  <a:cxn ang="0">
                    <a:pos x="28" y="0"/>
                  </a:cxn>
                  <a:cxn ang="0">
                    <a:pos x="28" y="55"/>
                  </a:cxn>
                  <a:cxn ang="0">
                    <a:pos x="0" y="108"/>
                  </a:cxn>
                  <a:cxn ang="0">
                    <a:pos x="0" y="325"/>
                  </a:cxn>
                  <a:cxn ang="0">
                    <a:pos x="229" y="325"/>
                  </a:cxn>
                  <a:cxn ang="0">
                    <a:pos x="229" y="271"/>
                  </a:cxn>
                  <a:cxn ang="0">
                    <a:pos x="430" y="271"/>
                  </a:cxn>
                  <a:cxn ang="0">
                    <a:pos x="430" y="108"/>
                  </a:cxn>
                  <a:cxn ang="0">
                    <a:pos x="315" y="108"/>
                  </a:cxn>
                  <a:cxn ang="0">
                    <a:pos x="315" y="55"/>
                  </a:cxn>
                  <a:cxn ang="0">
                    <a:pos x="200" y="0"/>
                  </a:cxn>
                  <a:cxn ang="0">
                    <a:pos x="28" y="0"/>
                  </a:cxn>
                </a:cxnLst>
                <a:rect l="0" t="0" r="r" b="b"/>
                <a:pathLst>
                  <a:path w="430" h="325">
                    <a:moveTo>
                      <a:pt x="28" y="0"/>
                    </a:moveTo>
                    <a:lnTo>
                      <a:pt x="28" y="55"/>
                    </a:lnTo>
                    <a:lnTo>
                      <a:pt x="0" y="108"/>
                    </a:lnTo>
                    <a:lnTo>
                      <a:pt x="0" y="325"/>
                    </a:lnTo>
                    <a:lnTo>
                      <a:pt x="229" y="325"/>
                    </a:lnTo>
                    <a:lnTo>
                      <a:pt x="229" y="271"/>
                    </a:lnTo>
                    <a:lnTo>
                      <a:pt x="430" y="271"/>
                    </a:lnTo>
                    <a:lnTo>
                      <a:pt x="430" y="108"/>
                    </a:lnTo>
                    <a:lnTo>
                      <a:pt x="315" y="108"/>
                    </a:lnTo>
                    <a:lnTo>
                      <a:pt x="315" y="55"/>
                    </a:lnTo>
                    <a:lnTo>
                      <a:pt x="200" y="0"/>
                    </a:lnTo>
                    <a:lnTo>
                      <a:pt x="28"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19" name="Group 381">
              <a:extLst>
                <a:ext uri="{FF2B5EF4-FFF2-40B4-BE49-F238E27FC236}">
                  <a16:creationId xmlns:a16="http://schemas.microsoft.com/office/drawing/2014/main" id="{A89DC2BB-6CFA-0E7A-0903-789D02D86510}"/>
                </a:ext>
              </a:extLst>
            </p:cNvPr>
            <p:cNvGrpSpPr>
              <a:grpSpLocks/>
            </p:cNvGrpSpPr>
            <p:nvPr/>
          </p:nvGrpSpPr>
          <p:grpSpPr bwMode="auto">
            <a:xfrm>
              <a:off x="1990918" y="2314638"/>
              <a:ext cx="563659" cy="407215"/>
              <a:chOff x="1298" y="738"/>
              <a:chExt cx="490" cy="354"/>
            </a:xfrm>
            <a:solidFill>
              <a:schemeClr val="bg1">
                <a:lumMod val="85000"/>
              </a:schemeClr>
            </a:solidFill>
          </p:grpSpPr>
          <p:sp>
            <p:nvSpPr>
              <p:cNvPr id="664" name="Freeform 382">
                <a:extLst>
                  <a:ext uri="{FF2B5EF4-FFF2-40B4-BE49-F238E27FC236}">
                    <a16:creationId xmlns:a16="http://schemas.microsoft.com/office/drawing/2014/main" id="{262CE47F-E8D0-01B1-440B-7D1A3F4A13F3}"/>
                  </a:ext>
                </a:extLst>
              </p:cNvPr>
              <p:cNvSpPr>
                <a:spLocks/>
              </p:cNvSpPr>
              <p:nvPr/>
            </p:nvSpPr>
            <p:spPr bwMode="auto">
              <a:xfrm>
                <a:off x="1298" y="738"/>
                <a:ext cx="490" cy="354"/>
              </a:xfrm>
              <a:custGeom>
                <a:avLst/>
                <a:gdLst/>
                <a:ahLst/>
                <a:cxnLst>
                  <a:cxn ang="0">
                    <a:pos x="57" y="54"/>
                  </a:cxn>
                  <a:cxn ang="0">
                    <a:pos x="57" y="272"/>
                  </a:cxn>
                  <a:cxn ang="0">
                    <a:pos x="0" y="354"/>
                  </a:cxn>
                  <a:cxn ang="0">
                    <a:pos x="490" y="354"/>
                  </a:cxn>
                  <a:cxn ang="0">
                    <a:pos x="490" y="190"/>
                  </a:cxn>
                  <a:cxn ang="0">
                    <a:pos x="403" y="109"/>
                  </a:cxn>
                  <a:cxn ang="0">
                    <a:pos x="403" y="0"/>
                  </a:cxn>
                  <a:cxn ang="0">
                    <a:pos x="202" y="0"/>
                  </a:cxn>
                  <a:cxn ang="0">
                    <a:pos x="202" y="54"/>
                  </a:cxn>
                  <a:cxn ang="0">
                    <a:pos x="57" y="54"/>
                  </a:cxn>
                </a:cxnLst>
                <a:rect l="0" t="0" r="r" b="b"/>
                <a:pathLst>
                  <a:path w="490" h="354">
                    <a:moveTo>
                      <a:pt x="57" y="54"/>
                    </a:moveTo>
                    <a:lnTo>
                      <a:pt x="57" y="272"/>
                    </a:lnTo>
                    <a:lnTo>
                      <a:pt x="0" y="354"/>
                    </a:lnTo>
                    <a:lnTo>
                      <a:pt x="490" y="354"/>
                    </a:lnTo>
                    <a:lnTo>
                      <a:pt x="490" y="190"/>
                    </a:lnTo>
                    <a:lnTo>
                      <a:pt x="403" y="109"/>
                    </a:lnTo>
                    <a:lnTo>
                      <a:pt x="403" y="0"/>
                    </a:lnTo>
                    <a:lnTo>
                      <a:pt x="202" y="0"/>
                    </a:lnTo>
                    <a:lnTo>
                      <a:pt x="202" y="54"/>
                    </a:lnTo>
                    <a:lnTo>
                      <a:pt x="57" y="5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65" name="Freeform 383">
                <a:extLst>
                  <a:ext uri="{FF2B5EF4-FFF2-40B4-BE49-F238E27FC236}">
                    <a16:creationId xmlns:a16="http://schemas.microsoft.com/office/drawing/2014/main" id="{C72A1A0B-3ECE-A3BC-4436-FA92CFD03076}"/>
                  </a:ext>
                </a:extLst>
              </p:cNvPr>
              <p:cNvSpPr>
                <a:spLocks/>
              </p:cNvSpPr>
              <p:nvPr/>
            </p:nvSpPr>
            <p:spPr bwMode="auto">
              <a:xfrm>
                <a:off x="1298" y="738"/>
                <a:ext cx="490" cy="354"/>
              </a:xfrm>
              <a:custGeom>
                <a:avLst/>
                <a:gdLst/>
                <a:ahLst/>
                <a:cxnLst>
                  <a:cxn ang="0">
                    <a:pos x="57" y="54"/>
                  </a:cxn>
                  <a:cxn ang="0">
                    <a:pos x="57" y="272"/>
                  </a:cxn>
                  <a:cxn ang="0">
                    <a:pos x="0" y="354"/>
                  </a:cxn>
                  <a:cxn ang="0">
                    <a:pos x="490" y="354"/>
                  </a:cxn>
                  <a:cxn ang="0">
                    <a:pos x="490" y="190"/>
                  </a:cxn>
                  <a:cxn ang="0">
                    <a:pos x="403" y="109"/>
                  </a:cxn>
                  <a:cxn ang="0">
                    <a:pos x="403" y="0"/>
                  </a:cxn>
                  <a:cxn ang="0">
                    <a:pos x="202" y="0"/>
                  </a:cxn>
                  <a:cxn ang="0">
                    <a:pos x="202" y="54"/>
                  </a:cxn>
                  <a:cxn ang="0">
                    <a:pos x="57" y="54"/>
                  </a:cxn>
                </a:cxnLst>
                <a:rect l="0" t="0" r="r" b="b"/>
                <a:pathLst>
                  <a:path w="490" h="354">
                    <a:moveTo>
                      <a:pt x="57" y="54"/>
                    </a:moveTo>
                    <a:lnTo>
                      <a:pt x="57" y="272"/>
                    </a:lnTo>
                    <a:lnTo>
                      <a:pt x="0" y="354"/>
                    </a:lnTo>
                    <a:lnTo>
                      <a:pt x="490" y="354"/>
                    </a:lnTo>
                    <a:lnTo>
                      <a:pt x="490" y="190"/>
                    </a:lnTo>
                    <a:lnTo>
                      <a:pt x="403" y="109"/>
                    </a:lnTo>
                    <a:lnTo>
                      <a:pt x="403" y="0"/>
                    </a:lnTo>
                    <a:lnTo>
                      <a:pt x="202" y="0"/>
                    </a:lnTo>
                    <a:lnTo>
                      <a:pt x="202" y="54"/>
                    </a:lnTo>
                    <a:lnTo>
                      <a:pt x="57" y="5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sp>
          <p:nvSpPr>
            <p:cNvPr id="120" name="Freeform 385">
              <a:extLst>
                <a:ext uri="{FF2B5EF4-FFF2-40B4-BE49-F238E27FC236}">
                  <a16:creationId xmlns:a16="http://schemas.microsoft.com/office/drawing/2014/main" id="{830CCAFF-FF0C-2F6D-48B7-FDA122FAFD6D}"/>
                </a:ext>
              </a:extLst>
            </p:cNvPr>
            <p:cNvSpPr>
              <a:spLocks/>
            </p:cNvSpPr>
            <p:nvPr/>
          </p:nvSpPr>
          <p:spPr bwMode="auto">
            <a:xfrm>
              <a:off x="2453346" y="2060928"/>
              <a:ext cx="526849" cy="499240"/>
            </a:xfrm>
            <a:custGeom>
              <a:avLst/>
              <a:gdLst/>
              <a:ahLst/>
              <a:cxnLst>
                <a:cxn ang="0">
                  <a:pos x="0" y="135"/>
                </a:cxn>
                <a:cxn ang="0">
                  <a:pos x="0" y="325"/>
                </a:cxn>
                <a:cxn ang="0">
                  <a:pos x="86" y="406"/>
                </a:cxn>
                <a:cxn ang="0">
                  <a:pos x="86" y="434"/>
                </a:cxn>
                <a:cxn ang="0">
                  <a:pos x="343" y="434"/>
                </a:cxn>
                <a:cxn ang="0">
                  <a:pos x="372" y="325"/>
                </a:cxn>
                <a:cxn ang="0">
                  <a:pos x="458" y="189"/>
                </a:cxn>
                <a:cxn ang="0">
                  <a:pos x="430" y="53"/>
                </a:cxn>
                <a:cxn ang="0">
                  <a:pos x="401" y="26"/>
                </a:cxn>
                <a:cxn ang="0">
                  <a:pos x="343" y="26"/>
                </a:cxn>
                <a:cxn ang="0">
                  <a:pos x="315" y="0"/>
                </a:cxn>
                <a:cxn ang="0">
                  <a:pos x="115" y="135"/>
                </a:cxn>
                <a:cxn ang="0">
                  <a:pos x="0" y="135"/>
                </a:cxn>
              </a:cxnLst>
              <a:rect l="0" t="0" r="r" b="b"/>
              <a:pathLst>
                <a:path w="458" h="434">
                  <a:moveTo>
                    <a:pt x="0" y="135"/>
                  </a:moveTo>
                  <a:lnTo>
                    <a:pt x="0" y="325"/>
                  </a:lnTo>
                  <a:lnTo>
                    <a:pt x="86" y="406"/>
                  </a:lnTo>
                  <a:lnTo>
                    <a:pt x="86" y="434"/>
                  </a:lnTo>
                  <a:lnTo>
                    <a:pt x="343" y="434"/>
                  </a:lnTo>
                  <a:lnTo>
                    <a:pt x="372" y="325"/>
                  </a:lnTo>
                  <a:lnTo>
                    <a:pt x="458" y="189"/>
                  </a:lnTo>
                  <a:lnTo>
                    <a:pt x="430" y="53"/>
                  </a:lnTo>
                  <a:lnTo>
                    <a:pt x="401" y="26"/>
                  </a:lnTo>
                  <a:lnTo>
                    <a:pt x="343" y="26"/>
                  </a:lnTo>
                  <a:lnTo>
                    <a:pt x="315" y="0"/>
                  </a:lnTo>
                  <a:lnTo>
                    <a:pt x="115" y="135"/>
                  </a:lnTo>
                  <a:lnTo>
                    <a:pt x="0" y="135"/>
                  </a:lnTo>
                  <a:close/>
                </a:path>
              </a:pathLst>
            </a:custGeom>
            <a:solidFill>
              <a:schemeClr val="bg1">
                <a:lumMod val="85000"/>
              </a:schemeClr>
            </a:solidFill>
            <a:ln w="12700">
              <a:solidFill>
                <a:schemeClr val="bg1"/>
              </a:solidFill>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nvGrpSpPr>
            <p:cNvPr id="121" name="Group 387">
              <a:extLst>
                <a:ext uri="{FF2B5EF4-FFF2-40B4-BE49-F238E27FC236}">
                  <a16:creationId xmlns:a16="http://schemas.microsoft.com/office/drawing/2014/main" id="{751DB783-E6F2-4B88-E563-365DFECA5327}"/>
                </a:ext>
              </a:extLst>
            </p:cNvPr>
            <p:cNvGrpSpPr>
              <a:grpSpLocks/>
            </p:cNvGrpSpPr>
            <p:nvPr/>
          </p:nvGrpSpPr>
          <p:grpSpPr bwMode="auto">
            <a:xfrm>
              <a:off x="2552274" y="2564257"/>
              <a:ext cx="461281" cy="437123"/>
              <a:chOff x="1786" y="955"/>
              <a:chExt cx="401" cy="380"/>
            </a:xfrm>
            <a:solidFill>
              <a:schemeClr val="bg1">
                <a:lumMod val="85000"/>
              </a:schemeClr>
            </a:solidFill>
          </p:grpSpPr>
          <p:sp>
            <p:nvSpPr>
              <p:cNvPr id="662" name="Freeform 388">
                <a:extLst>
                  <a:ext uri="{FF2B5EF4-FFF2-40B4-BE49-F238E27FC236}">
                    <a16:creationId xmlns:a16="http://schemas.microsoft.com/office/drawing/2014/main" id="{E040DAEB-D90A-F05F-BDC8-7A4918546BE5}"/>
                  </a:ext>
                </a:extLst>
              </p:cNvPr>
              <p:cNvSpPr>
                <a:spLocks/>
              </p:cNvSpPr>
              <p:nvPr/>
            </p:nvSpPr>
            <p:spPr bwMode="auto">
              <a:xfrm>
                <a:off x="1786" y="955"/>
                <a:ext cx="401" cy="380"/>
              </a:xfrm>
              <a:custGeom>
                <a:avLst/>
                <a:gdLst/>
                <a:ahLst/>
                <a:cxnLst>
                  <a:cxn ang="0">
                    <a:pos x="0" y="0"/>
                  </a:cxn>
                  <a:cxn ang="0">
                    <a:pos x="0" y="380"/>
                  </a:cxn>
                  <a:cxn ang="0">
                    <a:pos x="373" y="380"/>
                  </a:cxn>
                  <a:cxn ang="0">
                    <a:pos x="373" y="298"/>
                  </a:cxn>
                  <a:cxn ang="0">
                    <a:pos x="344" y="218"/>
                  </a:cxn>
                  <a:cxn ang="0">
                    <a:pos x="401" y="190"/>
                  </a:cxn>
                  <a:cxn ang="0">
                    <a:pos x="373" y="136"/>
                  </a:cxn>
                  <a:cxn ang="0">
                    <a:pos x="287" y="109"/>
                  </a:cxn>
                  <a:cxn ang="0">
                    <a:pos x="287" y="0"/>
                  </a:cxn>
                  <a:cxn ang="0">
                    <a:pos x="0" y="0"/>
                  </a:cxn>
                </a:cxnLst>
                <a:rect l="0" t="0" r="r" b="b"/>
                <a:pathLst>
                  <a:path w="401" h="380">
                    <a:moveTo>
                      <a:pt x="0" y="0"/>
                    </a:moveTo>
                    <a:lnTo>
                      <a:pt x="0" y="380"/>
                    </a:lnTo>
                    <a:lnTo>
                      <a:pt x="373" y="380"/>
                    </a:lnTo>
                    <a:lnTo>
                      <a:pt x="373" y="298"/>
                    </a:lnTo>
                    <a:lnTo>
                      <a:pt x="344" y="218"/>
                    </a:lnTo>
                    <a:lnTo>
                      <a:pt x="401" y="190"/>
                    </a:lnTo>
                    <a:lnTo>
                      <a:pt x="373" y="136"/>
                    </a:lnTo>
                    <a:lnTo>
                      <a:pt x="287" y="109"/>
                    </a:lnTo>
                    <a:lnTo>
                      <a:pt x="287"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63" name="Freeform 389">
                <a:extLst>
                  <a:ext uri="{FF2B5EF4-FFF2-40B4-BE49-F238E27FC236}">
                    <a16:creationId xmlns:a16="http://schemas.microsoft.com/office/drawing/2014/main" id="{B30E394B-6061-E4CC-15D5-07B35EEE555A}"/>
                  </a:ext>
                </a:extLst>
              </p:cNvPr>
              <p:cNvSpPr>
                <a:spLocks/>
              </p:cNvSpPr>
              <p:nvPr/>
            </p:nvSpPr>
            <p:spPr bwMode="auto">
              <a:xfrm>
                <a:off x="1786" y="955"/>
                <a:ext cx="401" cy="380"/>
              </a:xfrm>
              <a:custGeom>
                <a:avLst/>
                <a:gdLst/>
                <a:ahLst/>
                <a:cxnLst>
                  <a:cxn ang="0">
                    <a:pos x="0" y="0"/>
                  </a:cxn>
                  <a:cxn ang="0">
                    <a:pos x="0" y="380"/>
                  </a:cxn>
                  <a:cxn ang="0">
                    <a:pos x="373" y="380"/>
                  </a:cxn>
                  <a:cxn ang="0">
                    <a:pos x="373" y="298"/>
                  </a:cxn>
                  <a:cxn ang="0">
                    <a:pos x="344" y="218"/>
                  </a:cxn>
                  <a:cxn ang="0">
                    <a:pos x="401" y="190"/>
                  </a:cxn>
                  <a:cxn ang="0">
                    <a:pos x="373" y="136"/>
                  </a:cxn>
                  <a:cxn ang="0">
                    <a:pos x="287" y="109"/>
                  </a:cxn>
                  <a:cxn ang="0">
                    <a:pos x="287" y="0"/>
                  </a:cxn>
                  <a:cxn ang="0">
                    <a:pos x="0" y="0"/>
                  </a:cxn>
                </a:cxnLst>
                <a:rect l="0" t="0" r="r" b="b"/>
                <a:pathLst>
                  <a:path w="401" h="380">
                    <a:moveTo>
                      <a:pt x="0" y="0"/>
                    </a:moveTo>
                    <a:lnTo>
                      <a:pt x="0" y="380"/>
                    </a:lnTo>
                    <a:lnTo>
                      <a:pt x="373" y="380"/>
                    </a:lnTo>
                    <a:lnTo>
                      <a:pt x="373" y="298"/>
                    </a:lnTo>
                    <a:lnTo>
                      <a:pt x="344" y="218"/>
                    </a:lnTo>
                    <a:lnTo>
                      <a:pt x="401" y="190"/>
                    </a:lnTo>
                    <a:lnTo>
                      <a:pt x="373" y="136"/>
                    </a:lnTo>
                    <a:lnTo>
                      <a:pt x="287" y="109"/>
                    </a:lnTo>
                    <a:lnTo>
                      <a:pt x="287"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22" name="Group 390">
              <a:extLst>
                <a:ext uri="{FF2B5EF4-FFF2-40B4-BE49-F238E27FC236}">
                  <a16:creationId xmlns:a16="http://schemas.microsoft.com/office/drawing/2014/main" id="{03E3AF3C-7518-459A-2787-725D5A9B2E7E}"/>
                </a:ext>
              </a:extLst>
            </p:cNvPr>
            <p:cNvGrpSpPr>
              <a:grpSpLocks/>
            </p:cNvGrpSpPr>
            <p:nvPr/>
          </p:nvGrpSpPr>
          <p:grpSpPr bwMode="auto">
            <a:xfrm>
              <a:off x="2847912" y="2096076"/>
              <a:ext cx="626927" cy="625776"/>
              <a:chOff x="2043" y="548"/>
              <a:chExt cx="545" cy="544"/>
            </a:xfrm>
            <a:solidFill>
              <a:schemeClr val="bg1">
                <a:lumMod val="85000"/>
              </a:schemeClr>
            </a:solidFill>
          </p:grpSpPr>
          <p:sp>
            <p:nvSpPr>
              <p:cNvPr id="660" name="Freeform 391">
                <a:extLst>
                  <a:ext uri="{FF2B5EF4-FFF2-40B4-BE49-F238E27FC236}">
                    <a16:creationId xmlns:a16="http://schemas.microsoft.com/office/drawing/2014/main" id="{18A94D63-B831-5468-BD06-376F3509CEC9}"/>
                  </a:ext>
                </a:extLst>
              </p:cNvPr>
              <p:cNvSpPr>
                <a:spLocks/>
              </p:cNvSpPr>
              <p:nvPr/>
            </p:nvSpPr>
            <p:spPr bwMode="auto">
              <a:xfrm>
                <a:off x="2043" y="548"/>
                <a:ext cx="545" cy="544"/>
              </a:xfrm>
              <a:custGeom>
                <a:avLst/>
                <a:gdLst/>
                <a:ahLst/>
                <a:cxnLst>
                  <a:cxn ang="0">
                    <a:pos x="0" y="408"/>
                  </a:cxn>
                  <a:cxn ang="0">
                    <a:pos x="29" y="408"/>
                  </a:cxn>
                  <a:cxn ang="0">
                    <a:pos x="29" y="517"/>
                  </a:cxn>
                  <a:cxn ang="0">
                    <a:pos x="115" y="544"/>
                  </a:cxn>
                  <a:cxn ang="0">
                    <a:pos x="230" y="462"/>
                  </a:cxn>
                  <a:cxn ang="0">
                    <a:pos x="259" y="354"/>
                  </a:cxn>
                  <a:cxn ang="0">
                    <a:pos x="373" y="299"/>
                  </a:cxn>
                  <a:cxn ang="0">
                    <a:pos x="517" y="299"/>
                  </a:cxn>
                  <a:cxn ang="0">
                    <a:pos x="517" y="163"/>
                  </a:cxn>
                  <a:cxn ang="0">
                    <a:pos x="545" y="163"/>
                  </a:cxn>
                  <a:cxn ang="0">
                    <a:pos x="545" y="109"/>
                  </a:cxn>
                  <a:cxn ang="0">
                    <a:pos x="402" y="82"/>
                  </a:cxn>
                  <a:cxn ang="0">
                    <a:pos x="402" y="0"/>
                  </a:cxn>
                  <a:cxn ang="0">
                    <a:pos x="373" y="0"/>
                  </a:cxn>
                  <a:cxn ang="0">
                    <a:pos x="345" y="54"/>
                  </a:cxn>
                  <a:cxn ang="0">
                    <a:pos x="115" y="163"/>
                  </a:cxn>
                  <a:cxn ang="0">
                    <a:pos x="29" y="299"/>
                  </a:cxn>
                  <a:cxn ang="0">
                    <a:pos x="0" y="408"/>
                  </a:cxn>
                </a:cxnLst>
                <a:rect l="0" t="0" r="r" b="b"/>
                <a:pathLst>
                  <a:path w="545" h="544">
                    <a:moveTo>
                      <a:pt x="0" y="408"/>
                    </a:moveTo>
                    <a:lnTo>
                      <a:pt x="29" y="408"/>
                    </a:lnTo>
                    <a:lnTo>
                      <a:pt x="29" y="517"/>
                    </a:lnTo>
                    <a:lnTo>
                      <a:pt x="115" y="544"/>
                    </a:lnTo>
                    <a:lnTo>
                      <a:pt x="230" y="462"/>
                    </a:lnTo>
                    <a:lnTo>
                      <a:pt x="259" y="354"/>
                    </a:lnTo>
                    <a:lnTo>
                      <a:pt x="373" y="299"/>
                    </a:lnTo>
                    <a:lnTo>
                      <a:pt x="517" y="299"/>
                    </a:lnTo>
                    <a:lnTo>
                      <a:pt x="517" y="163"/>
                    </a:lnTo>
                    <a:lnTo>
                      <a:pt x="545" y="163"/>
                    </a:lnTo>
                    <a:lnTo>
                      <a:pt x="545" y="109"/>
                    </a:lnTo>
                    <a:lnTo>
                      <a:pt x="402" y="82"/>
                    </a:lnTo>
                    <a:lnTo>
                      <a:pt x="402" y="0"/>
                    </a:lnTo>
                    <a:lnTo>
                      <a:pt x="373" y="0"/>
                    </a:lnTo>
                    <a:lnTo>
                      <a:pt x="345" y="54"/>
                    </a:lnTo>
                    <a:lnTo>
                      <a:pt x="115" y="163"/>
                    </a:lnTo>
                    <a:lnTo>
                      <a:pt x="29" y="299"/>
                    </a:lnTo>
                    <a:lnTo>
                      <a:pt x="0" y="408"/>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61" name="Freeform 392">
                <a:extLst>
                  <a:ext uri="{FF2B5EF4-FFF2-40B4-BE49-F238E27FC236}">
                    <a16:creationId xmlns:a16="http://schemas.microsoft.com/office/drawing/2014/main" id="{EF054533-3B9D-549C-291E-9A02A06389FE}"/>
                  </a:ext>
                </a:extLst>
              </p:cNvPr>
              <p:cNvSpPr>
                <a:spLocks/>
              </p:cNvSpPr>
              <p:nvPr/>
            </p:nvSpPr>
            <p:spPr bwMode="auto">
              <a:xfrm>
                <a:off x="2043" y="548"/>
                <a:ext cx="545" cy="544"/>
              </a:xfrm>
              <a:custGeom>
                <a:avLst/>
                <a:gdLst/>
                <a:ahLst/>
                <a:cxnLst>
                  <a:cxn ang="0">
                    <a:pos x="0" y="408"/>
                  </a:cxn>
                  <a:cxn ang="0">
                    <a:pos x="29" y="408"/>
                  </a:cxn>
                  <a:cxn ang="0">
                    <a:pos x="29" y="517"/>
                  </a:cxn>
                  <a:cxn ang="0">
                    <a:pos x="115" y="544"/>
                  </a:cxn>
                  <a:cxn ang="0">
                    <a:pos x="230" y="462"/>
                  </a:cxn>
                  <a:cxn ang="0">
                    <a:pos x="259" y="354"/>
                  </a:cxn>
                  <a:cxn ang="0">
                    <a:pos x="373" y="299"/>
                  </a:cxn>
                  <a:cxn ang="0">
                    <a:pos x="517" y="299"/>
                  </a:cxn>
                  <a:cxn ang="0">
                    <a:pos x="517" y="163"/>
                  </a:cxn>
                  <a:cxn ang="0">
                    <a:pos x="545" y="163"/>
                  </a:cxn>
                  <a:cxn ang="0">
                    <a:pos x="545" y="109"/>
                  </a:cxn>
                  <a:cxn ang="0">
                    <a:pos x="402" y="82"/>
                  </a:cxn>
                  <a:cxn ang="0">
                    <a:pos x="402" y="0"/>
                  </a:cxn>
                  <a:cxn ang="0">
                    <a:pos x="373" y="0"/>
                  </a:cxn>
                  <a:cxn ang="0">
                    <a:pos x="345" y="54"/>
                  </a:cxn>
                  <a:cxn ang="0">
                    <a:pos x="115" y="163"/>
                  </a:cxn>
                  <a:cxn ang="0">
                    <a:pos x="29" y="299"/>
                  </a:cxn>
                  <a:cxn ang="0">
                    <a:pos x="0" y="408"/>
                  </a:cxn>
                </a:cxnLst>
                <a:rect l="0" t="0" r="r" b="b"/>
                <a:pathLst>
                  <a:path w="545" h="544">
                    <a:moveTo>
                      <a:pt x="0" y="408"/>
                    </a:moveTo>
                    <a:lnTo>
                      <a:pt x="29" y="408"/>
                    </a:lnTo>
                    <a:lnTo>
                      <a:pt x="29" y="517"/>
                    </a:lnTo>
                    <a:lnTo>
                      <a:pt x="115" y="544"/>
                    </a:lnTo>
                    <a:lnTo>
                      <a:pt x="230" y="462"/>
                    </a:lnTo>
                    <a:lnTo>
                      <a:pt x="259" y="354"/>
                    </a:lnTo>
                    <a:lnTo>
                      <a:pt x="373" y="299"/>
                    </a:lnTo>
                    <a:lnTo>
                      <a:pt x="517" y="299"/>
                    </a:lnTo>
                    <a:lnTo>
                      <a:pt x="517" y="163"/>
                    </a:lnTo>
                    <a:lnTo>
                      <a:pt x="545" y="163"/>
                    </a:lnTo>
                    <a:lnTo>
                      <a:pt x="545" y="109"/>
                    </a:lnTo>
                    <a:lnTo>
                      <a:pt x="402" y="82"/>
                    </a:lnTo>
                    <a:lnTo>
                      <a:pt x="402" y="0"/>
                    </a:lnTo>
                    <a:lnTo>
                      <a:pt x="373" y="0"/>
                    </a:lnTo>
                    <a:lnTo>
                      <a:pt x="345" y="54"/>
                    </a:lnTo>
                    <a:lnTo>
                      <a:pt x="115" y="163"/>
                    </a:lnTo>
                    <a:lnTo>
                      <a:pt x="29" y="299"/>
                    </a:lnTo>
                    <a:lnTo>
                      <a:pt x="0" y="408"/>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23" name="Group 396">
              <a:extLst>
                <a:ext uri="{FF2B5EF4-FFF2-40B4-BE49-F238E27FC236}">
                  <a16:creationId xmlns:a16="http://schemas.microsoft.com/office/drawing/2014/main" id="{537F786A-485F-B208-647D-04FB0F304FEA}"/>
                </a:ext>
              </a:extLst>
            </p:cNvPr>
            <p:cNvGrpSpPr>
              <a:grpSpLocks/>
            </p:cNvGrpSpPr>
            <p:nvPr/>
          </p:nvGrpSpPr>
          <p:grpSpPr bwMode="auto">
            <a:xfrm>
              <a:off x="2946837" y="2440024"/>
              <a:ext cx="495790" cy="592416"/>
              <a:chOff x="2129" y="847"/>
              <a:chExt cx="431" cy="515"/>
            </a:xfrm>
            <a:solidFill>
              <a:schemeClr val="bg1">
                <a:lumMod val="85000"/>
              </a:schemeClr>
            </a:solidFill>
          </p:grpSpPr>
          <p:sp>
            <p:nvSpPr>
              <p:cNvPr id="658" name="Freeform 397">
                <a:extLst>
                  <a:ext uri="{FF2B5EF4-FFF2-40B4-BE49-F238E27FC236}">
                    <a16:creationId xmlns:a16="http://schemas.microsoft.com/office/drawing/2014/main" id="{EA6D41F6-58E0-F0DE-3C57-71F51869832C}"/>
                  </a:ext>
                </a:extLst>
              </p:cNvPr>
              <p:cNvSpPr>
                <a:spLocks/>
              </p:cNvSpPr>
              <p:nvPr/>
            </p:nvSpPr>
            <p:spPr bwMode="auto">
              <a:xfrm>
                <a:off x="2129" y="847"/>
                <a:ext cx="431" cy="515"/>
              </a:xfrm>
              <a:custGeom>
                <a:avLst/>
                <a:gdLst/>
                <a:ahLst/>
                <a:cxnLst>
                  <a:cxn ang="0">
                    <a:pos x="29" y="244"/>
                  </a:cxn>
                  <a:cxn ang="0">
                    <a:pos x="58" y="299"/>
                  </a:cxn>
                  <a:cxn ang="0">
                    <a:pos x="0" y="326"/>
                  </a:cxn>
                  <a:cxn ang="0">
                    <a:pos x="29" y="406"/>
                  </a:cxn>
                  <a:cxn ang="0">
                    <a:pos x="144" y="515"/>
                  </a:cxn>
                  <a:cxn ang="0">
                    <a:pos x="288" y="434"/>
                  </a:cxn>
                  <a:cxn ang="0">
                    <a:pos x="345" y="434"/>
                  </a:cxn>
                  <a:cxn ang="0">
                    <a:pos x="345" y="515"/>
                  </a:cxn>
                  <a:cxn ang="0">
                    <a:pos x="403" y="461"/>
                  </a:cxn>
                  <a:cxn ang="0">
                    <a:pos x="431" y="190"/>
                  </a:cxn>
                  <a:cxn ang="0">
                    <a:pos x="374" y="190"/>
                  </a:cxn>
                  <a:cxn ang="0">
                    <a:pos x="431" y="54"/>
                  </a:cxn>
                  <a:cxn ang="0">
                    <a:pos x="431" y="0"/>
                  </a:cxn>
                  <a:cxn ang="0">
                    <a:pos x="288" y="0"/>
                  </a:cxn>
                  <a:cxn ang="0">
                    <a:pos x="172" y="54"/>
                  </a:cxn>
                  <a:cxn ang="0">
                    <a:pos x="144" y="163"/>
                  </a:cxn>
                  <a:cxn ang="0">
                    <a:pos x="29" y="244"/>
                  </a:cxn>
                </a:cxnLst>
                <a:rect l="0" t="0" r="r" b="b"/>
                <a:pathLst>
                  <a:path w="431" h="515">
                    <a:moveTo>
                      <a:pt x="29" y="244"/>
                    </a:moveTo>
                    <a:lnTo>
                      <a:pt x="58" y="299"/>
                    </a:lnTo>
                    <a:lnTo>
                      <a:pt x="0" y="326"/>
                    </a:lnTo>
                    <a:lnTo>
                      <a:pt x="29" y="406"/>
                    </a:lnTo>
                    <a:lnTo>
                      <a:pt x="144" y="515"/>
                    </a:lnTo>
                    <a:lnTo>
                      <a:pt x="288" y="434"/>
                    </a:lnTo>
                    <a:lnTo>
                      <a:pt x="345" y="434"/>
                    </a:lnTo>
                    <a:lnTo>
                      <a:pt x="345" y="515"/>
                    </a:lnTo>
                    <a:lnTo>
                      <a:pt x="403" y="461"/>
                    </a:lnTo>
                    <a:lnTo>
                      <a:pt x="431" y="190"/>
                    </a:lnTo>
                    <a:lnTo>
                      <a:pt x="374" y="190"/>
                    </a:lnTo>
                    <a:lnTo>
                      <a:pt x="431" y="54"/>
                    </a:lnTo>
                    <a:lnTo>
                      <a:pt x="431" y="0"/>
                    </a:lnTo>
                    <a:lnTo>
                      <a:pt x="288" y="0"/>
                    </a:lnTo>
                    <a:lnTo>
                      <a:pt x="172" y="54"/>
                    </a:lnTo>
                    <a:lnTo>
                      <a:pt x="144" y="163"/>
                    </a:lnTo>
                    <a:lnTo>
                      <a:pt x="29" y="24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59" name="Freeform 398">
                <a:extLst>
                  <a:ext uri="{FF2B5EF4-FFF2-40B4-BE49-F238E27FC236}">
                    <a16:creationId xmlns:a16="http://schemas.microsoft.com/office/drawing/2014/main" id="{7C768582-9DA7-1C38-D612-70C1D86E700B}"/>
                  </a:ext>
                </a:extLst>
              </p:cNvPr>
              <p:cNvSpPr>
                <a:spLocks/>
              </p:cNvSpPr>
              <p:nvPr/>
            </p:nvSpPr>
            <p:spPr bwMode="auto">
              <a:xfrm>
                <a:off x="2129" y="847"/>
                <a:ext cx="431" cy="515"/>
              </a:xfrm>
              <a:custGeom>
                <a:avLst/>
                <a:gdLst/>
                <a:ahLst/>
                <a:cxnLst>
                  <a:cxn ang="0">
                    <a:pos x="29" y="244"/>
                  </a:cxn>
                  <a:cxn ang="0">
                    <a:pos x="58" y="299"/>
                  </a:cxn>
                  <a:cxn ang="0">
                    <a:pos x="0" y="326"/>
                  </a:cxn>
                  <a:cxn ang="0">
                    <a:pos x="29" y="406"/>
                  </a:cxn>
                  <a:cxn ang="0">
                    <a:pos x="144" y="515"/>
                  </a:cxn>
                  <a:cxn ang="0">
                    <a:pos x="288" y="434"/>
                  </a:cxn>
                  <a:cxn ang="0">
                    <a:pos x="345" y="434"/>
                  </a:cxn>
                  <a:cxn ang="0">
                    <a:pos x="345" y="515"/>
                  </a:cxn>
                  <a:cxn ang="0">
                    <a:pos x="403" y="461"/>
                  </a:cxn>
                  <a:cxn ang="0">
                    <a:pos x="431" y="190"/>
                  </a:cxn>
                  <a:cxn ang="0">
                    <a:pos x="374" y="190"/>
                  </a:cxn>
                  <a:cxn ang="0">
                    <a:pos x="431" y="54"/>
                  </a:cxn>
                  <a:cxn ang="0">
                    <a:pos x="431" y="0"/>
                  </a:cxn>
                  <a:cxn ang="0">
                    <a:pos x="288" y="0"/>
                  </a:cxn>
                  <a:cxn ang="0">
                    <a:pos x="172" y="54"/>
                  </a:cxn>
                  <a:cxn ang="0">
                    <a:pos x="144" y="163"/>
                  </a:cxn>
                  <a:cxn ang="0">
                    <a:pos x="29" y="244"/>
                  </a:cxn>
                </a:cxnLst>
                <a:rect l="0" t="0" r="r" b="b"/>
                <a:pathLst>
                  <a:path w="431" h="515">
                    <a:moveTo>
                      <a:pt x="29" y="244"/>
                    </a:moveTo>
                    <a:lnTo>
                      <a:pt x="58" y="299"/>
                    </a:lnTo>
                    <a:lnTo>
                      <a:pt x="0" y="326"/>
                    </a:lnTo>
                    <a:lnTo>
                      <a:pt x="29" y="406"/>
                    </a:lnTo>
                    <a:lnTo>
                      <a:pt x="144" y="515"/>
                    </a:lnTo>
                    <a:lnTo>
                      <a:pt x="288" y="434"/>
                    </a:lnTo>
                    <a:lnTo>
                      <a:pt x="345" y="434"/>
                    </a:lnTo>
                    <a:lnTo>
                      <a:pt x="345" y="515"/>
                    </a:lnTo>
                    <a:lnTo>
                      <a:pt x="403" y="461"/>
                    </a:lnTo>
                    <a:lnTo>
                      <a:pt x="431" y="190"/>
                    </a:lnTo>
                    <a:lnTo>
                      <a:pt x="374" y="190"/>
                    </a:lnTo>
                    <a:lnTo>
                      <a:pt x="431" y="54"/>
                    </a:lnTo>
                    <a:lnTo>
                      <a:pt x="431" y="0"/>
                    </a:lnTo>
                    <a:lnTo>
                      <a:pt x="288" y="0"/>
                    </a:lnTo>
                    <a:lnTo>
                      <a:pt x="172" y="54"/>
                    </a:lnTo>
                    <a:lnTo>
                      <a:pt x="144" y="163"/>
                    </a:lnTo>
                    <a:lnTo>
                      <a:pt x="29" y="24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24" name="Group 402">
              <a:extLst>
                <a:ext uri="{FF2B5EF4-FFF2-40B4-BE49-F238E27FC236}">
                  <a16:creationId xmlns:a16="http://schemas.microsoft.com/office/drawing/2014/main" id="{A1539AF2-5E9F-F098-55D2-21604C7539AA}"/>
                </a:ext>
              </a:extLst>
            </p:cNvPr>
            <p:cNvGrpSpPr>
              <a:grpSpLocks/>
            </p:cNvGrpSpPr>
            <p:nvPr/>
          </p:nvGrpSpPr>
          <p:grpSpPr bwMode="auto">
            <a:xfrm>
              <a:off x="1332930" y="2721855"/>
              <a:ext cx="790273" cy="966273"/>
              <a:chOff x="726" y="1092"/>
              <a:chExt cx="687" cy="840"/>
            </a:xfrm>
            <a:solidFill>
              <a:schemeClr val="bg1">
                <a:lumMod val="85000"/>
              </a:schemeClr>
            </a:solidFill>
          </p:grpSpPr>
          <p:sp>
            <p:nvSpPr>
              <p:cNvPr id="656" name="Freeform 403">
                <a:extLst>
                  <a:ext uri="{FF2B5EF4-FFF2-40B4-BE49-F238E27FC236}">
                    <a16:creationId xmlns:a16="http://schemas.microsoft.com/office/drawing/2014/main" id="{8FB24F62-011C-609E-B7DD-BB42DF01340D}"/>
                  </a:ext>
                </a:extLst>
              </p:cNvPr>
              <p:cNvSpPr>
                <a:spLocks/>
              </p:cNvSpPr>
              <p:nvPr/>
            </p:nvSpPr>
            <p:spPr bwMode="auto">
              <a:xfrm>
                <a:off x="726" y="1092"/>
                <a:ext cx="687" cy="840"/>
              </a:xfrm>
              <a:custGeom>
                <a:avLst/>
                <a:gdLst/>
                <a:ahLst/>
                <a:cxnLst>
                  <a:cxn ang="0">
                    <a:pos x="258" y="0"/>
                  </a:cxn>
                  <a:cxn ang="0">
                    <a:pos x="315" y="189"/>
                  </a:cxn>
                  <a:cxn ang="0">
                    <a:pos x="200" y="189"/>
                  </a:cxn>
                  <a:cxn ang="0">
                    <a:pos x="200" y="270"/>
                  </a:cxn>
                  <a:cxn ang="0">
                    <a:pos x="114" y="270"/>
                  </a:cxn>
                  <a:cxn ang="0">
                    <a:pos x="86" y="216"/>
                  </a:cxn>
                  <a:cxn ang="0">
                    <a:pos x="0" y="216"/>
                  </a:cxn>
                  <a:cxn ang="0">
                    <a:pos x="0" y="433"/>
                  </a:cxn>
                  <a:cxn ang="0">
                    <a:pos x="114" y="433"/>
                  </a:cxn>
                  <a:cxn ang="0">
                    <a:pos x="114" y="623"/>
                  </a:cxn>
                  <a:cxn ang="0">
                    <a:pos x="200" y="623"/>
                  </a:cxn>
                  <a:cxn ang="0">
                    <a:pos x="200" y="813"/>
                  </a:cxn>
                  <a:cxn ang="0">
                    <a:pos x="371" y="813"/>
                  </a:cxn>
                  <a:cxn ang="0">
                    <a:pos x="457" y="840"/>
                  </a:cxn>
                  <a:cxn ang="0">
                    <a:pos x="687" y="650"/>
                  </a:cxn>
                  <a:cxn ang="0">
                    <a:pos x="601" y="569"/>
                  </a:cxn>
                  <a:cxn ang="0">
                    <a:pos x="515" y="542"/>
                  </a:cxn>
                  <a:cxn ang="0">
                    <a:pos x="457" y="460"/>
                  </a:cxn>
                  <a:cxn ang="0">
                    <a:pos x="486" y="297"/>
                  </a:cxn>
                  <a:cxn ang="0">
                    <a:pos x="543" y="189"/>
                  </a:cxn>
                  <a:cxn ang="0">
                    <a:pos x="457" y="0"/>
                  </a:cxn>
                  <a:cxn ang="0">
                    <a:pos x="258" y="0"/>
                  </a:cxn>
                </a:cxnLst>
                <a:rect l="0" t="0" r="r" b="b"/>
                <a:pathLst>
                  <a:path w="687" h="840">
                    <a:moveTo>
                      <a:pt x="258" y="0"/>
                    </a:moveTo>
                    <a:lnTo>
                      <a:pt x="315" y="189"/>
                    </a:lnTo>
                    <a:lnTo>
                      <a:pt x="200" y="189"/>
                    </a:lnTo>
                    <a:lnTo>
                      <a:pt x="200" y="270"/>
                    </a:lnTo>
                    <a:lnTo>
                      <a:pt x="114" y="270"/>
                    </a:lnTo>
                    <a:lnTo>
                      <a:pt x="86" y="216"/>
                    </a:lnTo>
                    <a:lnTo>
                      <a:pt x="0" y="216"/>
                    </a:lnTo>
                    <a:lnTo>
                      <a:pt x="0" y="433"/>
                    </a:lnTo>
                    <a:lnTo>
                      <a:pt x="114" y="433"/>
                    </a:lnTo>
                    <a:lnTo>
                      <a:pt x="114" y="623"/>
                    </a:lnTo>
                    <a:lnTo>
                      <a:pt x="200" y="623"/>
                    </a:lnTo>
                    <a:lnTo>
                      <a:pt x="200" y="813"/>
                    </a:lnTo>
                    <a:lnTo>
                      <a:pt x="371" y="813"/>
                    </a:lnTo>
                    <a:lnTo>
                      <a:pt x="457" y="840"/>
                    </a:lnTo>
                    <a:lnTo>
                      <a:pt x="687" y="650"/>
                    </a:lnTo>
                    <a:lnTo>
                      <a:pt x="601" y="569"/>
                    </a:lnTo>
                    <a:lnTo>
                      <a:pt x="515" y="542"/>
                    </a:lnTo>
                    <a:lnTo>
                      <a:pt x="457" y="460"/>
                    </a:lnTo>
                    <a:lnTo>
                      <a:pt x="486" y="297"/>
                    </a:lnTo>
                    <a:lnTo>
                      <a:pt x="543" y="189"/>
                    </a:lnTo>
                    <a:lnTo>
                      <a:pt x="457" y="0"/>
                    </a:lnTo>
                    <a:lnTo>
                      <a:pt x="258"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57" name="Freeform 404">
                <a:extLst>
                  <a:ext uri="{FF2B5EF4-FFF2-40B4-BE49-F238E27FC236}">
                    <a16:creationId xmlns:a16="http://schemas.microsoft.com/office/drawing/2014/main" id="{58CD66A5-D10C-E61F-0823-E11B4A4FDF40}"/>
                  </a:ext>
                </a:extLst>
              </p:cNvPr>
              <p:cNvSpPr>
                <a:spLocks/>
              </p:cNvSpPr>
              <p:nvPr/>
            </p:nvSpPr>
            <p:spPr bwMode="auto">
              <a:xfrm>
                <a:off x="726" y="1092"/>
                <a:ext cx="687" cy="840"/>
              </a:xfrm>
              <a:custGeom>
                <a:avLst/>
                <a:gdLst/>
                <a:ahLst/>
                <a:cxnLst>
                  <a:cxn ang="0">
                    <a:pos x="258" y="0"/>
                  </a:cxn>
                  <a:cxn ang="0">
                    <a:pos x="315" y="189"/>
                  </a:cxn>
                  <a:cxn ang="0">
                    <a:pos x="200" y="189"/>
                  </a:cxn>
                  <a:cxn ang="0">
                    <a:pos x="200" y="270"/>
                  </a:cxn>
                  <a:cxn ang="0">
                    <a:pos x="114" y="270"/>
                  </a:cxn>
                  <a:cxn ang="0">
                    <a:pos x="86" y="216"/>
                  </a:cxn>
                  <a:cxn ang="0">
                    <a:pos x="0" y="216"/>
                  </a:cxn>
                  <a:cxn ang="0">
                    <a:pos x="0" y="433"/>
                  </a:cxn>
                  <a:cxn ang="0">
                    <a:pos x="114" y="433"/>
                  </a:cxn>
                  <a:cxn ang="0">
                    <a:pos x="114" y="623"/>
                  </a:cxn>
                  <a:cxn ang="0">
                    <a:pos x="200" y="623"/>
                  </a:cxn>
                  <a:cxn ang="0">
                    <a:pos x="200" y="813"/>
                  </a:cxn>
                  <a:cxn ang="0">
                    <a:pos x="371" y="813"/>
                  </a:cxn>
                  <a:cxn ang="0">
                    <a:pos x="457" y="840"/>
                  </a:cxn>
                  <a:cxn ang="0">
                    <a:pos x="687" y="650"/>
                  </a:cxn>
                  <a:cxn ang="0">
                    <a:pos x="601" y="569"/>
                  </a:cxn>
                  <a:cxn ang="0">
                    <a:pos x="515" y="542"/>
                  </a:cxn>
                  <a:cxn ang="0">
                    <a:pos x="457" y="460"/>
                  </a:cxn>
                  <a:cxn ang="0">
                    <a:pos x="486" y="297"/>
                  </a:cxn>
                  <a:cxn ang="0">
                    <a:pos x="543" y="189"/>
                  </a:cxn>
                  <a:cxn ang="0">
                    <a:pos x="457" y="0"/>
                  </a:cxn>
                  <a:cxn ang="0">
                    <a:pos x="258" y="0"/>
                  </a:cxn>
                </a:cxnLst>
                <a:rect l="0" t="0" r="r" b="b"/>
                <a:pathLst>
                  <a:path w="687" h="840">
                    <a:moveTo>
                      <a:pt x="258" y="0"/>
                    </a:moveTo>
                    <a:lnTo>
                      <a:pt x="315" y="189"/>
                    </a:lnTo>
                    <a:lnTo>
                      <a:pt x="200" y="189"/>
                    </a:lnTo>
                    <a:lnTo>
                      <a:pt x="200" y="270"/>
                    </a:lnTo>
                    <a:lnTo>
                      <a:pt x="114" y="270"/>
                    </a:lnTo>
                    <a:lnTo>
                      <a:pt x="86" y="216"/>
                    </a:lnTo>
                    <a:lnTo>
                      <a:pt x="0" y="216"/>
                    </a:lnTo>
                    <a:lnTo>
                      <a:pt x="0" y="433"/>
                    </a:lnTo>
                    <a:lnTo>
                      <a:pt x="114" y="433"/>
                    </a:lnTo>
                    <a:lnTo>
                      <a:pt x="114" y="623"/>
                    </a:lnTo>
                    <a:lnTo>
                      <a:pt x="200" y="623"/>
                    </a:lnTo>
                    <a:lnTo>
                      <a:pt x="200" y="813"/>
                    </a:lnTo>
                    <a:lnTo>
                      <a:pt x="371" y="813"/>
                    </a:lnTo>
                    <a:lnTo>
                      <a:pt x="457" y="840"/>
                    </a:lnTo>
                    <a:lnTo>
                      <a:pt x="687" y="650"/>
                    </a:lnTo>
                    <a:lnTo>
                      <a:pt x="601" y="569"/>
                    </a:lnTo>
                    <a:lnTo>
                      <a:pt x="515" y="542"/>
                    </a:lnTo>
                    <a:lnTo>
                      <a:pt x="457" y="460"/>
                    </a:lnTo>
                    <a:lnTo>
                      <a:pt x="486" y="297"/>
                    </a:lnTo>
                    <a:lnTo>
                      <a:pt x="543" y="189"/>
                    </a:lnTo>
                    <a:lnTo>
                      <a:pt x="457" y="0"/>
                    </a:lnTo>
                    <a:lnTo>
                      <a:pt x="258"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25" name="Group 405">
              <a:extLst>
                <a:ext uri="{FF2B5EF4-FFF2-40B4-BE49-F238E27FC236}">
                  <a16:creationId xmlns:a16="http://schemas.microsoft.com/office/drawing/2014/main" id="{67743899-B938-F328-0CD8-51215E2A8257}"/>
                </a:ext>
              </a:extLst>
            </p:cNvPr>
            <p:cNvGrpSpPr>
              <a:grpSpLocks/>
            </p:cNvGrpSpPr>
            <p:nvPr/>
          </p:nvGrpSpPr>
          <p:grpSpPr bwMode="auto">
            <a:xfrm>
              <a:off x="1859779" y="2721855"/>
              <a:ext cx="694795" cy="530300"/>
              <a:chOff x="1184" y="1092"/>
              <a:chExt cx="604" cy="461"/>
            </a:xfrm>
            <a:solidFill>
              <a:schemeClr val="bg1">
                <a:lumMod val="85000"/>
              </a:schemeClr>
            </a:solidFill>
          </p:grpSpPr>
          <p:sp>
            <p:nvSpPr>
              <p:cNvPr id="654" name="Freeform 406">
                <a:extLst>
                  <a:ext uri="{FF2B5EF4-FFF2-40B4-BE49-F238E27FC236}">
                    <a16:creationId xmlns:a16="http://schemas.microsoft.com/office/drawing/2014/main" id="{C5AA96E1-8A62-59D3-77BC-1FAF40495172}"/>
                  </a:ext>
                </a:extLst>
              </p:cNvPr>
              <p:cNvSpPr>
                <a:spLocks/>
              </p:cNvSpPr>
              <p:nvPr/>
            </p:nvSpPr>
            <p:spPr bwMode="auto">
              <a:xfrm>
                <a:off x="1184" y="1092"/>
                <a:ext cx="604" cy="461"/>
              </a:xfrm>
              <a:custGeom>
                <a:avLst/>
                <a:gdLst/>
                <a:ahLst/>
                <a:cxnLst>
                  <a:cxn ang="0">
                    <a:pos x="0" y="0"/>
                  </a:cxn>
                  <a:cxn ang="0">
                    <a:pos x="86" y="189"/>
                  </a:cxn>
                  <a:cxn ang="0">
                    <a:pos x="29" y="298"/>
                  </a:cxn>
                  <a:cxn ang="0">
                    <a:pos x="0" y="461"/>
                  </a:cxn>
                  <a:cxn ang="0">
                    <a:pos x="316" y="461"/>
                  </a:cxn>
                  <a:cxn ang="0">
                    <a:pos x="316" y="379"/>
                  </a:cxn>
                  <a:cxn ang="0">
                    <a:pos x="546" y="379"/>
                  </a:cxn>
                  <a:cxn ang="0">
                    <a:pos x="604" y="243"/>
                  </a:cxn>
                  <a:cxn ang="0">
                    <a:pos x="604" y="0"/>
                  </a:cxn>
                  <a:cxn ang="0">
                    <a:pos x="0" y="0"/>
                  </a:cxn>
                </a:cxnLst>
                <a:rect l="0" t="0" r="r" b="b"/>
                <a:pathLst>
                  <a:path w="604" h="461">
                    <a:moveTo>
                      <a:pt x="0" y="0"/>
                    </a:moveTo>
                    <a:lnTo>
                      <a:pt x="86" y="189"/>
                    </a:lnTo>
                    <a:lnTo>
                      <a:pt x="29" y="298"/>
                    </a:lnTo>
                    <a:lnTo>
                      <a:pt x="0" y="461"/>
                    </a:lnTo>
                    <a:lnTo>
                      <a:pt x="316" y="461"/>
                    </a:lnTo>
                    <a:lnTo>
                      <a:pt x="316" y="379"/>
                    </a:lnTo>
                    <a:lnTo>
                      <a:pt x="546" y="379"/>
                    </a:lnTo>
                    <a:lnTo>
                      <a:pt x="604" y="243"/>
                    </a:lnTo>
                    <a:lnTo>
                      <a:pt x="604"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55" name="Freeform 407">
                <a:extLst>
                  <a:ext uri="{FF2B5EF4-FFF2-40B4-BE49-F238E27FC236}">
                    <a16:creationId xmlns:a16="http://schemas.microsoft.com/office/drawing/2014/main" id="{3D769214-4717-75EA-D190-CF1A88067B32}"/>
                  </a:ext>
                </a:extLst>
              </p:cNvPr>
              <p:cNvSpPr>
                <a:spLocks/>
              </p:cNvSpPr>
              <p:nvPr/>
            </p:nvSpPr>
            <p:spPr bwMode="auto">
              <a:xfrm>
                <a:off x="1184" y="1092"/>
                <a:ext cx="604" cy="461"/>
              </a:xfrm>
              <a:custGeom>
                <a:avLst/>
                <a:gdLst/>
                <a:ahLst/>
                <a:cxnLst>
                  <a:cxn ang="0">
                    <a:pos x="0" y="0"/>
                  </a:cxn>
                  <a:cxn ang="0">
                    <a:pos x="86" y="189"/>
                  </a:cxn>
                  <a:cxn ang="0">
                    <a:pos x="29" y="298"/>
                  </a:cxn>
                  <a:cxn ang="0">
                    <a:pos x="0" y="461"/>
                  </a:cxn>
                  <a:cxn ang="0">
                    <a:pos x="316" y="461"/>
                  </a:cxn>
                  <a:cxn ang="0">
                    <a:pos x="316" y="379"/>
                  </a:cxn>
                  <a:cxn ang="0">
                    <a:pos x="546" y="379"/>
                  </a:cxn>
                  <a:cxn ang="0">
                    <a:pos x="604" y="243"/>
                  </a:cxn>
                  <a:cxn ang="0">
                    <a:pos x="604" y="0"/>
                  </a:cxn>
                  <a:cxn ang="0">
                    <a:pos x="0" y="0"/>
                  </a:cxn>
                </a:cxnLst>
                <a:rect l="0" t="0" r="r" b="b"/>
                <a:pathLst>
                  <a:path w="604" h="461">
                    <a:moveTo>
                      <a:pt x="0" y="0"/>
                    </a:moveTo>
                    <a:lnTo>
                      <a:pt x="86" y="189"/>
                    </a:lnTo>
                    <a:lnTo>
                      <a:pt x="29" y="298"/>
                    </a:lnTo>
                    <a:lnTo>
                      <a:pt x="0" y="461"/>
                    </a:lnTo>
                    <a:lnTo>
                      <a:pt x="316" y="461"/>
                    </a:lnTo>
                    <a:lnTo>
                      <a:pt x="316" y="379"/>
                    </a:lnTo>
                    <a:lnTo>
                      <a:pt x="546" y="379"/>
                    </a:lnTo>
                    <a:lnTo>
                      <a:pt x="604" y="243"/>
                    </a:lnTo>
                    <a:lnTo>
                      <a:pt x="604"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26" name="Group 408">
              <a:extLst>
                <a:ext uri="{FF2B5EF4-FFF2-40B4-BE49-F238E27FC236}">
                  <a16:creationId xmlns:a16="http://schemas.microsoft.com/office/drawing/2014/main" id="{60E89FDF-E04B-62A8-103E-F0AD92C65025}"/>
                </a:ext>
              </a:extLst>
            </p:cNvPr>
            <p:cNvGrpSpPr>
              <a:grpSpLocks/>
            </p:cNvGrpSpPr>
            <p:nvPr/>
          </p:nvGrpSpPr>
          <p:grpSpPr bwMode="auto">
            <a:xfrm>
              <a:off x="1859779" y="3156676"/>
              <a:ext cx="824782" cy="470483"/>
              <a:chOff x="1184" y="1470"/>
              <a:chExt cx="717" cy="409"/>
            </a:xfrm>
            <a:solidFill>
              <a:schemeClr val="bg1">
                <a:lumMod val="85000"/>
              </a:schemeClr>
            </a:solidFill>
          </p:grpSpPr>
          <p:sp>
            <p:nvSpPr>
              <p:cNvPr id="652" name="Freeform 409">
                <a:extLst>
                  <a:ext uri="{FF2B5EF4-FFF2-40B4-BE49-F238E27FC236}">
                    <a16:creationId xmlns:a16="http://schemas.microsoft.com/office/drawing/2014/main" id="{EA15BBB0-65D0-F73B-97E6-FF3E7F545023}"/>
                  </a:ext>
                </a:extLst>
              </p:cNvPr>
              <p:cNvSpPr>
                <a:spLocks/>
              </p:cNvSpPr>
              <p:nvPr/>
            </p:nvSpPr>
            <p:spPr bwMode="auto">
              <a:xfrm>
                <a:off x="1184" y="1470"/>
                <a:ext cx="717" cy="409"/>
              </a:xfrm>
              <a:custGeom>
                <a:avLst/>
                <a:gdLst/>
                <a:ahLst/>
                <a:cxnLst>
                  <a:cxn ang="0">
                    <a:pos x="0" y="82"/>
                  </a:cxn>
                  <a:cxn ang="0">
                    <a:pos x="57" y="164"/>
                  </a:cxn>
                  <a:cxn ang="0">
                    <a:pos x="144" y="191"/>
                  </a:cxn>
                  <a:cxn ang="0">
                    <a:pos x="230" y="273"/>
                  </a:cxn>
                  <a:cxn ang="0">
                    <a:pos x="258" y="382"/>
                  </a:cxn>
                  <a:cxn ang="0">
                    <a:pos x="316" y="409"/>
                  </a:cxn>
                  <a:cxn ang="0">
                    <a:pos x="717" y="327"/>
                  </a:cxn>
                  <a:cxn ang="0">
                    <a:pos x="545" y="191"/>
                  </a:cxn>
                  <a:cxn ang="0">
                    <a:pos x="574" y="28"/>
                  </a:cxn>
                  <a:cxn ang="0">
                    <a:pos x="545" y="0"/>
                  </a:cxn>
                  <a:cxn ang="0">
                    <a:pos x="316" y="0"/>
                  </a:cxn>
                  <a:cxn ang="0">
                    <a:pos x="316" y="82"/>
                  </a:cxn>
                  <a:cxn ang="0">
                    <a:pos x="0" y="82"/>
                  </a:cxn>
                </a:cxnLst>
                <a:rect l="0" t="0" r="r" b="b"/>
                <a:pathLst>
                  <a:path w="717" h="409">
                    <a:moveTo>
                      <a:pt x="0" y="82"/>
                    </a:moveTo>
                    <a:lnTo>
                      <a:pt x="57" y="164"/>
                    </a:lnTo>
                    <a:lnTo>
                      <a:pt x="144" y="191"/>
                    </a:lnTo>
                    <a:lnTo>
                      <a:pt x="230" y="273"/>
                    </a:lnTo>
                    <a:lnTo>
                      <a:pt x="258" y="382"/>
                    </a:lnTo>
                    <a:lnTo>
                      <a:pt x="316" y="409"/>
                    </a:lnTo>
                    <a:lnTo>
                      <a:pt x="717" y="327"/>
                    </a:lnTo>
                    <a:lnTo>
                      <a:pt x="545" y="191"/>
                    </a:lnTo>
                    <a:lnTo>
                      <a:pt x="574" y="28"/>
                    </a:lnTo>
                    <a:lnTo>
                      <a:pt x="545" y="0"/>
                    </a:lnTo>
                    <a:lnTo>
                      <a:pt x="316" y="0"/>
                    </a:lnTo>
                    <a:lnTo>
                      <a:pt x="316" y="82"/>
                    </a:lnTo>
                    <a:lnTo>
                      <a:pt x="0" y="8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53" name="Freeform 410">
                <a:extLst>
                  <a:ext uri="{FF2B5EF4-FFF2-40B4-BE49-F238E27FC236}">
                    <a16:creationId xmlns:a16="http://schemas.microsoft.com/office/drawing/2014/main" id="{23738F3A-38C6-4FAE-B405-42CF954FC6FC}"/>
                  </a:ext>
                </a:extLst>
              </p:cNvPr>
              <p:cNvSpPr>
                <a:spLocks/>
              </p:cNvSpPr>
              <p:nvPr/>
            </p:nvSpPr>
            <p:spPr bwMode="auto">
              <a:xfrm>
                <a:off x="1184" y="1470"/>
                <a:ext cx="717" cy="409"/>
              </a:xfrm>
              <a:custGeom>
                <a:avLst/>
                <a:gdLst/>
                <a:ahLst/>
                <a:cxnLst>
                  <a:cxn ang="0">
                    <a:pos x="0" y="82"/>
                  </a:cxn>
                  <a:cxn ang="0">
                    <a:pos x="57" y="164"/>
                  </a:cxn>
                  <a:cxn ang="0">
                    <a:pos x="144" y="191"/>
                  </a:cxn>
                  <a:cxn ang="0">
                    <a:pos x="230" y="273"/>
                  </a:cxn>
                  <a:cxn ang="0">
                    <a:pos x="258" y="382"/>
                  </a:cxn>
                  <a:cxn ang="0">
                    <a:pos x="316" y="409"/>
                  </a:cxn>
                  <a:cxn ang="0">
                    <a:pos x="717" y="327"/>
                  </a:cxn>
                  <a:cxn ang="0">
                    <a:pos x="545" y="191"/>
                  </a:cxn>
                  <a:cxn ang="0">
                    <a:pos x="574" y="28"/>
                  </a:cxn>
                  <a:cxn ang="0">
                    <a:pos x="545" y="0"/>
                  </a:cxn>
                  <a:cxn ang="0">
                    <a:pos x="316" y="0"/>
                  </a:cxn>
                  <a:cxn ang="0">
                    <a:pos x="316" y="82"/>
                  </a:cxn>
                  <a:cxn ang="0">
                    <a:pos x="0" y="82"/>
                  </a:cxn>
                </a:cxnLst>
                <a:rect l="0" t="0" r="r" b="b"/>
                <a:pathLst>
                  <a:path w="717" h="409">
                    <a:moveTo>
                      <a:pt x="0" y="82"/>
                    </a:moveTo>
                    <a:lnTo>
                      <a:pt x="57" y="164"/>
                    </a:lnTo>
                    <a:lnTo>
                      <a:pt x="144" y="191"/>
                    </a:lnTo>
                    <a:lnTo>
                      <a:pt x="230" y="273"/>
                    </a:lnTo>
                    <a:lnTo>
                      <a:pt x="258" y="382"/>
                    </a:lnTo>
                    <a:lnTo>
                      <a:pt x="316" y="409"/>
                    </a:lnTo>
                    <a:lnTo>
                      <a:pt x="717" y="327"/>
                    </a:lnTo>
                    <a:lnTo>
                      <a:pt x="545" y="191"/>
                    </a:lnTo>
                    <a:lnTo>
                      <a:pt x="574" y="28"/>
                    </a:lnTo>
                    <a:lnTo>
                      <a:pt x="545" y="0"/>
                    </a:lnTo>
                    <a:lnTo>
                      <a:pt x="316" y="0"/>
                    </a:lnTo>
                    <a:lnTo>
                      <a:pt x="316" y="82"/>
                    </a:lnTo>
                    <a:lnTo>
                      <a:pt x="0" y="82"/>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27" name="Group 411">
              <a:extLst>
                <a:ext uri="{FF2B5EF4-FFF2-40B4-BE49-F238E27FC236}">
                  <a16:creationId xmlns:a16="http://schemas.microsoft.com/office/drawing/2014/main" id="{4FA0F181-2349-1BE4-C6EA-7FBE9A0F623D}"/>
                </a:ext>
              </a:extLst>
            </p:cNvPr>
            <p:cNvGrpSpPr>
              <a:grpSpLocks/>
            </p:cNvGrpSpPr>
            <p:nvPr/>
          </p:nvGrpSpPr>
          <p:grpSpPr bwMode="auto">
            <a:xfrm>
              <a:off x="2485558" y="3001384"/>
              <a:ext cx="396862" cy="686743"/>
              <a:chOff x="1728" y="1335"/>
              <a:chExt cx="345" cy="597"/>
            </a:xfrm>
            <a:solidFill>
              <a:schemeClr val="bg1">
                <a:lumMod val="85000"/>
              </a:schemeClr>
            </a:solidFill>
          </p:grpSpPr>
          <p:sp>
            <p:nvSpPr>
              <p:cNvPr id="650" name="Freeform 412">
                <a:extLst>
                  <a:ext uri="{FF2B5EF4-FFF2-40B4-BE49-F238E27FC236}">
                    <a16:creationId xmlns:a16="http://schemas.microsoft.com/office/drawing/2014/main" id="{9C61CBB4-641B-9924-ACAA-942368986C9D}"/>
                  </a:ext>
                </a:extLst>
              </p:cNvPr>
              <p:cNvSpPr>
                <a:spLocks/>
              </p:cNvSpPr>
              <p:nvPr/>
            </p:nvSpPr>
            <p:spPr bwMode="auto">
              <a:xfrm>
                <a:off x="1728" y="1335"/>
                <a:ext cx="345" cy="597"/>
              </a:xfrm>
              <a:custGeom>
                <a:avLst/>
                <a:gdLst/>
                <a:ahLst/>
                <a:cxnLst>
                  <a:cxn ang="0">
                    <a:pos x="0" y="136"/>
                  </a:cxn>
                  <a:cxn ang="0">
                    <a:pos x="29" y="163"/>
                  </a:cxn>
                  <a:cxn ang="0">
                    <a:pos x="0" y="326"/>
                  </a:cxn>
                  <a:cxn ang="0">
                    <a:pos x="173" y="461"/>
                  </a:cxn>
                  <a:cxn ang="0">
                    <a:pos x="258" y="597"/>
                  </a:cxn>
                  <a:cxn ang="0">
                    <a:pos x="345" y="597"/>
                  </a:cxn>
                  <a:cxn ang="0">
                    <a:pos x="345" y="0"/>
                  </a:cxn>
                  <a:cxn ang="0">
                    <a:pos x="202" y="0"/>
                  </a:cxn>
                  <a:cxn ang="0">
                    <a:pos x="58" y="0"/>
                  </a:cxn>
                  <a:cxn ang="0">
                    <a:pos x="0" y="136"/>
                  </a:cxn>
                </a:cxnLst>
                <a:rect l="0" t="0" r="r" b="b"/>
                <a:pathLst>
                  <a:path w="345" h="597">
                    <a:moveTo>
                      <a:pt x="0" y="136"/>
                    </a:moveTo>
                    <a:lnTo>
                      <a:pt x="29" y="163"/>
                    </a:lnTo>
                    <a:lnTo>
                      <a:pt x="0" y="326"/>
                    </a:lnTo>
                    <a:lnTo>
                      <a:pt x="173" y="461"/>
                    </a:lnTo>
                    <a:lnTo>
                      <a:pt x="258" y="597"/>
                    </a:lnTo>
                    <a:lnTo>
                      <a:pt x="345" y="597"/>
                    </a:lnTo>
                    <a:lnTo>
                      <a:pt x="345" y="0"/>
                    </a:lnTo>
                    <a:lnTo>
                      <a:pt x="202" y="0"/>
                    </a:lnTo>
                    <a:lnTo>
                      <a:pt x="58" y="0"/>
                    </a:lnTo>
                    <a:lnTo>
                      <a:pt x="0" y="136"/>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51" name="Freeform 413">
                <a:extLst>
                  <a:ext uri="{FF2B5EF4-FFF2-40B4-BE49-F238E27FC236}">
                    <a16:creationId xmlns:a16="http://schemas.microsoft.com/office/drawing/2014/main" id="{E8450CDE-D46A-3E22-982D-DB4F23906404}"/>
                  </a:ext>
                </a:extLst>
              </p:cNvPr>
              <p:cNvSpPr>
                <a:spLocks/>
              </p:cNvSpPr>
              <p:nvPr/>
            </p:nvSpPr>
            <p:spPr bwMode="auto">
              <a:xfrm>
                <a:off x="1728" y="1335"/>
                <a:ext cx="345" cy="597"/>
              </a:xfrm>
              <a:custGeom>
                <a:avLst/>
                <a:gdLst/>
                <a:ahLst/>
                <a:cxnLst>
                  <a:cxn ang="0">
                    <a:pos x="0" y="136"/>
                  </a:cxn>
                  <a:cxn ang="0">
                    <a:pos x="29" y="163"/>
                  </a:cxn>
                  <a:cxn ang="0">
                    <a:pos x="0" y="326"/>
                  </a:cxn>
                  <a:cxn ang="0">
                    <a:pos x="173" y="461"/>
                  </a:cxn>
                  <a:cxn ang="0">
                    <a:pos x="258" y="597"/>
                  </a:cxn>
                  <a:cxn ang="0">
                    <a:pos x="345" y="597"/>
                  </a:cxn>
                  <a:cxn ang="0">
                    <a:pos x="345" y="0"/>
                  </a:cxn>
                  <a:cxn ang="0">
                    <a:pos x="202" y="0"/>
                  </a:cxn>
                  <a:cxn ang="0">
                    <a:pos x="58" y="0"/>
                  </a:cxn>
                  <a:cxn ang="0">
                    <a:pos x="0" y="136"/>
                  </a:cxn>
                </a:cxnLst>
                <a:rect l="0" t="0" r="r" b="b"/>
                <a:pathLst>
                  <a:path w="345" h="597">
                    <a:moveTo>
                      <a:pt x="0" y="136"/>
                    </a:moveTo>
                    <a:lnTo>
                      <a:pt x="29" y="163"/>
                    </a:lnTo>
                    <a:lnTo>
                      <a:pt x="0" y="326"/>
                    </a:lnTo>
                    <a:lnTo>
                      <a:pt x="173" y="461"/>
                    </a:lnTo>
                    <a:lnTo>
                      <a:pt x="258" y="597"/>
                    </a:lnTo>
                    <a:lnTo>
                      <a:pt x="345" y="597"/>
                    </a:lnTo>
                    <a:lnTo>
                      <a:pt x="345" y="0"/>
                    </a:lnTo>
                    <a:lnTo>
                      <a:pt x="202" y="0"/>
                    </a:lnTo>
                    <a:lnTo>
                      <a:pt x="58" y="0"/>
                    </a:lnTo>
                    <a:lnTo>
                      <a:pt x="0" y="136"/>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28" name="Group 429">
              <a:extLst>
                <a:ext uri="{FF2B5EF4-FFF2-40B4-BE49-F238E27FC236}">
                  <a16:creationId xmlns:a16="http://schemas.microsoft.com/office/drawing/2014/main" id="{733BFC75-C772-B869-8FA7-79AC76EDB067}"/>
                </a:ext>
              </a:extLst>
            </p:cNvPr>
            <p:cNvGrpSpPr>
              <a:grpSpLocks/>
            </p:cNvGrpSpPr>
            <p:nvPr/>
          </p:nvGrpSpPr>
          <p:grpSpPr bwMode="auto">
            <a:xfrm>
              <a:off x="2586785" y="3688125"/>
              <a:ext cx="659136" cy="562509"/>
              <a:chOff x="1816" y="1932"/>
              <a:chExt cx="573" cy="489"/>
            </a:xfrm>
            <a:solidFill>
              <a:schemeClr val="bg1">
                <a:lumMod val="85000"/>
              </a:schemeClr>
            </a:solidFill>
          </p:grpSpPr>
          <p:sp>
            <p:nvSpPr>
              <p:cNvPr id="648" name="Freeform 430">
                <a:extLst>
                  <a:ext uri="{FF2B5EF4-FFF2-40B4-BE49-F238E27FC236}">
                    <a16:creationId xmlns:a16="http://schemas.microsoft.com/office/drawing/2014/main" id="{1E20C004-C0B0-E655-659B-E99707171C28}"/>
                  </a:ext>
                </a:extLst>
              </p:cNvPr>
              <p:cNvSpPr>
                <a:spLocks/>
              </p:cNvSpPr>
              <p:nvPr/>
            </p:nvSpPr>
            <p:spPr bwMode="auto">
              <a:xfrm>
                <a:off x="1816" y="1932"/>
                <a:ext cx="573" cy="489"/>
              </a:xfrm>
              <a:custGeom>
                <a:avLst/>
                <a:gdLst/>
                <a:ahLst/>
                <a:cxnLst>
                  <a:cxn ang="0">
                    <a:pos x="171" y="0"/>
                  </a:cxn>
                  <a:cxn ang="0">
                    <a:pos x="142" y="28"/>
                  </a:cxn>
                  <a:cxn ang="0">
                    <a:pos x="57" y="28"/>
                  </a:cxn>
                  <a:cxn ang="0">
                    <a:pos x="57" y="380"/>
                  </a:cxn>
                  <a:cxn ang="0">
                    <a:pos x="0" y="380"/>
                  </a:cxn>
                  <a:cxn ang="0">
                    <a:pos x="0" y="407"/>
                  </a:cxn>
                  <a:cxn ang="0">
                    <a:pos x="57" y="461"/>
                  </a:cxn>
                  <a:cxn ang="0">
                    <a:pos x="57" y="489"/>
                  </a:cxn>
                  <a:cxn ang="0">
                    <a:pos x="430" y="489"/>
                  </a:cxn>
                  <a:cxn ang="0">
                    <a:pos x="458" y="352"/>
                  </a:cxn>
                  <a:cxn ang="0">
                    <a:pos x="548" y="273"/>
                  </a:cxn>
                  <a:cxn ang="0">
                    <a:pos x="573" y="135"/>
                  </a:cxn>
                  <a:cxn ang="0">
                    <a:pos x="430" y="54"/>
                  </a:cxn>
                  <a:cxn ang="0">
                    <a:pos x="315" y="28"/>
                  </a:cxn>
                  <a:cxn ang="0">
                    <a:pos x="315" y="108"/>
                  </a:cxn>
                  <a:cxn ang="0">
                    <a:pos x="257" y="54"/>
                  </a:cxn>
                  <a:cxn ang="0">
                    <a:pos x="257" y="0"/>
                  </a:cxn>
                  <a:cxn ang="0">
                    <a:pos x="171" y="0"/>
                  </a:cxn>
                </a:cxnLst>
                <a:rect l="0" t="0" r="r" b="b"/>
                <a:pathLst>
                  <a:path w="573" h="489">
                    <a:moveTo>
                      <a:pt x="171" y="0"/>
                    </a:moveTo>
                    <a:lnTo>
                      <a:pt x="142" y="28"/>
                    </a:lnTo>
                    <a:lnTo>
                      <a:pt x="57" y="28"/>
                    </a:lnTo>
                    <a:lnTo>
                      <a:pt x="57" y="380"/>
                    </a:lnTo>
                    <a:lnTo>
                      <a:pt x="0" y="380"/>
                    </a:lnTo>
                    <a:lnTo>
                      <a:pt x="0" y="407"/>
                    </a:lnTo>
                    <a:lnTo>
                      <a:pt x="57" y="461"/>
                    </a:lnTo>
                    <a:lnTo>
                      <a:pt x="57" y="489"/>
                    </a:lnTo>
                    <a:lnTo>
                      <a:pt x="430" y="489"/>
                    </a:lnTo>
                    <a:lnTo>
                      <a:pt x="458" y="352"/>
                    </a:lnTo>
                    <a:lnTo>
                      <a:pt x="548" y="273"/>
                    </a:lnTo>
                    <a:lnTo>
                      <a:pt x="573" y="135"/>
                    </a:lnTo>
                    <a:lnTo>
                      <a:pt x="430" y="54"/>
                    </a:lnTo>
                    <a:lnTo>
                      <a:pt x="315" y="28"/>
                    </a:lnTo>
                    <a:lnTo>
                      <a:pt x="315" y="108"/>
                    </a:lnTo>
                    <a:lnTo>
                      <a:pt x="257" y="54"/>
                    </a:lnTo>
                    <a:lnTo>
                      <a:pt x="257" y="0"/>
                    </a:lnTo>
                    <a:lnTo>
                      <a:pt x="171"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49" name="Freeform 431">
                <a:extLst>
                  <a:ext uri="{FF2B5EF4-FFF2-40B4-BE49-F238E27FC236}">
                    <a16:creationId xmlns:a16="http://schemas.microsoft.com/office/drawing/2014/main" id="{DF7EAB1E-9054-47E5-1CF8-50EBCDE2015B}"/>
                  </a:ext>
                </a:extLst>
              </p:cNvPr>
              <p:cNvSpPr>
                <a:spLocks/>
              </p:cNvSpPr>
              <p:nvPr/>
            </p:nvSpPr>
            <p:spPr bwMode="auto">
              <a:xfrm>
                <a:off x="1816" y="1932"/>
                <a:ext cx="573" cy="489"/>
              </a:xfrm>
              <a:custGeom>
                <a:avLst/>
                <a:gdLst/>
                <a:ahLst/>
                <a:cxnLst>
                  <a:cxn ang="0">
                    <a:pos x="171" y="0"/>
                  </a:cxn>
                  <a:cxn ang="0">
                    <a:pos x="142" y="28"/>
                  </a:cxn>
                  <a:cxn ang="0">
                    <a:pos x="57" y="28"/>
                  </a:cxn>
                  <a:cxn ang="0">
                    <a:pos x="57" y="380"/>
                  </a:cxn>
                  <a:cxn ang="0">
                    <a:pos x="0" y="380"/>
                  </a:cxn>
                  <a:cxn ang="0">
                    <a:pos x="0" y="407"/>
                  </a:cxn>
                  <a:cxn ang="0">
                    <a:pos x="57" y="461"/>
                  </a:cxn>
                  <a:cxn ang="0">
                    <a:pos x="57" y="489"/>
                  </a:cxn>
                  <a:cxn ang="0">
                    <a:pos x="430" y="489"/>
                  </a:cxn>
                  <a:cxn ang="0">
                    <a:pos x="458" y="352"/>
                  </a:cxn>
                  <a:cxn ang="0">
                    <a:pos x="548" y="273"/>
                  </a:cxn>
                  <a:cxn ang="0">
                    <a:pos x="573" y="135"/>
                  </a:cxn>
                  <a:cxn ang="0">
                    <a:pos x="430" y="54"/>
                  </a:cxn>
                  <a:cxn ang="0">
                    <a:pos x="315" y="28"/>
                  </a:cxn>
                  <a:cxn ang="0">
                    <a:pos x="315" y="108"/>
                  </a:cxn>
                  <a:cxn ang="0">
                    <a:pos x="257" y="54"/>
                  </a:cxn>
                  <a:cxn ang="0">
                    <a:pos x="257" y="0"/>
                  </a:cxn>
                  <a:cxn ang="0">
                    <a:pos x="171" y="0"/>
                  </a:cxn>
                </a:cxnLst>
                <a:rect l="0" t="0" r="r" b="b"/>
                <a:pathLst>
                  <a:path w="573" h="489">
                    <a:moveTo>
                      <a:pt x="171" y="0"/>
                    </a:moveTo>
                    <a:lnTo>
                      <a:pt x="142" y="28"/>
                    </a:lnTo>
                    <a:lnTo>
                      <a:pt x="57" y="28"/>
                    </a:lnTo>
                    <a:lnTo>
                      <a:pt x="57" y="380"/>
                    </a:lnTo>
                    <a:lnTo>
                      <a:pt x="0" y="380"/>
                    </a:lnTo>
                    <a:lnTo>
                      <a:pt x="0" y="407"/>
                    </a:lnTo>
                    <a:lnTo>
                      <a:pt x="57" y="461"/>
                    </a:lnTo>
                    <a:lnTo>
                      <a:pt x="57" y="489"/>
                    </a:lnTo>
                    <a:lnTo>
                      <a:pt x="430" y="489"/>
                    </a:lnTo>
                    <a:lnTo>
                      <a:pt x="458" y="352"/>
                    </a:lnTo>
                    <a:lnTo>
                      <a:pt x="548" y="273"/>
                    </a:lnTo>
                    <a:lnTo>
                      <a:pt x="573" y="135"/>
                    </a:lnTo>
                    <a:lnTo>
                      <a:pt x="430" y="54"/>
                    </a:lnTo>
                    <a:lnTo>
                      <a:pt x="315" y="28"/>
                    </a:lnTo>
                    <a:lnTo>
                      <a:pt x="315" y="108"/>
                    </a:lnTo>
                    <a:lnTo>
                      <a:pt x="257" y="54"/>
                    </a:lnTo>
                    <a:lnTo>
                      <a:pt x="257" y="0"/>
                    </a:lnTo>
                    <a:lnTo>
                      <a:pt x="171"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29" name="Group 444">
              <a:extLst>
                <a:ext uri="{FF2B5EF4-FFF2-40B4-BE49-F238E27FC236}">
                  <a16:creationId xmlns:a16="http://schemas.microsoft.com/office/drawing/2014/main" id="{43128F9C-BD3B-8973-AD4F-296DA99CA2AE}"/>
                </a:ext>
              </a:extLst>
            </p:cNvPr>
            <p:cNvGrpSpPr>
              <a:grpSpLocks/>
            </p:cNvGrpSpPr>
            <p:nvPr/>
          </p:nvGrpSpPr>
          <p:grpSpPr bwMode="auto">
            <a:xfrm>
              <a:off x="3081422" y="4030922"/>
              <a:ext cx="601620" cy="624627"/>
              <a:chOff x="2246" y="2230"/>
              <a:chExt cx="523" cy="543"/>
            </a:xfrm>
            <a:solidFill>
              <a:schemeClr val="bg1">
                <a:lumMod val="85000"/>
              </a:schemeClr>
            </a:solidFill>
          </p:grpSpPr>
          <p:sp>
            <p:nvSpPr>
              <p:cNvPr id="646" name="Freeform 445">
                <a:extLst>
                  <a:ext uri="{FF2B5EF4-FFF2-40B4-BE49-F238E27FC236}">
                    <a16:creationId xmlns:a16="http://schemas.microsoft.com/office/drawing/2014/main" id="{267543EE-520C-9766-3A2E-1072CD0F84FA}"/>
                  </a:ext>
                </a:extLst>
              </p:cNvPr>
              <p:cNvSpPr>
                <a:spLocks/>
              </p:cNvSpPr>
              <p:nvPr/>
            </p:nvSpPr>
            <p:spPr bwMode="auto">
              <a:xfrm>
                <a:off x="2246" y="2230"/>
                <a:ext cx="523" cy="543"/>
              </a:xfrm>
              <a:custGeom>
                <a:avLst/>
                <a:gdLst/>
                <a:ahLst/>
                <a:cxnLst>
                  <a:cxn ang="0">
                    <a:pos x="88" y="2"/>
                  </a:cxn>
                  <a:cxn ang="0">
                    <a:pos x="29" y="53"/>
                  </a:cxn>
                  <a:cxn ang="0">
                    <a:pos x="0" y="188"/>
                  </a:cxn>
                  <a:cxn ang="0">
                    <a:pos x="86" y="248"/>
                  </a:cxn>
                  <a:cxn ang="0">
                    <a:pos x="112" y="360"/>
                  </a:cxn>
                  <a:cxn ang="0">
                    <a:pos x="114" y="542"/>
                  </a:cxn>
                  <a:cxn ang="0">
                    <a:pos x="379" y="543"/>
                  </a:cxn>
                  <a:cxn ang="0">
                    <a:pos x="437" y="515"/>
                  </a:cxn>
                  <a:cxn ang="0">
                    <a:pos x="523" y="381"/>
                  </a:cxn>
                  <a:cxn ang="0">
                    <a:pos x="466" y="272"/>
                  </a:cxn>
                  <a:cxn ang="0">
                    <a:pos x="264" y="272"/>
                  </a:cxn>
                  <a:cxn ang="0">
                    <a:pos x="322" y="190"/>
                  </a:cxn>
                  <a:cxn ang="0">
                    <a:pos x="322" y="109"/>
                  </a:cxn>
                  <a:cxn ang="0">
                    <a:pos x="236" y="109"/>
                  </a:cxn>
                  <a:cxn ang="0">
                    <a:pos x="293" y="136"/>
                  </a:cxn>
                  <a:cxn ang="0">
                    <a:pos x="293" y="190"/>
                  </a:cxn>
                  <a:cxn ang="0">
                    <a:pos x="207" y="163"/>
                  </a:cxn>
                  <a:cxn ang="0">
                    <a:pos x="149" y="27"/>
                  </a:cxn>
                  <a:cxn ang="0">
                    <a:pos x="92" y="0"/>
                  </a:cxn>
                  <a:cxn ang="0">
                    <a:pos x="88" y="2"/>
                  </a:cxn>
                </a:cxnLst>
                <a:rect l="0" t="0" r="r" b="b"/>
                <a:pathLst>
                  <a:path w="523" h="543">
                    <a:moveTo>
                      <a:pt x="88" y="2"/>
                    </a:moveTo>
                    <a:lnTo>
                      <a:pt x="29" y="53"/>
                    </a:lnTo>
                    <a:lnTo>
                      <a:pt x="0" y="188"/>
                    </a:lnTo>
                    <a:lnTo>
                      <a:pt x="86" y="248"/>
                    </a:lnTo>
                    <a:lnTo>
                      <a:pt x="112" y="360"/>
                    </a:lnTo>
                    <a:lnTo>
                      <a:pt x="114" y="542"/>
                    </a:lnTo>
                    <a:lnTo>
                      <a:pt x="379" y="543"/>
                    </a:lnTo>
                    <a:lnTo>
                      <a:pt x="437" y="515"/>
                    </a:lnTo>
                    <a:lnTo>
                      <a:pt x="523" y="381"/>
                    </a:lnTo>
                    <a:lnTo>
                      <a:pt x="466" y="272"/>
                    </a:lnTo>
                    <a:lnTo>
                      <a:pt x="264" y="272"/>
                    </a:lnTo>
                    <a:lnTo>
                      <a:pt x="322" y="190"/>
                    </a:lnTo>
                    <a:lnTo>
                      <a:pt x="322" y="109"/>
                    </a:lnTo>
                    <a:lnTo>
                      <a:pt x="236" y="109"/>
                    </a:lnTo>
                    <a:lnTo>
                      <a:pt x="293" y="136"/>
                    </a:lnTo>
                    <a:lnTo>
                      <a:pt x="293" y="190"/>
                    </a:lnTo>
                    <a:lnTo>
                      <a:pt x="207" y="163"/>
                    </a:lnTo>
                    <a:lnTo>
                      <a:pt x="149" y="27"/>
                    </a:lnTo>
                    <a:lnTo>
                      <a:pt x="92" y="0"/>
                    </a:lnTo>
                    <a:lnTo>
                      <a:pt x="88" y="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47" name="Freeform 446">
                <a:extLst>
                  <a:ext uri="{FF2B5EF4-FFF2-40B4-BE49-F238E27FC236}">
                    <a16:creationId xmlns:a16="http://schemas.microsoft.com/office/drawing/2014/main" id="{160A8275-9ACC-9D68-F392-ABB3B1D710FE}"/>
                  </a:ext>
                </a:extLst>
              </p:cNvPr>
              <p:cNvSpPr>
                <a:spLocks/>
              </p:cNvSpPr>
              <p:nvPr/>
            </p:nvSpPr>
            <p:spPr bwMode="auto">
              <a:xfrm>
                <a:off x="2246" y="2230"/>
                <a:ext cx="523" cy="543"/>
              </a:xfrm>
              <a:custGeom>
                <a:avLst/>
                <a:gdLst/>
                <a:ahLst/>
                <a:cxnLst>
                  <a:cxn ang="0">
                    <a:pos x="88" y="2"/>
                  </a:cxn>
                  <a:cxn ang="0">
                    <a:pos x="29" y="53"/>
                  </a:cxn>
                  <a:cxn ang="0">
                    <a:pos x="0" y="188"/>
                  </a:cxn>
                  <a:cxn ang="0">
                    <a:pos x="86" y="248"/>
                  </a:cxn>
                  <a:cxn ang="0">
                    <a:pos x="112" y="360"/>
                  </a:cxn>
                  <a:cxn ang="0">
                    <a:pos x="114" y="542"/>
                  </a:cxn>
                  <a:cxn ang="0">
                    <a:pos x="379" y="543"/>
                  </a:cxn>
                  <a:cxn ang="0">
                    <a:pos x="437" y="515"/>
                  </a:cxn>
                  <a:cxn ang="0">
                    <a:pos x="523" y="381"/>
                  </a:cxn>
                  <a:cxn ang="0">
                    <a:pos x="466" y="272"/>
                  </a:cxn>
                  <a:cxn ang="0">
                    <a:pos x="264" y="272"/>
                  </a:cxn>
                  <a:cxn ang="0">
                    <a:pos x="322" y="190"/>
                  </a:cxn>
                  <a:cxn ang="0">
                    <a:pos x="322" y="109"/>
                  </a:cxn>
                  <a:cxn ang="0">
                    <a:pos x="236" y="109"/>
                  </a:cxn>
                  <a:cxn ang="0">
                    <a:pos x="293" y="136"/>
                  </a:cxn>
                  <a:cxn ang="0">
                    <a:pos x="293" y="190"/>
                  </a:cxn>
                  <a:cxn ang="0">
                    <a:pos x="207" y="163"/>
                  </a:cxn>
                  <a:cxn ang="0">
                    <a:pos x="149" y="27"/>
                  </a:cxn>
                  <a:cxn ang="0">
                    <a:pos x="92" y="0"/>
                  </a:cxn>
                </a:cxnLst>
                <a:rect l="0" t="0" r="r" b="b"/>
                <a:pathLst>
                  <a:path w="523" h="543">
                    <a:moveTo>
                      <a:pt x="88" y="2"/>
                    </a:moveTo>
                    <a:lnTo>
                      <a:pt x="29" y="53"/>
                    </a:lnTo>
                    <a:lnTo>
                      <a:pt x="0" y="188"/>
                    </a:lnTo>
                    <a:lnTo>
                      <a:pt x="86" y="248"/>
                    </a:lnTo>
                    <a:lnTo>
                      <a:pt x="112" y="360"/>
                    </a:lnTo>
                    <a:lnTo>
                      <a:pt x="114" y="542"/>
                    </a:lnTo>
                    <a:lnTo>
                      <a:pt x="379" y="543"/>
                    </a:lnTo>
                    <a:lnTo>
                      <a:pt x="437" y="515"/>
                    </a:lnTo>
                    <a:lnTo>
                      <a:pt x="523" y="381"/>
                    </a:lnTo>
                    <a:lnTo>
                      <a:pt x="466" y="272"/>
                    </a:lnTo>
                    <a:lnTo>
                      <a:pt x="264" y="272"/>
                    </a:lnTo>
                    <a:lnTo>
                      <a:pt x="322" y="190"/>
                    </a:lnTo>
                    <a:lnTo>
                      <a:pt x="322" y="109"/>
                    </a:lnTo>
                    <a:lnTo>
                      <a:pt x="236" y="109"/>
                    </a:lnTo>
                    <a:lnTo>
                      <a:pt x="293" y="136"/>
                    </a:lnTo>
                    <a:lnTo>
                      <a:pt x="293" y="190"/>
                    </a:lnTo>
                    <a:lnTo>
                      <a:pt x="207" y="163"/>
                    </a:lnTo>
                    <a:lnTo>
                      <a:pt x="149" y="27"/>
                    </a:lnTo>
                    <a:lnTo>
                      <a:pt x="92"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0" name="Group 447">
              <a:extLst>
                <a:ext uri="{FF2B5EF4-FFF2-40B4-BE49-F238E27FC236}">
                  <a16:creationId xmlns:a16="http://schemas.microsoft.com/office/drawing/2014/main" id="{DCD4BBED-D4FA-BC89-98EF-E639EA10D551}"/>
                </a:ext>
              </a:extLst>
            </p:cNvPr>
            <p:cNvGrpSpPr>
              <a:grpSpLocks/>
            </p:cNvGrpSpPr>
            <p:nvPr/>
          </p:nvGrpSpPr>
          <p:grpSpPr bwMode="auto">
            <a:xfrm>
              <a:off x="3674989" y="4032072"/>
              <a:ext cx="526849" cy="438274"/>
              <a:chOff x="2762" y="2231"/>
              <a:chExt cx="458" cy="381"/>
            </a:xfrm>
            <a:solidFill>
              <a:schemeClr val="bg1">
                <a:lumMod val="85000"/>
              </a:schemeClr>
            </a:solidFill>
          </p:grpSpPr>
          <p:sp>
            <p:nvSpPr>
              <p:cNvPr id="644" name="Freeform 448">
                <a:extLst>
                  <a:ext uri="{FF2B5EF4-FFF2-40B4-BE49-F238E27FC236}">
                    <a16:creationId xmlns:a16="http://schemas.microsoft.com/office/drawing/2014/main" id="{C38D5B6C-5E3F-ED71-396E-27C781D33F77}"/>
                  </a:ext>
                </a:extLst>
              </p:cNvPr>
              <p:cNvSpPr>
                <a:spLocks/>
              </p:cNvSpPr>
              <p:nvPr/>
            </p:nvSpPr>
            <p:spPr bwMode="auto">
              <a:xfrm>
                <a:off x="2762" y="2231"/>
                <a:ext cx="458" cy="381"/>
              </a:xfrm>
              <a:custGeom>
                <a:avLst/>
                <a:gdLst/>
                <a:ahLst/>
                <a:cxnLst>
                  <a:cxn ang="0">
                    <a:pos x="114" y="0"/>
                  </a:cxn>
                  <a:cxn ang="0">
                    <a:pos x="56" y="218"/>
                  </a:cxn>
                  <a:cxn ang="0">
                    <a:pos x="0" y="327"/>
                  </a:cxn>
                  <a:cxn ang="0">
                    <a:pos x="0" y="381"/>
                  </a:cxn>
                  <a:cxn ang="0">
                    <a:pos x="56" y="327"/>
                  </a:cxn>
                  <a:cxn ang="0">
                    <a:pos x="458" y="327"/>
                  </a:cxn>
                  <a:cxn ang="0">
                    <a:pos x="430" y="136"/>
                  </a:cxn>
                  <a:cxn ang="0">
                    <a:pos x="458" y="0"/>
                  </a:cxn>
                  <a:cxn ang="0">
                    <a:pos x="114" y="0"/>
                  </a:cxn>
                </a:cxnLst>
                <a:rect l="0" t="0" r="r" b="b"/>
                <a:pathLst>
                  <a:path w="458" h="381">
                    <a:moveTo>
                      <a:pt x="114" y="0"/>
                    </a:moveTo>
                    <a:lnTo>
                      <a:pt x="56" y="218"/>
                    </a:lnTo>
                    <a:lnTo>
                      <a:pt x="0" y="327"/>
                    </a:lnTo>
                    <a:lnTo>
                      <a:pt x="0" y="381"/>
                    </a:lnTo>
                    <a:lnTo>
                      <a:pt x="56" y="327"/>
                    </a:lnTo>
                    <a:lnTo>
                      <a:pt x="458" y="327"/>
                    </a:lnTo>
                    <a:lnTo>
                      <a:pt x="430" y="136"/>
                    </a:lnTo>
                    <a:lnTo>
                      <a:pt x="458" y="0"/>
                    </a:lnTo>
                    <a:lnTo>
                      <a:pt x="114"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45" name="Freeform 449">
                <a:extLst>
                  <a:ext uri="{FF2B5EF4-FFF2-40B4-BE49-F238E27FC236}">
                    <a16:creationId xmlns:a16="http://schemas.microsoft.com/office/drawing/2014/main" id="{41051C37-9F83-116A-9D9C-111494611378}"/>
                  </a:ext>
                </a:extLst>
              </p:cNvPr>
              <p:cNvSpPr>
                <a:spLocks/>
              </p:cNvSpPr>
              <p:nvPr/>
            </p:nvSpPr>
            <p:spPr bwMode="auto">
              <a:xfrm>
                <a:off x="2762" y="2231"/>
                <a:ext cx="458" cy="381"/>
              </a:xfrm>
              <a:custGeom>
                <a:avLst/>
                <a:gdLst/>
                <a:ahLst/>
                <a:cxnLst>
                  <a:cxn ang="0">
                    <a:pos x="114" y="0"/>
                  </a:cxn>
                  <a:cxn ang="0">
                    <a:pos x="56" y="218"/>
                  </a:cxn>
                  <a:cxn ang="0">
                    <a:pos x="0" y="327"/>
                  </a:cxn>
                  <a:cxn ang="0">
                    <a:pos x="0" y="381"/>
                  </a:cxn>
                  <a:cxn ang="0">
                    <a:pos x="56" y="327"/>
                  </a:cxn>
                  <a:cxn ang="0">
                    <a:pos x="458" y="327"/>
                  </a:cxn>
                  <a:cxn ang="0">
                    <a:pos x="430" y="136"/>
                  </a:cxn>
                  <a:cxn ang="0">
                    <a:pos x="458" y="0"/>
                  </a:cxn>
                  <a:cxn ang="0">
                    <a:pos x="114" y="0"/>
                  </a:cxn>
                </a:cxnLst>
                <a:rect l="0" t="0" r="r" b="b"/>
                <a:pathLst>
                  <a:path w="458" h="381">
                    <a:moveTo>
                      <a:pt x="114" y="0"/>
                    </a:moveTo>
                    <a:lnTo>
                      <a:pt x="56" y="218"/>
                    </a:lnTo>
                    <a:lnTo>
                      <a:pt x="0" y="327"/>
                    </a:lnTo>
                    <a:lnTo>
                      <a:pt x="0" y="381"/>
                    </a:lnTo>
                    <a:lnTo>
                      <a:pt x="56" y="327"/>
                    </a:lnTo>
                    <a:lnTo>
                      <a:pt x="458" y="327"/>
                    </a:lnTo>
                    <a:lnTo>
                      <a:pt x="430" y="136"/>
                    </a:lnTo>
                    <a:lnTo>
                      <a:pt x="458" y="0"/>
                    </a:lnTo>
                    <a:lnTo>
                      <a:pt x="114"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1" name="Group 450">
              <a:extLst>
                <a:ext uri="{FF2B5EF4-FFF2-40B4-BE49-F238E27FC236}">
                  <a16:creationId xmlns:a16="http://schemas.microsoft.com/office/drawing/2014/main" id="{8AA68818-A556-2433-989A-2171D87F7F42}"/>
                </a:ext>
              </a:extLst>
            </p:cNvPr>
            <p:cNvGrpSpPr>
              <a:grpSpLocks/>
            </p:cNvGrpSpPr>
            <p:nvPr/>
          </p:nvGrpSpPr>
          <p:grpSpPr bwMode="auto">
            <a:xfrm>
              <a:off x="4136272" y="4032072"/>
              <a:ext cx="362352" cy="438274"/>
              <a:chOff x="3163" y="2231"/>
              <a:chExt cx="315" cy="381"/>
            </a:xfrm>
            <a:solidFill>
              <a:schemeClr val="bg1">
                <a:lumMod val="85000"/>
              </a:schemeClr>
            </a:solidFill>
          </p:grpSpPr>
          <p:sp>
            <p:nvSpPr>
              <p:cNvPr id="642" name="Freeform 451">
                <a:extLst>
                  <a:ext uri="{FF2B5EF4-FFF2-40B4-BE49-F238E27FC236}">
                    <a16:creationId xmlns:a16="http://schemas.microsoft.com/office/drawing/2014/main" id="{7378519E-5CE7-09B1-605E-9947444F8B18}"/>
                  </a:ext>
                </a:extLst>
              </p:cNvPr>
              <p:cNvSpPr>
                <a:spLocks/>
              </p:cNvSpPr>
              <p:nvPr/>
            </p:nvSpPr>
            <p:spPr bwMode="auto">
              <a:xfrm>
                <a:off x="3163" y="2231"/>
                <a:ext cx="315" cy="381"/>
              </a:xfrm>
              <a:custGeom>
                <a:avLst/>
                <a:gdLst/>
                <a:ahLst/>
                <a:cxnLst>
                  <a:cxn ang="0">
                    <a:pos x="57" y="0"/>
                  </a:cxn>
                  <a:cxn ang="0">
                    <a:pos x="29" y="136"/>
                  </a:cxn>
                  <a:cxn ang="0">
                    <a:pos x="57" y="327"/>
                  </a:cxn>
                  <a:cxn ang="0">
                    <a:pos x="0" y="381"/>
                  </a:cxn>
                  <a:cxn ang="0">
                    <a:pos x="315" y="381"/>
                  </a:cxn>
                  <a:cxn ang="0">
                    <a:pos x="315" y="0"/>
                  </a:cxn>
                  <a:cxn ang="0">
                    <a:pos x="57" y="0"/>
                  </a:cxn>
                </a:cxnLst>
                <a:rect l="0" t="0" r="r" b="b"/>
                <a:pathLst>
                  <a:path w="315" h="381">
                    <a:moveTo>
                      <a:pt x="57" y="0"/>
                    </a:moveTo>
                    <a:lnTo>
                      <a:pt x="29" y="136"/>
                    </a:lnTo>
                    <a:lnTo>
                      <a:pt x="57" y="327"/>
                    </a:lnTo>
                    <a:lnTo>
                      <a:pt x="0" y="381"/>
                    </a:lnTo>
                    <a:lnTo>
                      <a:pt x="315" y="381"/>
                    </a:lnTo>
                    <a:lnTo>
                      <a:pt x="315" y="0"/>
                    </a:lnTo>
                    <a:lnTo>
                      <a:pt x="57"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43" name="Freeform 452">
                <a:extLst>
                  <a:ext uri="{FF2B5EF4-FFF2-40B4-BE49-F238E27FC236}">
                    <a16:creationId xmlns:a16="http://schemas.microsoft.com/office/drawing/2014/main" id="{B18F5A1D-3A4E-52FF-362C-7D0B312E1D06}"/>
                  </a:ext>
                </a:extLst>
              </p:cNvPr>
              <p:cNvSpPr>
                <a:spLocks/>
              </p:cNvSpPr>
              <p:nvPr/>
            </p:nvSpPr>
            <p:spPr bwMode="auto">
              <a:xfrm>
                <a:off x="3163" y="2231"/>
                <a:ext cx="315" cy="381"/>
              </a:xfrm>
              <a:custGeom>
                <a:avLst/>
                <a:gdLst/>
                <a:ahLst/>
                <a:cxnLst>
                  <a:cxn ang="0">
                    <a:pos x="57" y="0"/>
                  </a:cxn>
                  <a:cxn ang="0">
                    <a:pos x="29" y="136"/>
                  </a:cxn>
                  <a:cxn ang="0">
                    <a:pos x="57" y="327"/>
                  </a:cxn>
                  <a:cxn ang="0">
                    <a:pos x="0" y="381"/>
                  </a:cxn>
                  <a:cxn ang="0">
                    <a:pos x="315" y="381"/>
                  </a:cxn>
                  <a:cxn ang="0">
                    <a:pos x="315" y="0"/>
                  </a:cxn>
                  <a:cxn ang="0">
                    <a:pos x="57" y="0"/>
                  </a:cxn>
                </a:cxnLst>
                <a:rect l="0" t="0" r="r" b="b"/>
                <a:pathLst>
                  <a:path w="315" h="381">
                    <a:moveTo>
                      <a:pt x="57" y="0"/>
                    </a:moveTo>
                    <a:lnTo>
                      <a:pt x="29" y="136"/>
                    </a:lnTo>
                    <a:lnTo>
                      <a:pt x="57" y="327"/>
                    </a:lnTo>
                    <a:lnTo>
                      <a:pt x="0" y="381"/>
                    </a:lnTo>
                    <a:lnTo>
                      <a:pt x="315" y="381"/>
                    </a:lnTo>
                    <a:lnTo>
                      <a:pt x="315" y="0"/>
                    </a:lnTo>
                    <a:lnTo>
                      <a:pt x="57"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2" name="Group 474">
              <a:extLst>
                <a:ext uri="{FF2B5EF4-FFF2-40B4-BE49-F238E27FC236}">
                  <a16:creationId xmlns:a16="http://schemas.microsoft.com/office/drawing/2014/main" id="{588C8E9A-DCE3-E1E0-114D-23FBACD6913B}"/>
                </a:ext>
              </a:extLst>
            </p:cNvPr>
            <p:cNvGrpSpPr>
              <a:grpSpLocks/>
            </p:cNvGrpSpPr>
            <p:nvPr/>
          </p:nvGrpSpPr>
          <p:grpSpPr bwMode="auto">
            <a:xfrm>
              <a:off x="3279281" y="4655547"/>
              <a:ext cx="727005" cy="531451"/>
              <a:chOff x="2418" y="2773"/>
              <a:chExt cx="632" cy="462"/>
            </a:xfrm>
            <a:solidFill>
              <a:schemeClr val="bg1">
                <a:lumMod val="85000"/>
              </a:schemeClr>
            </a:solidFill>
          </p:grpSpPr>
          <p:sp>
            <p:nvSpPr>
              <p:cNvPr id="640" name="Freeform 475">
                <a:extLst>
                  <a:ext uri="{FF2B5EF4-FFF2-40B4-BE49-F238E27FC236}">
                    <a16:creationId xmlns:a16="http://schemas.microsoft.com/office/drawing/2014/main" id="{EB8DF3FB-1143-90E7-B2DF-BE60A6584DC1}"/>
                  </a:ext>
                </a:extLst>
              </p:cNvPr>
              <p:cNvSpPr>
                <a:spLocks/>
              </p:cNvSpPr>
              <p:nvPr/>
            </p:nvSpPr>
            <p:spPr bwMode="auto">
              <a:xfrm>
                <a:off x="2418" y="2773"/>
                <a:ext cx="632" cy="462"/>
              </a:xfrm>
              <a:custGeom>
                <a:avLst/>
                <a:gdLst/>
                <a:ahLst/>
                <a:cxnLst>
                  <a:cxn ang="0">
                    <a:pos x="0" y="0"/>
                  </a:cxn>
                  <a:cxn ang="0">
                    <a:pos x="58" y="54"/>
                  </a:cxn>
                  <a:cxn ang="0">
                    <a:pos x="115" y="271"/>
                  </a:cxn>
                  <a:cxn ang="0">
                    <a:pos x="202" y="271"/>
                  </a:cxn>
                  <a:cxn ang="0">
                    <a:pos x="230" y="407"/>
                  </a:cxn>
                  <a:cxn ang="0">
                    <a:pos x="317" y="407"/>
                  </a:cxn>
                  <a:cxn ang="0">
                    <a:pos x="317" y="434"/>
                  </a:cxn>
                  <a:cxn ang="0">
                    <a:pos x="402" y="434"/>
                  </a:cxn>
                  <a:cxn ang="0">
                    <a:pos x="459" y="462"/>
                  </a:cxn>
                  <a:cxn ang="0">
                    <a:pos x="546" y="434"/>
                  </a:cxn>
                  <a:cxn ang="0">
                    <a:pos x="632" y="190"/>
                  </a:cxn>
                  <a:cxn ang="0">
                    <a:pos x="345" y="190"/>
                  </a:cxn>
                  <a:cxn ang="0">
                    <a:pos x="202" y="0"/>
                  </a:cxn>
                  <a:cxn ang="0">
                    <a:pos x="0" y="0"/>
                  </a:cxn>
                </a:cxnLst>
                <a:rect l="0" t="0" r="r" b="b"/>
                <a:pathLst>
                  <a:path w="632" h="462">
                    <a:moveTo>
                      <a:pt x="0" y="0"/>
                    </a:moveTo>
                    <a:lnTo>
                      <a:pt x="58" y="54"/>
                    </a:lnTo>
                    <a:lnTo>
                      <a:pt x="115" y="271"/>
                    </a:lnTo>
                    <a:lnTo>
                      <a:pt x="202" y="271"/>
                    </a:lnTo>
                    <a:lnTo>
                      <a:pt x="230" y="407"/>
                    </a:lnTo>
                    <a:lnTo>
                      <a:pt x="317" y="407"/>
                    </a:lnTo>
                    <a:lnTo>
                      <a:pt x="317" y="434"/>
                    </a:lnTo>
                    <a:lnTo>
                      <a:pt x="402" y="434"/>
                    </a:lnTo>
                    <a:lnTo>
                      <a:pt x="459" y="462"/>
                    </a:lnTo>
                    <a:lnTo>
                      <a:pt x="546" y="434"/>
                    </a:lnTo>
                    <a:lnTo>
                      <a:pt x="632" y="190"/>
                    </a:lnTo>
                    <a:lnTo>
                      <a:pt x="345" y="190"/>
                    </a:lnTo>
                    <a:lnTo>
                      <a:pt x="202"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41" name="Freeform 476">
                <a:extLst>
                  <a:ext uri="{FF2B5EF4-FFF2-40B4-BE49-F238E27FC236}">
                    <a16:creationId xmlns:a16="http://schemas.microsoft.com/office/drawing/2014/main" id="{D6CC9AB5-C6A8-E865-3D33-CE6269F06E3A}"/>
                  </a:ext>
                </a:extLst>
              </p:cNvPr>
              <p:cNvSpPr>
                <a:spLocks/>
              </p:cNvSpPr>
              <p:nvPr/>
            </p:nvSpPr>
            <p:spPr bwMode="auto">
              <a:xfrm>
                <a:off x="2418" y="2773"/>
                <a:ext cx="632" cy="462"/>
              </a:xfrm>
              <a:custGeom>
                <a:avLst/>
                <a:gdLst/>
                <a:ahLst/>
                <a:cxnLst>
                  <a:cxn ang="0">
                    <a:pos x="0" y="0"/>
                  </a:cxn>
                  <a:cxn ang="0">
                    <a:pos x="58" y="54"/>
                  </a:cxn>
                  <a:cxn ang="0">
                    <a:pos x="115" y="271"/>
                  </a:cxn>
                  <a:cxn ang="0">
                    <a:pos x="202" y="271"/>
                  </a:cxn>
                  <a:cxn ang="0">
                    <a:pos x="230" y="407"/>
                  </a:cxn>
                  <a:cxn ang="0">
                    <a:pos x="317" y="407"/>
                  </a:cxn>
                  <a:cxn ang="0">
                    <a:pos x="317" y="434"/>
                  </a:cxn>
                  <a:cxn ang="0">
                    <a:pos x="402" y="434"/>
                  </a:cxn>
                  <a:cxn ang="0">
                    <a:pos x="459" y="462"/>
                  </a:cxn>
                  <a:cxn ang="0">
                    <a:pos x="546" y="434"/>
                  </a:cxn>
                  <a:cxn ang="0">
                    <a:pos x="632" y="190"/>
                  </a:cxn>
                  <a:cxn ang="0">
                    <a:pos x="345" y="190"/>
                  </a:cxn>
                  <a:cxn ang="0">
                    <a:pos x="202" y="0"/>
                  </a:cxn>
                  <a:cxn ang="0">
                    <a:pos x="0" y="0"/>
                  </a:cxn>
                </a:cxnLst>
                <a:rect l="0" t="0" r="r" b="b"/>
                <a:pathLst>
                  <a:path w="632" h="462">
                    <a:moveTo>
                      <a:pt x="0" y="0"/>
                    </a:moveTo>
                    <a:lnTo>
                      <a:pt x="58" y="54"/>
                    </a:lnTo>
                    <a:lnTo>
                      <a:pt x="115" y="271"/>
                    </a:lnTo>
                    <a:lnTo>
                      <a:pt x="202" y="271"/>
                    </a:lnTo>
                    <a:lnTo>
                      <a:pt x="230" y="407"/>
                    </a:lnTo>
                    <a:lnTo>
                      <a:pt x="317" y="407"/>
                    </a:lnTo>
                    <a:lnTo>
                      <a:pt x="317" y="434"/>
                    </a:lnTo>
                    <a:lnTo>
                      <a:pt x="402" y="434"/>
                    </a:lnTo>
                    <a:lnTo>
                      <a:pt x="459" y="462"/>
                    </a:lnTo>
                    <a:lnTo>
                      <a:pt x="546" y="434"/>
                    </a:lnTo>
                    <a:lnTo>
                      <a:pt x="632" y="190"/>
                    </a:lnTo>
                    <a:lnTo>
                      <a:pt x="345" y="190"/>
                    </a:lnTo>
                    <a:lnTo>
                      <a:pt x="202"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3" name="Group 477">
              <a:extLst>
                <a:ext uri="{FF2B5EF4-FFF2-40B4-BE49-F238E27FC236}">
                  <a16:creationId xmlns:a16="http://schemas.microsoft.com/office/drawing/2014/main" id="{A9938F14-02EC-5CFD-4124-62EA15DBE37A}"/>
                </a:ext>
              </a:extLst>
            </p:cNvPr>
            <p:cNvGrpSpPr>
              <a:grpSpLocks/>
            </p:cNvGrpSpPr>
            <p:nvPr/>
          </p:nvGrpSpPr>
          <p:grpSpPr bwMode="auto">
            <a:xfrm>
              <a:off x="3509344" y="4469195"/>
              <a:ext cx="362353" cy="404915"/>
              <a:chOff x="2618" y="2611"/>
              <a:chExt cx="315" cy="352"/>
            </a:xfrm>
            <a:solidFill>
              <a:schemeClr val="bg1">
                <a:lumMod val="85000"/>
              </a:schemeClr>
            </a:solidFill>
          </p:grpSpPr>
          <p:sp>
            <p:nvSpPr>
              <p:cNvPr id="638" name="Freeform 478">
                <a:extLst>
                  <a:ext uri="{FF2B5EF4-FFF2-40B4-BE49-F238E27FC236}">
                    <a16:creationId xmlns:a16="http://schemas.microsoft.com/office/drawing/2014/main" id="{91DB371D-08E1-06F9-2361-C4D8022A694A}"/>
                  </a:ext>
                </a:extLst>
              </p:cNvPr>
              <p:cNvSpPr>
                <a:spLocks/>
              </p:cNvSpPr>
              <p:nvPr/>
            </p:nvSpPr>
            <p:spPr bwMode="auto">
              <a:xfrm>
                <a:off x="2618" y="2611"/>
                <a:ext cx="315" cy="352"/>
              </a:xfrm>
              <a:custGeom>
                <a:avLst/>
                <a:gdLst/>
                <a:ahLst/>
                <a:cxnLst>
                  <a:cxn ang="0">
                    <a:pos x="0" y="162"/>
                  </a:cxn>
                  <a:cxn ang="0">
                    <a:pos x="144" y="352"/>
                  </a:cxn>
                  <a:cxn ang="0">
                    <a:pos x="315" y="352"/>
                  </a:cxn>
                  <a:cxn ang="0">
                    <a:pos x="315" y="325"/>
                  </a:cxn>
                  <a:cxn ang="0">
                    <a:pos x="229" y="325"/>
                  </a:cxn>
                  <a:cxn ang="0">
                    <a:pos x="258" y="216"/>
                  </a:cxn>
                  <a:cxn ang="0">
                    <a:pos x="258" y="135"/>
                  </a:cxn>
                  <a:cxn ang="0">
                    <a:pos x="200" y="81"/>
                  </a:cxn>
                  <a:cxn ang="0">
                    <a:pos x="144" y="81"/>
                  </a:cxn>
                  <a:cxn ang="0">
                    <a:pos x="144" y="0"/>
                  </a:cxn>
                  <a:cxn ang="0">
                    <a:pos x="57" y="135"/>
                  </a:cxn>
                  <a:cxn ang="0">
                    <a:pos x="0" y="162"/>
                  </a:cxn>
                </a:cxnLst>
                <a:rect l="0" t="0" r="r" b="b"/>
                <a:pathLst>
                  <a:path w="315" h="352">
                    <a:moveTo>
                      <a:pt x="0" y="162"/>
                    </a:moveTo>
                    <a:lnTo>
                      <a:pt x="144" y="352"/>
                    </a:lnTo>
                    <a:lnTo>
                      <a:pt x="315" y="352"/>
                    </a:lnTo>
                    <a:lnTo>
                      <a:pt x="315" y="325"/>
                    </a:lnTo>
                    <a:lnTo>
                      <a:pt x="229" y="325"/>
                    </a:lnTo>
                    <a:lnTo>
                      <a:pt x="258" y="216"/>
                    </a:lnTo>
                    <a:lnTo>
                      <a:pt x="258" y="135"/>
                    </a:lnTo>
                    <a:lnTo>
                      <a:pt x="200" y="81"/>
                    </a:lnTo>
                    <a:lnTo>
                      <a:pt x="144" y="81"/>
                    </a:lnTo>
                    <a:lnTo>
                      <a:pt x="144" y="0"/>
                    </a:lnTo>
                    <a:lnTo>
                      <a:pt x="57" y="135"/>
                    </a:lnTo>
                    <a:lnTo>
                      <a:pt x="0" y="16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39" name="Freeform 479">
                <a:extLst>
                  <a:ext uri="{FF2B5EF4-FFF2-40B4-BE49-F238E27FC236}">
                    <a16:creationId xmlns:a16="http://schemas.microsoft.com/office/drawing/2014/main" id="{7FB46A63-4C55-19DA-8EB7-5230ED5831CB}"/>
                  </a:ext>
                </a:extLst>
              </p:cNvPr>
              <p:cNvSpPr>
                <a:spLocks/>
              </p:cNvSpPr>
              <p:nvPr/>
            </p:nvSpPr>
            <p:spPr bwMode="auto">
              <a:xfrm>
                <a:off x="2618" y="2611"/>
                <a:ext cx="315" cy="352"/>
              </a:xfrm>
              <a:custGeom>
                <a:avLst/>
                <a:gdLst/>
                <a:ahLst/>
                <a:cxnLst>
                  <a:cxn ang="0">
                    <a:pos x="0" y="162"/>
                  </a:cxn>
                  <a:cxn ang="0">
                    <a:pos x="144" y="352"/>
                  </a:cxn>
                  <a:cxn ang="0">
                    <a:pos x="315" y="352"/>
                  </a:cxn>
                  <a:cxn ang="0">
                    <a:pos x="315" y="325"/>
                  </a:cxn>
                  <a:cxn ang="0">
                    <a:pos x="229" y="325"/>
                  </a:cxn>
                  <a:cxn ang="0">
                    <a:pos x="258" y="216"/>
                  </a:cxn>
                  <a:cxn ang="0">
                    <a:pos x="258" y="135"/>
                  </a:cxn>
                  <a:cxn ang="0">
                    <a:pos x="200" y="81"/>
                  </a:cxn>
                  <a:cxn ang="0">
                    <a:pos x="144" y="81"/>
                  </a:cxn>
                  <a:cxn ang="0">
                    <a:pos x="144" y="0"/>
                  </a:cxn>
                  <a:cxn ang="0">
                    <a:pos x="57" y="135"/>
                  </a:cxn>
                  <a:cxn ang="0">
                    <a:pos x="0" y="162"/>
                  </a:cxn>
                </a:cxnLst>
                <a:rect l="0" t="0" r="r" b="b"/>
                <a:pathLst>
                  <a:path w="315" h="352">
                    <a:moveTo>
                      <a:pt x="0" y="162"/>
                    </a:moveTo>
                    <a:lnTo>
                      <a:pt x="144" y="352"/>
                    </a:lnTo>
                    <a:lnTo>
                      <a:pt x="315" y="352"/>
                    </a:lnTo>
                    <a:lnTo>
                      <a:pt x="315" y="325"/>
                    </a:lnTo>
                    <a:lnTo>
                      <a:pt x="229" y="325"/>
                    </a:lnTo>
                    <a:lnTo>
                      <a:pt x="258" y="216"/>
                    </a:lnTo>
                    <a:lnTo>
                      <a:pt x="258" y="135"/>
                    </a:lnTo>
                    <a:lnTo>
                      <a:pt x="200" y="81"/>
                    </a:lnTo>
                    <a:lnTo>
                      <a:pt x="144" y="81"/>
                    </a:lnTo>
                    <a:lnTo>
                      <a:pt x="144" y="0"/>
                    </a:lnTo>
                    <a:lnTo>
                      <a:pt x="57" y="135"/>
                    </a:lnTo>
                    <a:lnTo>
                      <a:pt x="0" y="162"/>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4" name="Group 480">
              <a:extLst>
                <a:ext uri="{FF2B5EF4-FFF2-40B4-BE49-F238E27FC236}">
                  <a16:creationId xmlns:a16="http://schemas.microsoft.com/office/drawing/2014/main" id="{11A61D67-15E4-017A-EC48-BDC1340CCDA2}"/>
                </a:ext>
              </a:extLst>
            </p:cNvPr>
            <p:cNvGrpSpPr>
              <a:grpSpLocks/>
            </p:cNvGrpSpPr>
            <p:nvPr/>
          </p:nvGrpSpPr>
          <p:grpSpPr bwMode="auto">
            <a:xfrm>
              <a:off x="3674992" y="4407078"/>
              <a:ext cx="526849" cy="467032"/>
              <a:chOff x="2762" y="2557"/>
              <a:chExt cx="458" cy="406"/>
            </a:xfrm>
            <a:solidFill>
              <a:schemeClr val="bg1">
                <a:lumMod val="85000"/>
              </a:schemeClr>
            </a:solidFill>
          </p:grpSpPr>
          <p:sp>
            <p:nvSpPr>
              <p:cNvPr id="636" name="Freeform 481">
                <a:extLst>
                  <a:ext uri="{FF2B5EF4-FFF2-40B4-BE49-F238E27FC236}">
                    <a16:creationId xmlns:a16="http://schemas.microsoft.com/office/drawing/2014/main" id="{D0003072-87EA-2A2F-B8CB-E95224B3D2CA}"/>
                  </a:ext>
                </a:extLst>
              </p:cNvPr>
              <p:cNvSpPr>
                <a:spLocks/>
              </p:cNvSpPr>
              <p:nvPr/>
            </p:nvSpPr>
            <p:spPr bwMode="auto">
              <a:xfrm>
                <a:off x="2762" y="2557"/>
                <a:ext cx="458" cy="406"/>
              </a:xfrm>
              <a:custGeom>
                <a:avLst/>
                <a:gdLst/>
                <a:ahLst/>
                <a:cxnLst>
                  <a:cxn ang="0">
                    <a:pos x="0" y="54"/>
                  </a:cxn>
                  <a:cxn ang="0">
                    <a:pos x="0" y="135"/>
                  </a:cxn>
                  <a:cxn ang="0">
                    <a:pos x="56" y="135"/>
                  </a:cxn>
                  <a:cxn ang="0">
                    <a:pos x="114" y="189"/>
                  </a:cxn>
                  <a:cxn ang="0">
                    <a:pos x="114" y="270"/>
                  </a:cxn>
                  <a:cxn ang="0">
                    <a:pos x="85" y="379"/>
                  </a:cxn>
                  <a:cxn ang="0">
                    <a:pos x="171" y="379"/>
                  </a:cxn>
                  <a:cxn ang="0">
                    <a:pos x="171" y="406"/>
                  </a:cxn>
                  <a:cxn ang="0">
                    <a:pos x="286" y="406"/>
                  </a:cxn>
                  <a:cxn ang="0">
                    <a:pos x="343" y="379"/>
                  </a:cxn>
                  <a:cxn ang="0">
                    <a:pos x="430" y="352"/>
                  </a:cxn>
                  <a:cxn ang="0">
                    <a:pos x="343" y="243"/>
                  </a:cxn>
                  <a:cxn ang="0">
                    <a:pos x="315" y="135"/>
                  </a:cxn>
                  <a:cxn ang="0">
                    <a:pos x="401" y="54"/>
                  </a:cxn>
                  <a:cxn ang="0">
                    <a:pos x="458" y="0"/>
                  </a:cxn>
                  <a:cxn ang="0">
                    <a:pos x="56" y="0"/>
                  </a:cxn>
                  <a:cxn ang="0">
                    <a:pos x="0" y="54"/>
                  </a:cxn>
                </a:cxnLst>
                <a:rect l="0" t="0" r="r" b="b"/>
                <a:pathLst>
                  <a:path w="458" h="406">
                    <a:moveTo>
                      <a:pt x="0" y="54"/>
                    </a:moveTo>
                    <a:lnTo>
                      <a:pt x="0" y="135"/>
                    </a:lnTo>
                    <a:lnTo>
                      <a:pt x="56" y="135"/>
                    </a:lnTo>
                    <a:lnTo>
                      <a:pt x="114" y="189"/>
                    </a:lnTo>
                    <a:lnTo>
                      <a:pt x="114" y="270"/>
                    </a:lnTo>
                    <a:lnTo>
                      <a:pt x="85" y="379"/>
                    </a:lnTo>
                    <a:lnTo>
                      <a:pt x="171" y="379"/>
                    </a:lnTo>
                    <a:lnTo>
                      <a:pt x="171" y="406"/>
                    </a:lnTo>
                    <a:lnTo>
                      <a:pt x="286" y="406"/>
                    </a:lnTo>
                    <a:lnTo>
                      <a:pt x="343" y="379"/>
                    </a:lnTo>
                    <a:lnTo>
                      <a:pt x="430" y="352"/>
                    </a:lnTo>
                    <a:lnTo>
                      <a:pt x="343" y="243"/>
                    </a:lnTo>
                    <a:lnTo>
                      <a:pt x="315" y="135"/>
                    </a:lnTo>
                    <a:lnTo>
                      <a:pt x="401" y="54"/>
                    </a:lnTo>
                    <a:lnTo>
                      <a:pt x="458" y="0"/>
                    </a:lnTo>
                    <a:lnTo>
                      <a:pt x="56" y="0"/>
                    </a:lnTo>
                    <a:lnTo>
                      <a:pt x="0" y="5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37" name="Freeform 482">
                <a:extLst>
                  <a:ext uri="{FF2B5EF4-FFF2-40B4-BE49-F238E27FC236}">
                    <a16:creationId xmlns:a16="http://schemas.microsoft.com/office/drawing/2014/main" id="{094EC61F-41A1-49FD-6F2C-31CE6B8267D9}"/>
                  </a:ext>
                </a:extLst>
              </p:cNvPr>
              <p:cNvSpPr>
                <a:spLocks/>
              </p:cNvSpPr>
              <p:nvPr/>
            </p:nvSpPr>
            <p:spPr bwMode="auto">
              <a:xfrm>
                <a:off x="2762" y="2557"/>
                <a:ext cx="458" cy="406"/>
              </a:xfrm>
              <a:custGeom>
                <a:avLst/>
                <a:gdLst/>
                <a:ahLst/>
                <a:cxnLst>
                  <a:cxn ang="0">
                    <a:pos x="0" y="54"/>
                  </a:cxn>
                  <a:cxn ang="0">
                    <a:pos x="0" y="135"/>
                  </a:cxn>
                  <a:cxn ang="0">
                    <a:pos x="56" y="135"/>
                  </a:cxn>
                  <a:cxn ang="0">
                    <a:pos x="114" y="189"/>
                  </a:cxn>
                  <a:cxn ang="0">
                    <a:pos x="114" y="270"/>
                  </a:cxn>
                  <a:cxn ang="0">
                    <a:pos x="85" y="379"/>
                  </a:cxn>
                  <a:cxn ang="0">
                    <a:pos x="171" y="379"/>
                  </a:cxn>
                  <a:cxn ang="0">
                    <a:pos x="171" y="406"/>
                  </a:cxn>
                  <a:cxn ang="0">
                    <a:pos x="286" y="406"/>
                  </a:cxn>
                  <a:cxn ang="0">
                    <a:pos x="343" y="379"/>
                  </a:cxn>
                  <a:cxn ang="0">
                    <a:pos x="430" y="352"/>
                  </a:cxn>
                  <a:cxn ang="0">
                    <a:pos x="343" y="243"/>
                  </a:cxn>
                  <a:cxn ang="0">
                    <a:pos x="315" y="135"/>
                  </a:cxn>
                  <a:cxn ang="0">
                    <a:pos x="401" y="54"/>
                  </a:cxn>
                  <a:cxn ang="0">
                    <a:pos x="458" y="0"/>
                  </a:cxn>
                  <a:cxn ang="0">
                    <a:pos x="56" y="0"/>
                  </a:cxn>
                  <a:cxn ang="0">
                    <a:pos x="0" y="54"/>
                  </a:cxn>
                </a:cxnLst>
                <a:rect l="0" t="0" r="r" b="b"/>
                <a:pathLst>
                  <a:path w="458" h="406">
                    <a:moveTo>
                      <a:pt x="0" y="54"/>
                    </a:moveTo>
                    <a:lnTo>
                      <a:pt x="0" y="135"/>
                    </a:lnTo>
                    <a:lnTo>
                      <a:pt x="56" y="135"/>
                    </a:lnTo>
                    <a:lnTo>
                      <a:pt x="114" y="189"/>
                    </a:lnTo>
                    <a:lnTo>
                      <a:pt x="114" y="270"/>
                    </a:lnTo>
                    <a:lnTo>
                      <a:pt x="85" y="379"/>
                    </a:lnTo>
                    <a:lnTo>
                      <a:pt x="171" y="379"/>
                    </a:lnTo>
                    <a:lnTo>
                      <a:pt x="171" y="406"/>
                    </a:lnTo>
                    <a:lnTo>
                      <a:pt x="286" y="406"/>
                    </a:lnTo>
                    <a:lnTo>
                      <a:pt x="343" y="379"/>
                    </a:lnTo>
                    <a:lnTo>
                      <a:pt x="430" y="352"/>
                    </a:lnTo>
                    <a:lnTo>
                      <a:pt x="343" y="243"/>
                    </a:lnTo>
                    <a:lnTo>
                      <a:pt x="315" y="135"/>
                    </a:lnTo>
                    <a:lnTo>
                      <a:pt x="401" y="54"/>
                    </a:lnTo>
                    <a:lnTo>
                      <a:pt x="458" y="0"/>
                    </a:lnTo>
                    <a:lnTo>
                      <a:pt x="56" y="0"/>
                    </a:lnTo>
                    <a:lnTo>
                      <a:pt x="0" y="5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5" name="Group 486">
              <a:extLst>
                <a:ext uri="{FF2B5EF4-FFF2-40B4-BE49-F238E27FC236}">
                  <a16:creationId xmlns:a16="http://schemas.microsoft.com/office/drawing/2014/main" id="{51194BA6-BFCA-EFF9-4A76-ECD6C3CDEE4A}"/>
                </a:ext>
              </a:extLst>
            </p:cNvPr>
            <p:cNvGrpSpPr>
              <a:grpSpLocks/>
            </p:cNvGrpSpPr>
            <p:nvPr/>
          </p:nvGrpSpPr>
          <p:grpSpPr bwMode="auto">
            <a:xfrm>
              <a:off x="3906209" y="4811993"/>
              <a:ext cx="527999" cy="343947"/>
              <a:chOff x="2963" y="2909"/>
              <a:chExt cx="459" cy="299"/>
            </a:xfrm>
            <a:solidFill>
              <a:schemeClr val="bg1">
                <a:lumMod val="85000"/>
              </a:schemeClr>
            </a:solidFill>
          </p:grpSpPr>
          <p:sp>
            <p:nvSpPr>
              <p:cNvPr id="634" name="Freeform 487">
                <a:extLst>
                  <a:ext uri="{FF2B5EF4-FFF2-40B4-BE49-F238E27FC236}">
                    <a16:creationId xmlns:a16="http://schemas.microsoft.com/office/drawing/2014/main" id="{D2FF03B6-4FF1-F6C7-B96E-FF56F912C9EA}"/>
                  </a:ext>
                </a:extLst>
              </p:cNvPr>
              <p:cNvSpPr>
                <a:spLocks/>
              </p:cNvSpPr>
              <p:nvPr/>
            </p:nvSpPr>
            <p:spPr bwMode="auto">
              <a:xfrm>
                <a:off x="2963" y="2909"/>
                <a:ext cx="459" cy="299"/>
              </a:xfrm>
              <a:custGeom>
                <a:avLst/>
                <a:gdLst/>
                <a:ahLst/>
                <a:cxnLst>
                  <a:cxn ang="0">
                    <a:pos x="230" y="0"/>
                  </a:cxn>
                  <a:cxn ang="0">
                    <a:pos x="144" y="27"/>
                  </a:cxn>
                  <a:cxn ang="0">
                    <a:pos x="86" y="54"/>
                  </a:cxn>
                  <a:cxn ang="0">
                    <a:pos x="0" y="299"/>
                  </a:cxn>
                  <a:cxn ang="0">
                    <a:pos x="144" y="299"/>
                  </a:cxn>
                  <a:cxn ang="0">
                    <a:pos x="201" y="245"/>
                  </a:cxn>
                  <a:cxn ang="0">
                    <a:pos x="459" y="190"/>
                  </a:cxn>
                  <a:cxn ang="0">
                    <a:pos x="459" y="136"/>
                  </a:cxn>
                  <a:cxn ang="0">
                    <a:pos x="401" y="163"/>
                  </a:cxn>
                  <a:cxn ang="0">
                    <a:pos x="230" y="0"/>
                  </a:cxn>
                </a:cxnLst>
                <a:rect l="0" t="0" r="r" b="b"/>
                <a:pathLst>
                  <a:path w="459" h="299">
                    <a:moveTo>
                      <a:pt x="230" y="0"/>
                    </a:moveTo>
                    <a:lnTo>
                      <a:pt x="144" y="27"/>
                    </a:lnTo>
                    <a:lnTo>
                      <a:pt x="86" y="54"/>
                    </a:lnTo>
                    <a:lnTo>
                      <a:pt x="0" y="299"/>
                    </a:lnTo>
                    <a:lnTo>
                      <a:pt x="144" y="299"/>
                    </a:lnTo>
                    <a:lnTo>
                      <a:pt x="201" y="245"/>
                    </a:lnTo>
                    <a:lnTo>
                      <a:pt x="459" y="190"/>
                    </a:lnTo>
                    <a:lnTo>
                      <a:pt x="459" y="136"/>
                    </a:lnTo>
                    <a:lnTo>
                      <a:pt x="401" y="163"/>
                    </a:lnTo>
                    <a:lnTo>
                      <a:pt x="23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35" name="Freeform 488">
                <a:extLst>
                  <a:ext uri="{FF2B5EF4-FFF2-40B4-BE49-F238E27FC236}">
                    <a16:creationId xmlns:a16="http://schemas.microsoft.com/office/drawing/2014/main" id="{942A0F64-8456-3FEC-928D-1A8A0EEF6913}"/>
                  </a:ext>
                </a:extLst>
              </p:cNvPr>
              <p:cNvSpPr>
                <a:spLocks/>
              </p:cNvSpPr>
              <p:nvPr/>
            </p:nvSpPr>
            <p:spPr bwMode="auto">
              <a:xfrm>
                <a:off x="2963" y="2909"/>
                <a:ext cx="459" cy="299"/>
              </a:xfrm>
              <a:custGeom>
                <a:avLst/>
                <a:gdLst/>
                <a:ahLst/>
                <a:cxnLst>
                  <a:cxn ang="0">
                    <a:pos x="230" y="0"/>
                  </a:cxn>
                  <a:cxn ang="0">
                    <a:pos x="144" y="27"/>
                  </a:cxn>
                  <a:cxn ang="0">
                    <a:pos x="86" y="54"/>
                  </a:cxn>
                  <a:cxn ang="0">
                    <a:pos x="0" y="299"/>
                  </a:cxn>
                  <a:cxn ang="0">
                    <a:pos x="144" y="299"/>
                  </a:cxn>
                  <a:cxn ang="0">
                    <a:pos x="201" y="245"/>
                  </a:cxn>
                  <a:cxn ang="0">
                    <a:pos x="459" y="190"/>
                  </a:cxn>
                  <a:cxn ang="0">
                    <a:pos x="459" y="136"/>
                  </a:cxn>
                  <a:cxn ang="0">
                    <a:pos x="401" y="163"/>
                  </a:cxn>
                  <a:cxn ang="0">
                    <a:pos x="230" y="0"/>
                  </a:cxn>
                </a:cxnLst>
                <a:rect l="0" t="0" r="r" b="b"/>
                <a:pathLst>
                  <a:path w="459" h="299">
                    <a:moveTo>
                      <a:pt x="230" y="0"/>
                    </a:moveTo>
                    <a:lnTo>
                      <a:pt x="144" y="27"/>
                    </a:lnTo>
                    <a:lnTo>
                      <a:pt x="86" y="54"/>
                    </a:lnTo>
                    <a:lnTo>
                      <a:pt x="0" y="299"/>
                    </a:lnTo>
                    <a:lnTo>
                      <a:pt x="144" y="299"/>
                    </a:lnTo>
                    <a:lnTo>
                      <a:pt x="201" y="245"/>
                    </a:lnTo>
                    <a:lnTo>
                      <a:pt x="459" y="190"/>
                    </a:lnTo>
                    <a:lnTo>
                      <a:pt x="459" y="136"/>
                    </a:lnTo>
                    <a:lnTo>
                      <a:pt x="401" y="163"/>
                    </a:lnTo>
                    <a:lnTo>
                      <a:pt x="23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6" name="Group 492">
              <a:extLst>
                <a:ext uri="{FF2B5EF4-FFF2-40B4-BE49-F238E27FC236}">
                  <a16:creationId xmlns:a16="http://schemas.microsoft.com/office/drawing/2014/main" id="{F4A48A4E-DBD6-4030-66F2-8AC0BE48A6B9}"/>
                </a:ext>
              </a:extLst>
            </p:cNvPr>
            <p:cNvGrpSpPr>
              <a:grpSpLocks/>
            </p:cNvGrpSpPr>
            <p:nvPr/>
          </p:nvGrpSpPr>
          <p:grpSpPr bwMode="auto">
            <a:xfrm>
              <a:off x="4064954" y="5035155"/>
              <a:ext cx="364653" cy="311737"/>
              <a:chOff x="3101" y="3103"/>
              <a:chExt cx="317" cy="271"/>
            </a:xfrm>
            <a:solidFill>
              <a:schemeClr val="bg1">
                <a:lumMod val="85000"/>
              </a:schemeClr>
            </a:solidFill>
          </p:grpSpPr>
          <p:sp>
            <p:nvSpPr>
              <p:cNvPr id="632" name="Freeform 493">
                <a:extLst>
                  <a:ext uri="{FF2B5EF4-FFF2-40B4-BE49-F238E27FC236}">
                    <a16:creationId xmlns:a16="http://schemas.microsoft.com/office/drawing/2014/main" id="{BBA50732-C890-5FB1-AC2A-72C40F7E0D5C}"/>
                  </a:ext>
                </a:extLst>
              </p:cNvPr>
              <p:cNvSpPr>
                <a:spLocks/>
              </p:cNvSpPr>
              <p:nvPr/>
            </p:nvSpPr>
            <p:spPr bwMode="auto">
              <a:xfrm>
                <a:off x="3101" y="3103"/>
                <a:ext cx="317" cy="271"/>
              </a:xfrm>
              <a:custGeom>
                <a:avLst/>
                <a:gdLst/>
                <a:ahLst/>
                <a:cxnLst>
                  <a:cxn ang="0">
                    <a:pos x="317" y="0"/>
                  </a:cxn>
                  <a:cxn ang="0">
                    <a:pos x="58" y="54"/>
                  </a:cxn>
                  <a:cxn ang="0">
                    <a:pos x="0" y="108"/>
                  </a:cxn>
                  <a:cxn ang="0">
                    <a:pos x="0" y="135"/>
                  </a:cxn>
                  <a:cxn ang="0">
                    <a:pos x="29" y="135"/>
                  </a:cxn>
                  <a:cxn ang="0">
                    <a:pos x="29" y="190"/>
                  </a:cxn>
                  <a:cxn ang="0">
                    <a:pos x="58" y="190"/>
                  </a:cxn>
                  <a:cxn ang="0">
                    <a:pos x="58" y="244"/>
                  </a:cxn>
                  <a:cxn ang="0">
                    <a:pos x="87" y="244"/>
                  </a:cxn>
                  <a:cxn ang="0">
                    <a:pos x="87" y="271"/>
                  </a:cxn>
                  <a:cxn ang="0">
                    <a:pos x="317" y="271"/>
                  </a:cxn>
                  <a:cxn ang="0">
                    <a:pos x="288" y="135"/>
                  </a:cxn>
                  <a:cxn ang="0">
                    <a:pos x="317" y="0"/>
                  </a:cxn>
                </a:cxnLst>
                <a:rect l="0" t="0" r="r" b="b"/>
                <a:pathLst>
                  <a:path w="317" h="271">
                    <a:moveTo>
                      <a:pt x="317" y="0"/>
                    </a:moveTo>
                    <a:lnTo>
                      <a:pt x="58" y="54"/>
                    </a:lnTo>
                    <a:lnTo>
                      <a:pt x="0" y="108"/>
                    </a:lnTo>
                    <a:lnTo>
                      <a:pt x="0" y="135"/>
                    </a:lnTo>
                    <a:lnTo>
                      <a:pt x="29" y="135"/>
                    </a:lnTo>
                    <a:lnTo>
                      <a:pt x="29" y="190"/>
                    </a:lnTo>
                    <a:lnTo>
                      <a:pt x="58" y="190"/>
                    </a:lnTo>
                    <a:lnTo>
                      <a:pt x="58" y="244"/>
                    </a:lnTo>
                    <a:lnTo>
                      <a:pt x="87" y="244"/>
                    </a:lnTo>
                    <a:lnTo>
                      <a:pt x="87" y="271"/>
                    </a:lnTo>
                    <a:lnTo>
                      <a:pt x="317" y="271"/>
                    </a:lnTo>
                    <a:lnTo>
                      <a:pt x="288" y="135"/>
                    </a:lnTo>
                    <a:lnTo>
                      <a:pt x="317"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33" name="Freeform 494">
                <a:extLst>
                  <a:ext uri="{FF2B5EF4-FFF2-40B4-BE49-F238E27FC236}">
                    <a16:creationId xmlns:a16="http://schemas.microsoft.com/office/drawing/2014/main" id="{8A62F964-7746-8D73-58AC-EA808A9BA3EA}"/>
                  </a:ext>
                </a:extLst>
              </p:cNvPr>
              <p:cNvSpPr>
                <a:spLocks/>
              </p:cNvSpPr>
              <p:nvPr/>
            </p:nvSpPr>
            <p:spPr bwMode="auto">
              <a:xfrm>
                <a:off x="3101" y="3103"/>
                <a:ext cx="317" cy="271"/>
              </a:xfrm>
              <a:custGeom>
                <a:avLst/>
                <a:gdLst/>
                <a:ahLst/>
                <a:cxnLst>
                  <a:cxn ang="0">
                    <a:pos x="317" y="0"/>
                  </a:cxn>
                  <a:cxn ang="0">
                    <a:pos x="58" y="54"/>
                  </a:cxn>
                  <a:cxn ang="0">
                    <a:pos x="0" y="108"/>
                  </a:cxn>
                  <a:cxn ang="0">
                    <a:pos x="0" y="135"/>
                  </a:cxn>
                  <a:cxn ang="0">
                    <a:pos x="29" y="135"/>
                  </a:cxn>
                  <a:cxn ang="0">
                    <a:pos x="29" y="190"/>
                  </a:cxn>
                  <a:cxn ang="0">
                    <a:pos x="58" y="190"/>
                  </a:cxn>
                  <a:cxn ang="0">
                    <a:pos x="58" y="244"/>
                  </a:cxn>
                  <a:cxn ang="0">
                    <a:pos x="87" y="244"/>
                  </a:cxn>
                  <a:cxn ang="0">
                    <a:pos x="87" y="271"/>
                  </a:cxn>
                  <a:cxn ang="0">
                    <a:pos x="317" y="271"/>
                  </a:cxn>
                  <a:cxn ang="0">
                    <a:pos x="288" y="135"/>
                  </a:cxn>
                  <a:cxn ang="0">
                    <a:pos x="317" y="0"/>
                  </a:cxn>
                </a:cxnLst>
                <a:rect l="0" t="0" r="r" b="b"/>
                <a:pathLst>
                  <a:path w="317" h="271">
                    <a:moveTo>
                      <a:pt x="317" y="0"/>
                    </a:moveTo>
                    <a:lnTo>
                      <a:pt x="58" y="54"/>
                    </a:lnTo>
                    <a:lnTo>
                      <a:pt x="0" y="108"/>
                    </a:lnTo>
                    <a:lnTo>
                      <a:pt x="0" y="135"/>
                    </a:lnTo>
                    <a:lnTo>
                      <a:pt x="29" y="135"/>
                    </a:lnTo>
                    <a:lnTo>
                      <a:pt x="29" y="190"/>
                    </a:lnTo>
                    <a:lnTo>
                      <a:pt x="58" y="190"/>
                    </a:lnTo>
                    <a:lnTo>
                      <a:pt x="58" y="244"/>
                    </a:lnTo>
                    <a:lnTo>
                      <a:pt x="87" y="244"/>
                    </a:lnTo>
                    <a:lnTo>
                      <a:pt x="87" y="271"/>
                    </a:lnTo>
                    <a:lnTo>
                      <a:pt x="317" y="271"/>
                    </a:lnTo>
                    <a:lnTo>
                      <a:pt x="288" y="135"/>
                    </a:lnTo>
                    <a:lnTo>
                      <a:pt x="317" y="0"/>
                    </a:lnTo>
                  </a:path>
                </a:pathLst>
              </a:custGeom>
              <a:grpFill/>
              <a:ln w="9525"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7" name="Group 510">
              <a:extLst>
                <a:ext uri="{FF2B5EF4-FFF2-40B4-BE49-F238E27FC236}">
                  <a16:creationId xmlns:a16="http://schemas.microsoft.com/office/drawing/2014/main" id="{562DDBE0-1FBE-C850-35A7-C07E698CEA27}"/>
                </a:ext>
              </a:extLst>
            </p:cNvPr>
            <p:cNvGrpSpPr>
              <a:grpSpLocks/>
            </p:cNvGrpSpPr>
            <p:nvPr/>
          </p:nvGrpSpPr>
          <p:grpSpPr bwMode="auto">
            <a:xfrm>
              <a:off x="3739410" y="5157089"/>
              <a:ext cx="429072" cy="499240"/>
              <a:chOff x="2818" y="3209"/>
              <a:chExt cx="373" cy="434"/>
            </a:xfrm>
            <a:solidFill>
              <a:schemeClr val="bg1">
                <a:lumMod val="85000"/>
              </a:schemeClr>
            </a:solidFill>
          </p:grpSpPr>
          <p:sp>
            <p:nvSpPr>
              <p:cNvPr id="630" name="Freeform 511">
                <a:extLst>
                  <a:ext uri="{FF2B5EF4-FFF2-40B4-BE49-F238E27FC236}">
                    <a16:creationId xmlns:a16="http://schemas.microsoft.com/office/drawing/2014/main" id="{67F08EFD-1FD1-C3C3-97A1-E93C61F60E5C}"/>
                  </a:ext>
                </a:extLst>
              </p:cNvPr>
              <p:cNvSpPr>
                <a:spLocks/>
              </p:cNvSpPr>
              <p:nvPr/>
            </p:nvSpPr>
            <p:spPr bwMode="auto">
              <a:xfrm>
                <a:off x="2818" y="3209"/>
                <a:ext cx="373" cy="434"/>
              </a:xfrm>
              <a:custGeom>
                <a:avLst/>
                <a:gdLst/>
                <a:ahLst/>
                <a:cxnLst>
                  <a:cxn ang="0">
                    <a:pos x="58" y="27"/>
                  </a:cxn>
                  <a:cxn ang="0">
                    <a:pos x="0" y="108"/>
                  </a:cxn>
                  <a:cxn ang="0">
                    <a:pos x="86" y="216"/>
                  </a:cxn>
                  <a:cxn ang="0">
                    <a:pos x="172" y="243"/>
                  </a:cxn>
                  <a:cxn ang="0">
                    <a:pos x="172" y="351"/>
                  </a:cxn>
                  <a:cxn ang="0">
                    <a:pos x="203" y="434"/>
                  </a:cxn>
                  <a:cxn ang="0">
                    <a:pos x="262" y="352"/>
                  </a:cxn>
                  <a:cxn ang="0">
                    <a:pos x="344" y="189"/>
                  </a:cxn>
                  <a:cxn ang="0">
                    <a:pos x="373" y="189"/>
                  </a:cxn>
                  <a:cxn ang="0">
                    <a:pos x="373" y="135"/>
                  </a:cxn>
                  <a:cxn ang="0">
                    <a:pos x="344" y="135"/>
                  </a:cxn>
                  <a:cxn ang="0">
                    <a:pos x="344" y="81"/>
                  </a:cxn>
                  <a:cxn ang="0">
                    <a:pos x="316" y="81"/>
                  </a:cxn>
                  <a:cxn ang="0">
                    <a:pos x="316" y="27"/>
                  </a:cxn>
                  <a:cxn ang="0">
                    <a:pos x="287" y="27"/>
                  </a:cxn>
                  <a:cxn ang="0">
                    <a:pos x="287" y="0"/>
                  </a:cxn>
                  <a:cxn ang="0">
                    <a:pos x="144" y="0"/>
                  </a:cxn>
                  <a:cxn ang="0">
                    <a:pos x="58" y="27"/>
                  </a:cxn>
                </a:cxnLst>
                <a:rect l="0" t="0" r="r" b="b"/>
                <a:pathLst>
                  <a:path w="373" h="434">
                    <a:moveTo>
                      <a:pt x="58" y="27"/>
                    </a:moveTo>
                    <a:lnTo>
                      <a:pt x="0" y="108"/>
                    </a:lnTo>
                    <a:lnTo>
                      <a:pt x="86" y="216"/>
                    </a:lnTo>
                    <a:lnTo>
                      <a:pt x="172" y="243"/>
                    </a:lnTo>
                    <a:lnTo>
                      <a:pt x="172" y="351"/>
                    </a:lnTo>
                    <a:lnTo>
                      <a:pt x="203" y="434"/>
                    </a:lnTo>
                    <a:lnTo>
                      <a:pt x="262" y="352"/>
                    </a:lnTo>
                    <a:lnTo>
                      <a:pt x="344" y="189"/>
                    </a:lnTo>
                    <a:lnTo>
                      <a:pt x="373" y="189"/>
                    </a:lnTo>
                    <a:lnTo>
                      <a:pt x="373" y="135"/>
                    </a:lnTo>
                    <a:lnTo>
                      <a:pt x="344" y="135"/>
                    </a:lnTo>
                    <a:lnTo>
                      <a:pt x="344" y="81"/>
                    </a:lnTo>
                    <a:lnTo>
                      <a:pt x="316" y="81"/>
                    </a:lnTo>
                    <a:lnTo>
                      <a:pt x="316" y="27"/>
                    </a:lnTo>
                    <a:lnTo>
                      <a:pt x="287" y="27"/>
                    </a:lnTo>
                    <a:lnTo>
                      <a:pt x="287" y="0"/>
                    </a:lnTo>
                    <a:lnTo>
                      <a:pt x="144" y="0"/>
                    </a:lnTo>
                    <a:lnTo>
                      <a:pt x="58" y="27"/>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31" name="Freeform 512">
                <a:extLst>
                  <a:ext uri="{FF2B5EF4-FFF2-40B4-BE49-F238E27FC236}">
                    <a16:creationId xmlns:a16="http://schemas.microsoft.com/office/drawing/2014/main" id="{84D61161-6919-9430-7F57-05F2A69FE3B1}"/>
                  </a:ext>
                </a:extLst>
              </p:cNvPr>
              <p:cNvSpPr>
                <a:spLocks/>
              </p:cNvSpPr>
              <p:nvPr/>
            </p:nvSpPr>
            <p:spPr bwMode="auto">
              <a:xfrm>
                <a:off x="2818" y="3209"/>
                <a:ext cx="373" cy="434"/>
              </a:xfrm>
              <a:custGeom>
                <a:avLst/>
                <a:gdLst/>
                <a:ahLst/>
                <a:cxnLst>
                  <a:cxn ang="0">
                    <a:pos x="58" y="27"/>
                  </a:cxn>
                  <a:cxn ang="0">
                    <a:pos x="0" y="108"/>
                  </a:cxn>
                  <a:cxn ang="0">
                    <a:pos x="86" y="216"/>
                  </a:cxn>
                  <a:cxn ang="0">
                    <a:pos x="172" y="243"/>
                  </a:cxn>
                  <a:cxn ang="0">
                    <a:pos x="172" y="351"/>
                  </a:cxn>
                  <a:cxn ang="0">
                    <a:pos x="203" y="434"/>
                  </a:cxn>
                  <a:cxn ang="0">
                    <a:pos x="262" y="352"/>
                  </a:cxn>
                  <a:cxn ang="0">
                    <a:pos x="344" y="189"/>
                  </a:cxn>
                  <a:cxn ang="0">
                    <a:pos x="373" y="189"/>
                  </a:cxn>
                  <a:cxn ang="0">
                    <a:pos x="373" y="135"/>
                  </a:cxn>
                  <a:cxn ang="0">
                    <a:pos x="344" y="135"/>
                  </a:cxn>
                  <a:cxn ang="0">
                    <a:pos x="344" y="81"/>
                  </a:cxn>
                  <a:cxn ang="0">
                    <a:pos x="316" y="81"/>
                  </a:cxn>
                  <a:cxn ang="0">
                    <a:pos x="316" y="27"/>
                  </a:cxn>
                  <a:cxn ang="0">
                    <a:pos x="287" y="27"/>
                  </a:cxn>
                  <a:cxn ang="0">
                    <a:pos x="287" y="0"/>
                  </a:cxn>
                  <a:cxn ang="0">
                    <a:pos x="144" y="0"/>
                  </a:cxn>
                  <a:cxn ang="0">
                    <a:pos x="58" y="27"/>
                  </a:cxn>
                </a:cxnLst>
                <a:rect l="0" t="0" r="r" b="b"/>
                <a:pathLst>
                  <a:path w="373" h="434">
                    <a:moveTo>
                      <a:pt x="58" y="27"/>
                    </a:moveTo>
                    <a:lnTo>
                      <a:pt x="0" y="108"/>
                    </a:lnTo>
                    <a:lnTo>
                      <a:pt x="86" y="216"/>
                    </a:lnTo>
                    <a:lnTo>
                      <a:pt x="172" y="243"/>
                    </a:lnTo>
                    <a:lnTo>
                      <a:pt x="172" y="351"/>
                    </a:lnTo>
                    <a:lnTo>
                      <a:pt x="203" y="434"/>
                    </a:lnTo>
                    <a:lnTo>
                      <a:pt x="262" y="352"/>
                    </a:lnTo>
                    <a:lnTo>
                      <a:pt x="344" y="189"/>
                    </a:lnTo>
                    <a:lnTo>
                      <a:pt x="373" y="189"/>
                    </a:lnTo>
                    <a:lnTo>
                      <a:pt x="373" y="135"/>
                    </a:lnTo>
                    <a:lnTo>
                      <a:pt x="344" y="135"/>
                    </a:lnTo>
                    <a:lnTo>
                      <a:pt x="344" y="81"/>
                    </a:lnTo>
                    <a:lnTo>
                      <a:pt x="316" y="81"/>
                    </a:lnTo>
                    <a:lnTo>
                      <a:pt x="316" y="27"/>
                    </a:lnTo>
                    <a:lnTo>
                      <a:pt x="287" y="27"/>
                    </a:lnTo>
                    <a:lnTo>
                      <a:pt x="287" y="0"/>
                    </a:lnTo>
                    <a:lnTo>
                      <a:pt x="144" y="0"/>
                    </a:lnTo>
                    <a:lnTo>
                      <a:pt x="58" y="27"/>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8" name="Group 525">
              <a:extLst>
                <a:ext uri="{FF2B5EF4-FFF2-40B4-BE49-F238E27FC236}">
                  <a16:creationId xmlns:a16="http://schemas.microsoft.com/office/drawing/2014/main" id="{00415EA7-E4F1-738F-5778-DE7B2E3241BB}"/>
                </a:ext>
              </a:extLst>
            </p:cNvPr>
            <p:cNvGrpSpPr>
              <a:grpSpLocks/>
            </p:cNvGrpSpPr>
            <p:nvPr/>
          </p:nvGrpSpPr>
          <p:grpSpPr bwMode="auto">
            <a:xfrm>
              <a:off x="4533134" y="5123731"/>
              <a:ext cx="395712" cy="438274"/>
              <a:chOff x="3508" y="3180"/>
              <a:chExt cx="344" cy="381"/>
            </a:xfrm>
            <a:solidFill>
              <a:schemeClr val="bg1">
                <a:lumMod val="85000"/>
              </a:schemeClr>
            </a:solidFill>
          </p:grpSpPr>
          <p:sp>
            <p:nvSpPr>
              <p:cNvPr id="628" name="Freeform 526">
                <a:extLst>
                  <a:ext uri="{FF2B5EF4-FFF2-40B4-BE49-F238E27FC236}">
                    <a16:creationId xmlns:a16="http://schemas.microsoft.com/office/drawing/2014/main" id="{727AAC8C-A2A5-A74C-3153-8B6CB1525E21}"/>
                  </a:ext>
                </a:extLst>
              </p:cNvPr>
              <p:cNvSpPr>
                <a:spLocks/>
              </p:cNvSpPr>
              <p:nvPr/>
            </p:nvSpPr>
            <p:spPr bwMode="auto">
              <a:xfrm>
                <a:off x="3508" y="3180"/>
                <a:ext cx="344" cy="381"/>
              </a:xfrm>
              <a:custGeom>
                <a:avLst/>
                <a:gdLst/>
                <a:ahLst/>
                <a:cxnLst>
                  <a:cxn ang="0">
                    <a:pos x="0" y="191"/>
                  </a:cxn>
                  <a:cxn ang="0">
                    <a:pos x="57" y="217"/>
                  </a:cxn>
                  <a:cxn ang="0">
                    <a:pos x="86" y="299"/>
                  </a:cxn>
                  <a:cxn ang="0">
                    <a:pos x="172" y="326"/>
                  </a:cxn>
                  <a:cxn ang="0">
                    <a:pos x="172" y="381"/>
                  </a:cxn>
                  <a:cxn ang="0">
                    <a:pos x="315" y="381"/>
                  </a:cxn>
                  <a:cxn ang="0">
                    <a:pos x="344" y="244"/>
                  </a:cxn>
                  <a:cxn ang="0">
                    <a:pos x="286" y="217"/>
                  </a:cxn>
                  <a:cxn ang="0">
                    <a:pos x="258" y="137"/>
                  </a:cxn>
                  <a:cxn ang="0">
                    <a:pos x="258" y="28"/>
                  </a:cxn>
                  <a:cxn ang="0">
                    <a:pos x="143" y="0"/>
                  </a:cxn>
                  <a:cxn ang="0">
                    <a:pos x="86" y="55"/>
                  </a:cxn>
                  <a:cxn ang="0">
                    <a:pos x="0" y="55"/>
                  </a:cxn>
                  <a:cxn ang="0">
                    <a:pos x="0" y="191"/>
                  </a:cxn>
                </a:cxnLst>
                <a:rect l="0" t="0" r="r" b="b"/>
                <a:pathLst>
                  <a:path w="344" h="381">
                    <a:moveTo>
                      <a:pt x="0" y="191"/>
                    </a:moveTo>
                    <a:lnTo>
                      <a:pt x="57" y="217"/>
                    </a:lnTo>
                    <a:lnTo>
                      <a:pt x="86" y="299"/>
                    </a:lnTo>
                    <a:lnTo>
                      <a:pt x="172" y="326"/>
                    </a:lnTo>
                    <a:lnTo>
                      <a:pt x="172" y="381"/>
                    </a:lnTo>
                    <a:lnTo>
                      <a:pt x="315" y="381"/>
                    </a:lnTo>
                    <a:lnTo>
                      <a:pt x="344" y="244"/>
                    </a:lnTo>
                    <a:lnTo>
                      <a:pt x="286" y="217"/>
                    </a:lnTo>
                    <a:lnTo>
                      <a:pt x="258" y="137"/>
                    </a:lnTo>
                    <a:lnTo>
                      <a:pt x="258" y="28"/>
                    </a:lnTo>
                    <a:lnTo>
                      <a:pt x="143" y="0"/>
                    </a:lnTo>
                    <a:lnTo>
                      <a:pt x="86" y="55"/>
                    </a:lnTo>
                    <a:lnTo>
                      <a:pt x="0" y="55"/>
                    </a:lnTo>
                    <a:lnTo>
                      <a:pt x="0" y="191"/>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29" name="Freeform 527">
                <a:extLst>
                  <a:ext uri="{FF2B5EF4-FFF2-40B4-BE49-F238E27FC236}">
                    <a16:creationId xmlns:a16="http://schemas.microsoft.com/office/drawing/2014/main" id="{7D23F3F6-5BFD-7A61-34A9-6A6DC5F403C2}"/>
                  </a:ext>
                </a:extLst>
              </p:cNvPr>
              <p:cNvSpPr>
                <a:spLocks/>
              </p:cNvSpPr>
              <p:nvPr/>
            </p:nvSpPr>
            <p:spPr bwMode="auto">
              <a:xfrm>
                <a:off x="3508" y="3180"/>
                <a:ext cx="344" cy="381"/>
              </a:xfrm>
              <a:custGeom>
                <a:avLst/>
                <a:gdLst/>
                <a:ahLst/>
                <a:cxnLst>
                  <a:cxn ang="0">
                    <a:pos x="0" y="191"/>
                  </a:cxn>
                  <a:cxn ang="0">
                    <a:pos x="57" y="217"/>
                  </a:cxn>
                  <a:cxn ang="0">
                    <a:pos x="86" y="299"/>
                  </a:cxn>
                  <a:cxn ang="0">
                    <a:pos x="172" y="326"/>
                  </a:cxn>
                  <a:cxn ang="0">
                    <a:pos x="172" y="381"/>
                  </a:cxn>
                  <a:cxn ang="0">
                    <a:pos x="315" y="381"/>
                  </a:cxn>
                  <a:cxn ang="0">
                    <a:pos x="344" y="244"/>
                  </a:cxn>
                  <a:cxn ang="0">
                    <a:pos x="286" y="217"/>
                  </a:cxn>
                  <a:cxn ang="0">
                    <a:pos x="258" y="137"/>
                  </a:cxn>
                  <a:cxn ang="0">
                    <a:pos x="258" y="28"/>
                  </a:cxn>
                  <a:cxn ang="0">
                    <a:pos x="143" y="0"/>
                  </a:cxn>
                  <a:cxn ang="0">
                    <a:pos x="86" y="55"/>
                  </a:cxn>
                  <a:cxn ang="0">
                    <a:pos x="0" y="55"/>
                  </a:cxn>
                  <a:cxn ang="0">
                    <a:pos x="0" y="191"/>
                  </a:cxn>
                </a:cxnLst>
                <a:rect l="0" t="0" r="r" b="b"/>
                <a:pathLst>
                  <a:path w="344" h="381">
                    <a:moveTo>
                      <a:pt x="0" y="191"/>
                    </a:moveTo>
                    <a:lnTo>
                      <a:pt x="57" y="217"/>
                    </a:lnTo>
                    <a:lnTo>
                      <a:pt x="86" y="299"/>
                    </a:lnTo>
                    <a:lnTo>
                      <a:pt x="172" y="326"/>
                    </a:lnTo>
                    <a:lnTo>
                      <a:pt x="172" y="381"/>
                    </a:lnTo>
                    <a:lnTo>
                      <a:pt x="315" y="381"/>
                    </a:lnTo>
                    <a:lnTo>
                      <a:pt x="344" y="244"/>
                    </a:lnTo>
                    <a:lnTo>
                      <a:pt x="286" y="217"/>
                    </a:lnTo>
                    <a:lnTo>
                      <a:pt x="258" y="137"/>
                    </a:lnTo>
                    <a:lnTo>
                      <a:pt x="258" y="28"/>
                    </a:lnTo>
                    <a:lnTo>
                      <a:pt x="143" y="0"/>
                    </a:lnTo>
                    <a:lnTo>
                      <a:pt x="86" y="55"/>
                    </a:lnTo>
                    <a:lnTo>
                      <a:pt x="0" y="55"/>
                    </a:lnTo>
                    <a:lnTo>
                      <a:pt x="0" y="191"/>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39" name="Group 531">
              <a:extLst>
                <a:ext uri="{FF2B5EF4-FFF2-40B4-BE49-F238E27FC236}">
                  <a16:creationId xmlns:a16="http://schemas.microsoft.com/office/drawing/2014/main" id="{CD4CC7E2-FF1F-E0E8-242B-2826473B9AAE}"/>
                </a:ext>
              </a:extLst>
            </p:cNvPr>
            <p:cNvGrpSpPr>
              <a:grpSpLocks/>
            </p:cNvGrpSpPr>
            <p:nvPr/>
          </p:nvGrpSpPr>
          <p:grpSpPr bwMode="auto">
            <a:xfrm>
              <a:off x="4961054" y="4999495"/>
              <a:ext cx="561359" cy="345098"/>
              <a:chOff x="3880" y="3072"/>
              <a:chExt cx="488" cy="300"/>
            </a:xfrm>
            <a:solidFill>
              <a:schemeClr val="bg1">
                <a:lumMod val="85000"/>
              </a:schemeClr>
            </a:solidFill>
          </p:grpSpPr>
          <p:sp>
            <p:nvSpPr>
              <p:cNvPr id="626" name="Freeform 532">
                <a:extLst>
                  <a:ext uri="{FF2B5EF4-FFF2-40B4-BE49-F238E27FC236}">
                    <a16:creationId xmlns:a16="http://schemas.microsoft.com/office/drawing/2014/main" id="{1E58104F-8E22-F5E1-31BA-5CCD4C2ECA93}"/>
                  </a:ext>
                </a:extLst>
              </p:cNvPr>
              <p:cNvSpPr>
                <a:spLocks/>
              </p:cNvSpPr>
              <p:nvPr/>
            </p:nvSpPr>
            <p:spPr bwMode="auto">
              <a:xfrm>
                <a:off x="3880" y="3072"/>
                <a:ext cx="488" cy="300"/>
              </a:xfrm>
              <a:custGeom>
                <a:avLst/>
                <a:gdLst/>
                <a:ahLst/>
                <a:cxnLst>
                  <a:cxn ang="0">
                    <a:pos x="29" y="164"/>
                  </a:cxn>
                  <a:cxn ang="0">
                    <a:pos x="0" y="273"/>
                  </a:cxn>
                  <a:cxn ang="0">
                    <a:pos x="58" y="273"/>
                  </a:cxn>
                  <a:cxn ang="0">
                    <a:pos x="86" y="245"/>
                  </a:cxn>
                  <a:cxn ang="0">
                    <a:pos x="144" y="273"/>
                  </a:cxn>
                  <a:cxn ang="0">
                    <a:pos x="230" y="300"/>
                  </a:cxn>
                  <a:cxn ang="0">
                    <a:pos x="230" y="273"/>
                  </a:cxn>
                  <a:cxn ang="0">
                    <a:pos x="144" y="218"/>
                  </a:cxn>
                  <a:cxn ang="0">
                    <a:pos x="172" y="164"/>
                  </a:cxn>
                  <a:cxn ang="0">
                    <a:pos x="258" y="191"/>
                  </a:cxn>
                  <a:cxn ang="0">
                    <a:pos x="316" y="137"/>
                  </a:cxn>
                  <a:cxn ang="0">
                    <a:pos x="402" y="137"/>
                  </a:cxn>
                  <a:cxn ang="0">
                    <a:pos x="488" y="0"/>
                  </a:cxn>
                  <a:cxn ang="0">
                    <a:pos x="373" y="28"/>
                  </a:cxn>
                  <a:cxn ang="0">
                    <a:pos x="345" y="82"/>
                  </a:cxn>
                  <a:cxn ang="0">
                    <a:pos x="258" y="0"/>
                  </a:cxn>
                  <a:cxn ang="0">
                    <a:pos x="115" y="137"/>
                  </a:cxn>
                  <a:cxn ang="0">
                    <a:pos x="29" y="164"/>
                  </a:cxn>
                </a:cxnLst>
                <a:rect l="0" t="0" r="r" b="b"/>
                <a:pathLst>
                  <a:path w="488" h="300">
                    <a:moveTo>
                      <a:pt x="29" y="164"/>
                    </a:moveTo>
                    <a:lnTo>
                      <a:pt x="0" y="273"/>
                    </a:lnTo>
                    <a:lnTo>
                      <a:pt x="58" y="273"/>
                    </a:lnTo>
                    <a:lnTo>
                      <a:pt x="86" y="245"/>
                    </a:lnTo>
                    <a:lnTo>
                      <a:pt x="144" y="273"/>
                    </a:lnTo>
                    <a:lnTo>
                      <a:pt x="230" y="300"/>
                    </a:lnTo>
                    <a:lnTo>
                      <a:pt x="230" y="273"/>
                    </a:lnTo>
                    <a:lnTo>
                      <a:pt x="144" y="218"/>
                    </a:lnTo>
                    <a:lnTo>
                      <a:pt x="172" y="164"/>
                    </a:lnTo>
                    <a:lnTo>
                      <a:pt x="258" y="191"/>
                    </a:lnTo>
                    <a:lnTo>
                      <a:pt x="316" y="137"/>
                    </a:lnTo>
                    <a:lnTo>
                      <a:pt x="402" y="137"/>
                    </a:lnTo>
                    <a:lnTo>
                      <a:pt x="488" y="0"/>
                    </a:lnTo>
                    <a:lnTo>
                      <a:pt x="373" y="28"/>
                    </a:lnTo>
                    <a:lnTo>
                      <a:pt x="345" y="82"/>
                    </a:lnTo>
                    <a:lnTo>
                      <a:pt x="258" y="0"/>
                    </a:lnTo>
                    <a:lnTo>
                      <a:pt x="115" y="137"/>
                    </a:lnTo>
                    <a:lnTo>
                      <a:pt x="29" y="16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27" name="Freeform 533">
                <a:extLst>
                  <a:ext uri="{FF2B5EF4-FFF2-40B4-BE49-F238E27FC236}">
                    <a16:creationId xmlns:a16="http://schemas.microsoft.com/office/drawing/2014/main" id="{18226327-EDAF-9801-355C-5A607CB61973}"/>
                  </a:ext>
                </a:extLst>
              </p:cNvPr>
              <p:cNvSpPr>
                <a:spLocks/>
              </p:cNvSpPr>
              <p:nvPr/>
            </p:nvSpPr>
            <p:spPr bwMode="auto">
              <a:xfrm>
                <a:off x="3880" y="3072"/>
                <a:ext cx="488" cy="300"/>
              </a:xfrm>
              <a:custGeom>
                <a:avLst/>
                <a:gdLst/>
                <a:ahLst/>
                <a:cxnLst>
                  <a:cxn ang="0">
                    <a:pos x="29" y="164"/>
                  </a:cxn>
                  <a:cxn ang="0">
                    <a:pos x="0" y="273"/>
                  </a:cxn>
                  <a:cxn ang="0">
                    <a:pos x="58" y="273"/>
                  </a:cxn>
                  <a:cxn ang="0">
                    <a:pos x="86" y="245"/>
                  </a:cxn>
                  <a:cxn ang="0">
                    <a:pos x="144" y="273"/>
                  </a:cxn>
                  <a:cxn ang="0">
                    <a:pos x="230" y="300"/>
                  </a:cxn>
                  <a:cxn ang="0">
                    <a:pos x="230" y="273"/>
                  </a:cxn>
                  <a:cxn ang="0">
                    <a:pos x="144" y="218"/>
                  </a:cxn>
                  <a:cxn ang="0">
                    <a:pos x="172" y="164"/>
                  </a:cxn>
                  <a:cxn ang="0">
                    <a:pos x="258" y="191"/>
                  </a:cxn>
                  <a:cxn ang="0">
                    <a:pos x="316" y="137"/>
                  </a:cxn>
                  <a:cxn ang="0">
                    <a:pos x="402" y="137"/>
                  </a:cxn>
                  <a:cxn ang="0">
                    <a:pos x="488" y="0"/>
                  </a:cxn>
                  <a:cxn ang="0">
                    <a:pos x="373" y="28"/>
                  </a:cxn>
                  <a:cxn ang="0">
                    <a:pos x="345" y="82"/>
                  </a:cxn>
                  <a:cxn ang="0">
                    <a:pos x="258" y="0"/>
                  </a:cxn>
                  <a:cxn ang="0">
                    <a:pos x="115" y="137"/>
                  </a:cxn>
                  <a:cxn ang="0">
                    <a:pos x="29" y="164"/>
                  </a:cxn>
                </a:cxnLst>
                <a:rect l="0" t="0" r="r" b="b"/>
                <a:pathLst>
                  <a:path w="488" h="300">
                    <a:moveTo>
                      <a:pt x="29" y="164"/>
                    </a:moveTo>
                    <a:lnTo>
                      <a:pt x="0" y="273"/>
                    </a:lnTo>
                    <a:lnTo>
                      <a:pt x="58" y="273"/>
                    </a:lnTo>
                    <a:lnTo>
                      <a:pt x="86" y="245"/>
                    </a:lnTo>
                    <a:lnTo>
                      <a:pt x="144" y="273"/>
                    </a:lnTo>
                    <a:lnTo>
                      <a:pt x="230" y="300"/>
                    </a:lnTo>
                    <a:lnTo>
                      <a:pt x="230" y="273"/>
                    </a:lnTo>
                    <a:lnTo>
                      <a:pt x="144" y="218"/>
                    </a:lnTo>
                    <a:lnTo>
                      <a:pt x="172" y="164"/>
                    </a:lnTo>
                    <a:lnTo>
                      <a:pt x="258" y="191"/>
                    </a:lnTo>
                    <a:lnTo>
                      <a:pt x="316" y="137"/>
                    </a:lnTo>
                    <a:lnTo>
                      <a:pt x="402" y="137"/>
                    </a:lnTo>
                    <a:lnTo>
                      <a:pt x="488" y="0"/>
                    </a:lnTo>
                    <a:lnTo>
                      <a:pt x="373" y="28"/>
                    </a:lnTo>
                    <a:lnTo>
                      <a:pt x="345" y="82"/>
                    </a:lnTo>
                    <a:lnTo>
                      <a:pt x="258" y="0"/>
                    </a:lnTo>
                    <a:lnTo>
                      <a:pt x="115" y="137"/>
                    </a:lnTo>
                    <a:lnTo>
                      <a:pt x="29" y="16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40" name="Group 537">
              <a:extLst>
                <a:ext uri="{FF2B5EF4-FFF2-40B4-BE49-F238E27FC236}">
                  <a16:creationId xmlns:a16="http://schemas.microsoft.com/office/drawing/2014/main" id="{50D796C2-6522-3C92-B906-E8AC93BBCD3E}"/>
                </a:ext>
              </a:extLst>
            </p:cNvPr>
            <p:cNvGrpSpPr>
              <a:grpSpLocks/>
            </p:cNvGrpSpPr>
            <p:nvPr/>
          </p:nvGrpSpPr>
          <p:grpSpPr bwMode="auto">
            <a:xfrm>
              <a:off x="3187257" y="4001016"/>
              <a:ext cx="625776" cy="460130"/>
              <a:chOff x="2338" y="2204"/>
              <a:chExt cx="544" cy="400"/>
            </a:xfrm>
            <a:solidFill>
              <a:schemeClr val="bg1">
                <a:lumMod val="85000"/>
              </a:schemeClr>
            </a:solidFill>
          </p:grpSpPr>
          <p:sp>
            <p:nvSpPr>
              <p:cNvPr id="624" name="Freeform 538">
                <a:extLst>
                  <a:ext uri="{FF2B5EF4-FFF2-40B4-BE49-F238E27FC236}">
                    <a16:creationId xmlns:a16="http://schemas.microsoft.com/office/drawing/2014/main" id="{4215649C-16E7-F19D-E753-0D2DC3725CEF}"/>
                  </a:ext>
                </a:extLst>
              </p:cNvPr>
              <p:cNvSpPr>
                <a:spLocks/>
              </p:cNvSpPr>
              <p:nvPr/>
            </p:nvSpPr>
            <p:spPr bwMode="auto">
              <a:xfrm>
                <a:off x="2338" y="2204"/>
                <a:ext cx="544" cy="400"/>
              </a:xfrm>
              <a:custGeom>
                <a:avLst/>
                <a:gdLst/>
                <a:ahLst/>
                <a:cxnLst>
                  <a:cxn ang="0">
                    <a:pos x="136" y="24"/>
                  </a:cxn>
                  <a:cxn ang="0">
                    <a:pos x="111" y="53"/>
                  </a:cxn>
                  <a:cxn ang="0">
                    <a:pos x="29" y="0"/>
                  </a:cxn>
                  <a:cxn ang="0">
                    <a:pos x="0" y="27"/>
                  </a:cxn>
                  <a:cxn ang="0">
                    <a:pos x="57" y="54"/>
                  </a:cxn>
                  <a:cxn ang="0">
                    <a:pos x="115" y="190"/>
                  </a:cxn>
                  <a:cxn ang="0">
                    <a:pos x="201" y="218"/>
                  </a:cxn>
                  <a:cxn ang="0">
                    <a:pos x="201" y="163"/>
                  </a:cxn>
                  <a:cxn ang="0">
                    <a:pos x="143" y="136"/>
                  </a:cxn>
                  <a:cxn ang="0">
                    <a:pos x="229" y="136"/>
                  </a:cxn>
                  <a:cxn ang="0">
                    <a:pos x="229" y="218"/>
                  </a:cxn>
                  <a:cxn ang="0">
                    <a:pos x="172" y="300"/>
                  </a:cxn>
                  <a:cxn ang="0">
                    <a:pos x="373" y="300"/>
                  </a:cxn>
                  <a:cxn ang="0">
                    <a:pos x="423" y="400"/>
                  </a:cxn>
                  <a:cxn ang="0">
                    <a:pos x="430" y="354"/>
                  </a:cxn>
                  <a:cxn ang="0">
                    <a:pos x="487" y="245"/>
                  </a:cxn>
                  <a:cxn ang="0">
                    <a:pos x="544" y="27"/>
                  </a:cxn>
                  <a:cxn ang="0">
                    <a:pos x="143" y="27"/>
                  </a:cxn>
                  <a:cxn ang="0">
                    <a:pos x="136" y="24"/>
                  </a:cxn>
                </a:cxnLst>
                <a:rect l="0" t="0" r="r" b="b"/>
                <a:pathLst>
                  <a:path w="544" h="400">
                    <a:moveTo>
                      <a:pt x="136" y="24"/>
                    </a:moveTo>
                    <a:lnTo>
                      <a:pt x="111" y="53"/>
                    </a:lnTo>
                    <a:lnTo>
                      <a:pt x="29" y="0"/>
                    </a:lnTo>
                    <a:lnTo>
                      <a:pt x="0" y="27"/>
                    </a:lnTo>
                    <a:lnTo>
                      <a:pt x="57" y="54"/>
                    </a:lnTo>
                    <a:lnTo>
                      <a:pt x="115" y="190"/>
                    </a:lnTo>
                    <a:lnTo>
                      <a:pt x="201" y="218"/>
                    </a:lnTo>
                    <a:lnTo>
                      <a:pt x="201" y="163"/>
                    </a:lnTo>
                    <a:lnTo>
                      <a:pt x="143" y="136"/>
                    </a:lnTo>
                    <a:lnTo>
                      <a:pt x="229" y="136"/>
                    </a:lnTo>
                    <a:lnTo>
                      <a:pt x="229" y="218"/>
                    </a:lnTo>
                    <a:lnTo>
                      <a:pt x="172" y="300"/>
                    </a:lnTo>
                    <a:lnTo>
                      <a:pt x="373" y="300"/>
                    </a:lnTo>
                    <a:lnTo>
                      <a:pt x="423" y="400"/>
                    </a:lnTo>
                    <a:lnTo>
                      <a:pt x="430" y="354"/>
                    </a:lnTo>
                    <a:lnTo>
                      <a:pt x="487" y="245"/>
                    </a:lnTo>
                    <a:lnTo>
                      <a:pt x="544" y="27"/>
                    </a:lnTo>
                    <a:lnTo>
                      <a:pt x="143" y="27"/>
                    </a:lnTo>
                    <a:lnTo>
                      <a:pt x="136" y="2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625" name="Freeform 539">
                <a:extLst>
                  <a:ext uri="{FF2B5EF4-FFF2-40B4-BE49-F238E27FC236}">
                    <a16:creationId xmlns:a16="http://schemas.microsoft.com/office/drawing/2014/main" id="{1D546F5C-5F89-815F-BB86-1DFF346CE2D7}"/>
                  </a:ext>
                </a:extLst>
              </p:cNvPr>
              <p:cNvSpPr>
                <a:spLocks/>
              </p:cNvSpPr>
              <p:nvPr/>
            </p:nvSpPr>
            <p:spPr bwMode="auto">
              <a:xfrm>
                <a:off x="2338" y="2204"/>
                <a:ext cx="544" cy="400"/>
              </a:xfrm>
              <a:custGeom>
                <a:avLst/>
                <a:gdLst/>
                <a:ahLst/>
                <a:cxnLst>
                  <a:cxn ang="0">
                    <a:pos x="136" y="24"/>
                  </a:cxn>
                  <a:cxn ang="0">
                    <a:pos x="111" y="53"/>
                  </a:cxn>
                  <a:cxn ang="0">
                    <a:pos x="29" y="0"/>
                  </a:cxn>
                  <a:cxn ang="0">
                    <a:pos x="0" y="27"/>
                  </a:cxn>
                  <a:cxn ang="0">
                    <a:pos x="57" y="54"/>
                  </a:cxn>
                  <a:cxn ang="0">
                    <a:pos x="115" y="190"/>
                  </a:cxn>
                  <a:cxn ang="0">
                    <a:pos x="201" y="218"/>
                  </a:cxn>
                  <a:cxn ang="0">
                    <a:pos x="201" y="163"/>
                  </a:cxn>
                  <a:cxn ang="0">
                    <a:pos x="143" y="136"/>
                  </a:cxn>
                  <a:cxn ang="0">
                    <a:pos x="229" y="136"/>
                  </a:cxn>
                  <a:cxn ang="0">
                    <a:pos x="229" y="218"/>
                  </a:cxn>
                  <a:cxn ang="0">
                    <a:pos x="172" y="300"/>
                  </a:cxn>
                  <a:cxn ang="0">
                    <a:pos x="373" y="300"/>
                  </a:cxn>
                  <a:cxn ang="0">
                    <a:pos x="423" y="400"/>
                  </a:cxn>
                  <a:cxn ang="0">
                    <a:pos x="430" y="354"/>
                  </a:cxn>
                  <a:cxn ang="0">
                    <a:pos x="487" y="245"/>
                  </a:cxn>
                  <a:cxn ang="0">
                    <a:pos x="544" y="27"/>
                  </a:cxn>
                  <a:cxn ang="0">
                    <a:pos x="143" y="27"/>
                  </a:cxn>
                </a:cxnLst>
                <a:rect l="0" t="0" r="r" b="b"/>
                <a:pathLst>
                  <a:path w="544" h="400">
                    <a:moveTo>
                      <a:pt x="136" y="24"/>
                    </a:moveTo>
                    <a:lnTo>
                      <a:pt x="111" y="53"/>
                    </a:lnTo>
                    <a:lnTo>
                      <a:pt x="29" y="0"/>
                    </a:lnTo>
                    <a:lnTo>
                      <a:pt x="0" y="27"/>
                    </a:lnTo>
                    <a:lnTo>
                      <a:pt x="57" y="54"/>
                    </a:lnTo>
                    <a:lnTo>
                      <a:pt x="115" y="190"/>
                    </a:lnTo>
                    <a:lnTo>
                      <a:pt x="201" y="218"/>
                    </a:lnTo>
                    <a:lnTo>
                      <a:pt x="201" y="163"/>
                    </a:lnTo>
                    <a:lnTo>
                      <a:pt x="143" y="136"/>
                    </a:lnTo>
                    <a:lnTo>
                      <a:pt x="229" y="136"/>
                    </a:lnTo>
                    <a:lnTo>
                      <a:pt x="229" y="218"/>
                    </a:lnTo>
                    <a:lnTo>
                      <a:pt x="172" y="300"/>
                    </a:lnTo>
                    <a:lnTo>
                      <a:pt x="373" y="300"/>
                    </a:lnTo>
                    <a:lnTo>
                      <a:pt x="423" y="400"/>
                    </a:lnTo>
                    <a:lnTo>
                      <a:pt x="430" y="354"/>
                    </a:lnTo>
                    <a:lnTo>
                      <a:pt x="487" y="245"/>
                    </a:lnTo>
                    <a:lnTo>
                      <a:pt x="544" y="27"/>
                    </a:lnTo>
                    <a:lnTo>
                      <a:pt x="143" y="27"/>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grpSp>
        <p:grpSp>
          <p:nvGrpSpPr>
            <p:cNvPr id="141" name="Group 3">
              <a:extLst>
                <a:ext uri="{FF2B5EF4-FFF2-40B4-BE49-F238E27FC236}">
                  <a16:creationId xmlns:a16="http://schemas.microsoft.com/office/drawing/2014/main" id="{318A7D76-ADB0-5024-BA10-180158280E4B}"/>
                </a:ext>
              </a:extLst>
            </p:cNvPr>
            <p:cNvGrpSpPr>
              <a:grpSpLocks/>
            </p:cNvGrpSpPr>
            <p:nvPr/>
          </p:nvGrpSpPr>
          <p:grpSpPr bwMode="auto">
            <a:xfrm>
              <a:off x="640737" y="1633911"/>
              <a:ext cx="659136" cy="967423"/>
              <a:chOff x="152" y="196"/>
              <a:chExt cx="573" cy="841"/>
            </a:xfrm>
            <a:solidFill>
              <a:schemeClr val="bg1">
                <a:lumMod val="85000"/>
              </a:schemeClr>
            </a:solidFill>
          </p:grpSpPr>
          <p:sp>
            <p:nvSpPr>
              <p:cNvPr id="622" name="Freeform 4">
                <a:extLst>
                  <a:ext uri="{FF2B5EF4-FFF2-40B4-BE49-F238E27FC236}">
                    <a16:creationId xmlns:a16="http://schemas.microsoft.com/office/drawing/2014/main" id="{AEF86B00-E5BA-02F5-9C4D-E942930B45E5}"/>
                  </a:ext>
                </a:extLst>
              </p:cNvPr>
              <p:cNvSpPr>
                <a:spLocks/>
              </p:cNvSpPr>
              <p:nvPr/>
            </p:nvSpPr>
            <p:spPr bwMode="auto">
              <a:xfrm>
                <a:off x="152" y="196"/>
                <a:ext cx="573" cy="841"/>
              </a:xfrm>
              <a:custGeom>
                <a:avLst/>
                <a:gdLst/>
                <a:ahLst/>
                <a:cxnLst>
                  <a:cxn ang="0">
                    <a:pos x="29" y="0"/>
                  </a:cxn>
                  <a:cxn ang="0">
                    <a:pos x="229" y="0"/>
                  </a:cxn>
                  <a:cxn ang="0">
                    <a:pos x="257" y="299"/>
                  </a:cxn>
                  <a:cxn ang="0">
                    <a:pos x="314" y="542"/>
                  </a:cxn>
                  <a:cxn ang="0">
                    <a:pos x="400" y="678"/>
                  </a:cxn>
                  <a:cxn ang="0">
                    <a:pos x="573" y="814"/>
                  </a:cxn>
                  <a:cxn ang="0">
                    <a:pos x="429" y="814"/>
                  </a:cxn>
                  <a:cxn ang="0">
                    <a:pos x="372" y="733"/>
                  </a:cxn>
                  <a:cxn ang="0">
                    <a:pos x="229" y="705"/>
                  </a:cxn>
                  <a:cxn ang="0">
                    <a:pos x="114" y="841"/>
                  </a:cxn>
                  <a:cxn ang="0">
                    <a:pos x="0" y="841"/>
                  </a:cxn>
                  <a:cxn ang="0">
                    <a:pos x="29" y="0"/>
                  </a:cxn>
                </a:cxnLst>
                <a:rect l="0" t="0" r="r" b="b"/>
                <a:pathLst>
                  <a:path w="573" h="841">
                    <a:moveTo>
                      <a:pt x="29" y="0"/>
                    </a:moveTo>
                    <a:lnTo>
                      <a:pt x="229" y="0"/>
                    </a:lnTo>
                    <a:lnTo>
                      <a:pt x="257" y="299"/>
                    </a:lnTo>
                    <a:lnTo>
                      <a:pt x="314" y="542"/>
                    </a:lnTo>
                    <a:lnTo>
                      <a:pt x="400" y="678"/>
                    </a:lnTo>
                    <a:lnTo>
                      <a:pt x="573" y="814"/>
                    </a:lnTo>
                    <a:lnTo>
                      <a:pt x="429" y="814"/>
                    </a:lnTo>
                    <a:lnTo>
                      <a:pt x="372" y="733"/>
                    </a:lnTo>
                    <a:lnTo>
                      <a:pt x="229" y="705"/>
                    </a:lnTo>
                    <a:lnTo>
                      <a:pt x="114" y="841"/>
                    </a:lnTo>
                    <a:lnTo>
                      <a:pt x="0" y="841"/>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23" name="Freeform 5">
                <a:extLst>
                  <a:ext uri="{FF2B5EF4-FFF2-40B4-BE49-F238E27FC236}">
                    <a16:creationId xmlns:a16="http://schemas.microsoft.com/office/drawing/2014/main" id="{834DAA5A-3D80-FE27-AA22-BAA106004FA4}"/>
                  </a:ext>
                </a:extLst>
              </p:cNvPr>
              <p:cNvSpPr>
                <a:spLocks/>
              </p:cNvSpPr>
              <p:nvPr/>
            </p:nvSpPr>
            <p:spPr bwMode="auto">
              <a:xfrm>
                <a:off x="152" y="196"/>
                <a:ext cx="573" cy="841"/>
              </a:xfrm>
              <a:custGeom>
                <a:avLst/>
                <a:gdLst/>
                <a:ahLst/>
                <a:cxnLst>
                  <a:cxn ang="0">
                    <a:pos x="29" y="0"/>
                  </a:cxn>
                  <a:cxn ang="0">
                    <a:pos x="229" y="0"/>
                  </a:cxn>
                  <a:cxn ang="0">
                    <a:pos x="257" y="299"/>
                  </a:cxn>
                  <a:cxn ang="0">
                    <a:pos x="314" y="542"/>
                  </a:cxn>
                  <a:cxn ang="0">
                    <a:pos x="400" y="678"/>
                  </a:cxn>
                  <a:cxn ang="0">
                    <a:pos x="573" y="814"/>
                  </a:cxn>
                  <a:cxn ang="0">
                    <a:pos x="429" y="814"/>
                  </a:cxn>
                  <a:cxn ang="0">
                    <a:pos x="372" y="733"/>
                  </a:cxn>
                  <a:cxn ang="0">
                    <a:pos x="229" y="705"/>
                  </a:cxn>
                  <a:cxn ang="0">
                    <a:pos x="114" y="841"/>
                  </a:cxn>
                  <a:cxn ang="0">
                    <a:pos x="0" y="841"/>
                  </a:cxn>
                  <a:cxn ang="0">
                    <a:pos x="29" y="0"/>
                  </a:cxn>
                </a:cxnLst>
                <a:rect l="0" t="0" r="r" b="b"/>
                <a:pathLst>
                  <a:path w="573" h="841">
                    <a:moveTo>
                      <a:pt x="29" y="0"/>
                    </a:moveTo>
                    <a:lnTo>
                      <a:pt x="229" y="0"/>
                    </a:lnTo>
                    <a:lnTo>
                      <a:pt x="257" y="299"/>
                    </a:lnTo>
                    <a:lnTo>
                      <a:pt x="314" y="542"/>
                    </a:lnTo>
                    <a:lnTo>
                      <a:pt x="400" y="678"/>
                    </a:lnTo>
                    <a:lnTo>
                      <a:pt x="573" y="814"/>
                    </a:lnTo>
                    <a:lnTo>
                      <a:pt x="429" y="814"/>
                    </a:lnTo>
                    <a:lnTo>
                      <a:pt x="372" y="733"/>
                    </a:lnTo>
                    <a:lnTo>
                      <a:pt x="229" y="705"/>
                    </a:lnTo>
                    <a:lnTo>
                      <a:pt x="114" y="841"/>
                    </a:lnTo>
                    <a:lnTo>
                      <a:pt x="0" y="841"/>
                    </a:lnTo>
                    <a:lnTo>
                      <a:pt x="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42" name="Group 6">
              <a:extLst>
                <a:ext uri="{FF2B5EF4-FFF2-40B4-BE49-F238E27FC236}">
                  <a16:creationId xmlns:a16="http://schemas.microsoft.com/office/drawing/2014/main" id="{EA374452-0220-FD85-1F68-479DFE128B89}"/>
                </a:ext>
              </a:extLst>
            </p:cNvPr>
            <p:cNvGrpSpPr>
              <a:grpSpLocks/>
            </p:cNvGrpSpPr>
            <p:nvPr/>
          </p:nvGrpSpPr>
          <p:grpSpPr bwMode="auto">
            <a:xfrm>
              <a:off x="903010" y="1633909"/>
              <a:ext cx="462431" cy="936364"/>
              <a:chOff x="380" y="196"/>
              <a:chExt cx="402" cy="814"/>
            </a:xfrm>
            <a:solidFill>
              <a:schemeClr val="bg1">
                <a:lumMod val="85000"/>
              </a:schemeClr>
            </a:solidFill>
          </p:grpSpPr>
          <p:sp>
            <p:nvSpPr>
              <p:cNvPr id="620" name="Freeform 7">
                <a:extLst>
                  <a:ext uri="{FF2B5EF4-FFF2-40B4-BE49-F238E27FC236}">
                    <a16:creationId xmlns:a16="http://schemas.microsoft.com/office/drawing/2014/main" id="{EA3D7ADB-C193-2ECD-5C56-43C67B8D7C0D}"/>
                  </a:ext>
                </a:extLst>
              </p:cNvPr>
              <p:cNvSpPr>
                <a:spLocks/>
              </p:cNvSpPr>
              <p:nvPr/>
            </p:nvSpPr>
            <p:spPr bwMode="auto">
              <a:xfrm>
                <a:off x="380" y="196"/>
                <a:ext cx="402" cy="814"/>
              </a:xfrm>
              <a:custGeom>
                <a:avLst/>
                <a:gdLst/>
                <a:ahLst/>
                <a:cxnLst>
                  <a:cxn ang="0">
                    <a:pos x="0" y="0"/>
                  </a:cxn>
                  <a:cxn ang="0">
                    <a:pos x="29" y="299"/>
                  </a:cxn>
                  <a:cxn ang="0">
                    <a:pos x="86" y="542"/>
                  </a:cxn>
                  <a:cxn ang="0">
                    <a:pos x="172" y="678"/>
                  </a:cxn>
                  <a:cxn ang="0">
                    <a:pos x="345" y="814"/>
                  </a:cxn>
                  <a:cxn ang="0">
                    <a:pos x="373" y="814"/>
                  </a:cxn>
                  <a:cxn ang="0">
                    <a:pos x="373" y="678"/>
                  </a:cxn>
                  <a:cxn ang="0">
                    <a:pos x="402" y="651"/>
                  </a:cxn>
                  <a:cxn ang="0">
                    <a:pos x="345" y="651"/>
                  </a:cxn>
                  <a:cxn ang="0">
                    <a:pos x="345" y="272"/>
                  </a:cxn>
                  <a:cxn ang="0">
                    <a:pos x="316" y="272"/>
                  </a:cxn>
                  <a:cxn ang="0">
                    <a:pos x="345" y="190"/>
                  </a:cxn>
                  <a:cxn ang="0">
                    <a:pos x="287" y="54"/>
                  </a:cxn>
                  <a:cxn ang="0">
                    <a:pos x="316" y="0"/>
                  </a:cxn>
                  <a:cxn ang="0">
                    <a:pos x="0" y="0"/>
                  </a:cxn>
                </a:cxnLst>
                <a:rect l="0" t="0" r="r" b="b"/>
                <a:pathLst>
                  <a:path w="402" h="814">
                    <a:moveTo>
                      <a:pt x="0" y="0"/>
                    </a:moveTo>
                    <a:lnTo>
                      <a:pt x="29" y="299"/>
                    </a:lnTo>
                    <a:lnTo>
                      <a:pt x="86" y="542"/>
                    </a:lnTo>
                    <a:lnTo>
                      <a:pt x="172" y="678"/>
                    </a:lnTo>
                    <a:lnTo>
                      <a:pt x="345" y="814"/>
                    </a:lnTo>
                    <a:lnTo>
                      <a:pt x="373" y="814"/>
                    </a:lnTo>
                    <a:lnTo>
                      <a:pt x="373" y="678"/>
                    </a:lnTo>
                    <a:lnTo>
                      <a:pt x="402" y="651"/>
                    </a:lnTo>
                    <a:lnTo>
                      <a:pt x="345" y="651"/>
                    </a:lnTo>
                    <a:lnTo>
                      <a:pt x="345" y="272"/>
                    </a:lnTo>
                    <a:lnTo>
                      <a:pt x="316" y="272"/>
                    </a:lnTo>
                    <a:lnTo>
                      <a:pt x="345" y="190"/>
                    </a:lnTo>
                    <a:lnTo>
                      <a:pt x="287" y="54"/>
                    </a:lnTo>
                    <a:lnTo>
                      <a:pt x="316"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21" name="Freeform 8">
                <a:extLst>
                  <a:ext uri="{FF2B5EF4-FFF2-40B4-BE49-F238E27FC236}">
                    <a16:creationId xmlns:a16="http://schemas.microsoft.com/office/drawing/2014/main" id="{FDE5AB39-0192-504B-BC04-D740D16E68B2}"/>
                  </a:ext>
                </a:extLst>
              </p:cNvPr>
              <p:cNvSpPr>
                <a:spLocks/>
              </p:cNvSpPr>
              <p:nvPr/>
            </p:nvSpPr>
            <p:spPr bwMode="auto">
              <a:xfrm>
                <a:off x="380" y="196"/>
                <a:ext cx="402" cy="814"/>
              </a:xfrm>
              <a:custGeom>
                <a:avLst/>
                <a:gdLst/>
                <a:ahLst/>
                <a:cxnLst>
                  <a:cxn ang="0">
                    <a:pos x="0" y="0"/>
                  </a:cxn>
                  <a:cxn ang="0">
                    <a:pos x="29" y="299"/>
                  </a:cxn>
                  <a:cxn ang="0">
                    <a:pos x="86" y="542"/>
                  </a:cxn>
                  <a:cxn ang="0">
                    <a:pos x="172" y="678"/>
                  </a:cxn>
                  <a:cxn ang="0">
                    <a:pos x="345" y="814"/>
                  </a:cxn>
                  <a:cxn ang="0">
                    <a:pos x="373" y="814"/>
                  </a:cxn>
                  <a:cxn ang="0">
                    <a:pos x="373" y="678"/>
                  </a:cxn>
                  <a:cxn ang="0">
                    <a:pos x="402" y="651"/>
                  </a:cxn>
                  <a:cxn ang="0">
                    <a:pos x="345" y="651"/>
                  </a:cxn>
                  <a:cxn ang="0">
                    <a:pos x="345" y="272"/>
                  </a:cxn>
                  <a:cxn ang="0">
                    <a:pos x="316" y="272"/>
                  </a:cxn>
                  <a:cxn ang="0">
                    <a:pos x="345" y="190"/>
                  </a:cxn>
                  <a:cxn ang="0">
                    <a:pos x="287" y="54"/>
                  </a:cxn>
                  <a:cxn ang="0">
                    <a:pos x="316" y="0"/>
                  </a:cxn>
                  <a:cxn ang="0">
                    <a:pos x="0" y="0"/>
                  </a:cxn>
                </a:cxnLst>
                <a:rect l="0" t="0" r="r" b="b"/>
                <a:pathLst>
                  <a:path w="402" h="814">
                    <a:moveTo>
                      <a:pt x="0" y="0"/>
                    </a:moveTo>
                    <a:lnTo>
                      <a:pt x="29" y="299"/>
                    </a:lnTo>
                    <a:lnTo>
                      <a:pt x="86" y="542"/>
                    </a:lnTo>
                    <a:lnTo>
                      <a:pt x="172" y="678"/>
                    </a:lnTo>
                    <a:lnTo>
                      <a:pt x="345" y="814"/>
                    </a:lnTo>
                    <a:lnTo>
                      <a:pt x="373" y="814"/>
                    </a:lnTo>
                    <a:lnTo>
                      <a:pt x="373" y="678"/>
                    </a:lnTo>
                    <a:lnTo>
                      <a:pt x="402" y="651"/>
                    </a:lnTo>
                    <a:lnTo>
                      <a:pt x="345" y="651"/>
                    </a:lnTo>
                    <a:lnTo>
                      <a:pt x="345" y="272"/>
                    </a:lnTo>
                    <a:lnTo>
                      <a:pt x="316" y="272"/>
                    </a:lnTo>
                    <a:lnTo>
                      <a:pt x="345" y="190"/>
                    </a:lnTo>
                    <a:lnTo>
                      <a:pt x="287" y="54"/>
                    </a:lnTo>
                    <a:lnTo>
                      <a:pt x="316"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43" name="Group 9">
              <a:extLst>
                <a:ext uri="{FF2B5EF4-FFF2-40B4-BE49-F238E27FC236}">
                  <a16:creationId xmlns:a16="http://schemas.microsoft.com/office/drawing/2014/main" id="{1C4CCC9B-8E4E-8374-2EE7-961FB912B280}"/>
                </a:ext>
              </a:extLst>
            </p:cNvPr>
            <p:cNvGrpSpPr>
              <a:grpSpLocks/>
            </p:cNvGrpSpPr>
            <p:nvPr/>
          </p:nvGrpSpPr>
          <p:grpSpPr bwMode="auto">
            <a:xfrm>
              <a:off x="1233154" y="1633911"/>
              <a:ext cx="396861" cy="750012"/>
              <a:chOff x="667" y="196"/>
              <a:chExt cx="345" cy="652"/>
            </a:xfrm>
            <a:solidFill>
              <a:schemeClr val="bg1">
                <a:lumMod val="85000"/>
              </a:schemeClr>
            </a:solidFill>
          </p:grpSpPr>
          <p:sp>
            <p:nvSpPr>
              <p:cNvPr id="618" name="Freeform 10">
                <a:extLst>
                  <a:ext uri="{FF2B5EF4-FFF2-40B4-BE49-F238E27FC236}">
                    <a16:creationId xmlns:a16="http://schemas.microsoft.com/office/drawing/2014/main" id="{D549F55A-6344-571C-42F1-3BE85110277C}"/>
                  </a:ext>
                </a:extLst>
              </p:cNvPr>
              <p:cNvSpPr>
                <a:spLocks/>
              </p:cNvSpPr>
              <p:nvPr/>
            </p:nvSpPr>
            <p:spPr bwMode="auto">
              <a:xfrm>
                <a:off x="667" y="196"/>
                <a:ext cx="345" cy="652"/>
              </a:xfrm>
              <a:custGeom>
                <a:avLst/>
                <a:gdLst/>
                <a:ahLst/>
                <a:cxnLst>
                  <a:cxn ang="0">
                    <a:pos x="29" y="0"/>
                  </a:cxn>
                  <a:cxn ang="0">
                    <a:pos x="0" y="54"/>
                  </a:cxn>
                  <a:cxn ang="0">
                    <a:pos x="58" y="190"/>
                  </a:cxn>
                  <a:cxn ang="0">
                    <a:pos x="29" y="272"/>
                  </a:cxn>
                  <a:cxn ang="0">
                    <a:pos x="58" y="272"/>
                  </a:cxn>
                  <a:cxn ang="0">
                    <a:pos x="58" y="652"/>
                  </a:cxn>
                  <a:cxn ang="0">
                    <a:pos x="259" y="652"/>
                  </a:cxn>
                  <a:cxn ang="0">
                    <a:pos x="259" y="597"/>
                  </a:cxn>
                  <a:cxn ang="0">
                    <a:pos x="345" y="597"/>
                  </a:cxn>
                  <a:cxn ang="0">
                    <a:pos x="316" y="461"/>
                  </a:cxn>
                  <a:cxn ang="0">
                    <a:pos x="316" y="326"/>
                  </a:cxn>
                  <a:cxn ang="0">
                    <a:pos x="259" y="326"/>
                  </a:cxn>
                  <a:cxn ang="0">
                    <a:pos x="259" y="0"/>
                  </a:cxn>
                  <a:cxn ang="0">
                    <a:pos x="29" y="0"/>
                  </a:cxn>
                </a:cxnLst>
                <a:rect l="0" t="0" r="r" b="b"/>
                <a:pathLst>
                  <a:path w="345" h="652">
                    <a:moveTo>
                      <a:pt x="29" y="0"/>
                    </a:moveTo>
                    <a:lnTo>
                      <a:pt x="0" y="54"/>
                    </a:lnTo>
                    <a:lnTo>
                      <a:pt x="58" y="190"/>
                    </a:lnTo>
                    <a:lnTo>
                      <a:pt x="29" y="272"/>
                    </a:lnTo>
                    <a:lnTo>
                      <a:pt x="58" y="272"/>
                    </a:lnTo>
                    <a:lnTo>
                      <a:pt x="58" y="652"/>
                    </a:lnTo>
                    <a:lnTo>
                      <a:pt x="259" y="652"/>
                    </a:lnTo>
                    <a:lnTo>
                      <a:pt x="259" y="597"/>
                    </a:lnTo>
                    <a:lnTo>
                      <a:pt x="345" y="597"/>
                    </a:lnTo>
                    <a:lnTo>
                      <a:pt x="316" y="461"/>
                    </a:lnTo>
                    <a:lnTo>
                      <a:pt x="316" y="326"/>
                    </a:lnTo>
                    <a:lnTo>
                      <a:pt x="259" y="326"/>
                    </a:lnTo>
                    <a:lnTo>
                      <a:pt x="259" y="0"/>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19" name="Freeform 11">
                <a:extLst>
                  <a:ext uri="{FF2B5EF4-FFF2-40B4-BE49-F238E27FC236}">
                    <a16:creationId xmlns:a16="http://schemas.microsoft.com/office/drawing/2014/main" id="{80473795-1460-650C-8A55-B845F44B5147}"/>
                  </a:ext>
                </a:extLst>
              </p:cNvPr>
              <p:cNvSpPr>
                <a:spLocks/>
              </p:cNvSpPr>
              <p:nvPr/>
            </p:nvSpPr>
            <p:spPr bwMode="auto">
              <a:xfrm>
                <a:off x="667" y="196"/>
                <a:ext cx="345" cy="652"/>
              </a:xfrm>
              <a:custGeom>
                <a:avLst/>
                <a:gdLst/>
                <a:ahLst/>
                <a:cxnLst>
                  <a:cxn ang="0">
                    <a:pos x="29" y="0"/>
                  </a:cxn>
                  <a:cxn ang="0">
                    <a:pos x="0" y="54"/>
                  </a:cxn>
                  <a:cxn ang="0">
                    <a:pos x="58" y="190"/>
                  </a:cxn>
                  <a:cxn ang="0">
                    <a:pos x="29" y="272"/>
                  </a:cxn>
                  <a:cxn ang="0">
                    <a:pos x="58" y="272"/>
                  </a:cxn>
                  <a:cxn ang="0">
                    <a:pos x="58" y="652"/>
                  </a:cxn>
                  <a:cxn ang="0">
                    <a:pos x="259" y="652"/>
                  </a:cxn>
                  <a:cxn ang="0">
                    <a:pos x="259" y="597"/>
                  </a:cxn>
                  <a:cxn ang="0">
                    <a:pos x="345" y="597"/>
                  </a:cxn>
                  <a:cxn ang="0">
                    <a:pos x="316" y="461"/>
                  </a:cxn>
                  <a:cxn ang="0">
                    <a:pos x="316" y="326"/>
                  </a:cxn>
                  <a:cxn ang="0">
                    <a:pos x="259" y="326"/>
                  </a:cxn>
                  <a:cxn ang="0">
                    <a:pos x="259" y="0"/>
                  </a:cxn>
                  <a:cxn ang="0">
                    <a:pos x="29" y="0"/>
                  </a:cxn>
                </a:cxnLst>
                <a:rect l="0" t="0" r="r" b="b"/>
                <a:pathLst>
                  <a:path w="345" h="652">
                    <a:moveTo>
                      <a:pt x="29" y="0"/>
                    </a:moveTo>
                    <a:lnTo>
                      <a:pt x="0" y="54"/>
                    </a:lnTo>
                    <a:lnTo>
                      <a:pt x="58" y="190"/>
                    </a:lnTo>
                    <a:lnTo>
                      <a:pt x="29" y="272"/>
                    </a:lnTo>
                    <a:lnTo>
                      <a:pt x="58" y="272"/>
                    </a:lnTo>
                    <a:lnTo>
                      <a:pt x="58" y="652"/>
                    </a:lnTo>
                    <a:lnTo>
                      <a:pt x="259" y="652"/>
                    </a:lnTo>
                    <a:lnTo>
                      <a:pt x="259" y="597"/>
                    </a:lnTo>
                    <a:lnTo>
                      <a:pt x="345" y="597"/>
                    </a:lnTo>
                    <a:lnTo>
                      <a:pt x="316" y="461"/>
                    </a:lnTo>
                    <a:lnTo>
                      <a:pt x="316" y="326"/>
                    </a:lnTo>
                    <a:lnTo>
                      <a:pt x="259" y="326"/>
                    </a:lnTo>
                    <a:lnTo>
                      <a:pt x="259" y="0"/>
                    </a:lnTo>
                    <a:lnTo>
                      <a:pt x="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44" name="Group 12">
              <a:extLst>
                <a:ext uri="{FF2B5EF4-FFF2-40B4-BE49-F238E27FC236}">
                  <a16:creationId xmlns:a16="http://schemas.microsoft.com/office/drawing/2014/main" id="{DEF75408-F6B4-B2C8-451C-24372C3961E8}"/>
                </a:ext>
              </a:extLst>
            </p:cNvPr>
            <p:cNvGrpSpPr>
              <a:grpSpLocks/>
            </p:cNvGrpSpPr>
            <p:nvPr/>
          </p:nvGrpSpPr>
          <p:grpSpPr bwMode="auto">
            <a:xfrm>
              <a:off x="1532239" y="1633909"/>
              <a:ext cx="559058" cy="530300"/>
              <a:chOff x="927" y="196"/>
              <a:chExt cx="486" cy="461"/>
            </a:xfrm>
            <a:solidFill>
              <a:schemeClr val="bg1">
                <a:lumMod val="85000"/>
              </a:schemeClr>
            </a:solidFill>
          </p:grpSpPr>
          <p:sp>
            <p:nvSpPr>
              <p:cNvPr id="616" name="Freeform 13">
                <a:extLst>
                  <a:ext uri="{FF2B5EF4-FFF2-40B4-BE49-F238E27FC236}">
                    <a16:creationId xmlns:a16="http://schemas.microsoft.com/office/drawing/2014/main" id="{CAADE2A6-591A-67EA-2FB6-EDACA58776AE}"/>
                  </a:ext>
                </a:extLst>
              </p:cNvPr>
              <p:cNvSpPr>
                <a:spLocks/>
              </p:cNvSpPr>
              <p:nvPr/>
            </p:nvSpPr>
            <p:spPr bwMode="auto">
              <a:xfrm>
                <a:off x="927" y="196"/>
                <a:ext cx="486" cy="461"/>
              </a:xfrm>
              <a:custGeom>
                <a:avLst/>
                <a:gdLst/>
                <a:ahLst/>
                <a:cxnLst>
                  <a:cxn ang="0">
                    <a:pos x="0" y="0"/>
                  </a:cxn>
                  <a:cxn ang="0">
                    <a:pos x="0" y="326"/>
                  </a:cxn>
                  <a:cxn ang="0">
                    <a:pos x="57" y="326"/>
                  </a:cxn>
                  <a:cxn ang="0">
                    <a:pos x="57" y="461"/>
                  </a:cxn>
                  <a:cxn ang="0">
                    <a:pos x="343" y="461"/>
                  </a:cxn>
                  <a:cxn ang="0">
                    <a:pos x="343" y="379"/>
                  </a:cxn>
                  <a:cxn ang="0">
                    <a:pos x="371" y="326"/>
                  </a:cxn>
                  <a:cxn ang="0">
                    <a:pos x="371" y="272"/>
                  </a:cxn>
                  <a:cxn ang="0">
                    <a:pos x="486" y="272"/>
                  </a:cxn>
                  <a:cxn ang="0">
                    <a:pos x="486" y="0"/>
                  </a:cxn>
                  <a:cxn ang="0">
                    <a:pos x="0" y="0"/>
                  </a:cxn>
                </a:cxnLst>
                <a:rect l="0" t="0" r="r" b="b"/>
                <a:pathLst>
                  <a:path w="486" h="461">
                    <a:moveTo>
                      <a:pt x="0" y="0"/>
                    </a:moveTo>
                    <a:lnTo>
                      <a:pt x="0" y="326"/>
                    </a:lnTo>
                    <a:lnTo>
                      <a:pt x="57" y="326"/>
                    </a:lnTo>
                    <a:lnTo>
                      <a:pt x="57" y="461"/>
                    </a:lnTo>
                    <a:lnTo>
                      <a:pt x="343" y="461"/>
                    </a:lnTo>
                    <a:lnTo>
                      <a:pt x="343" y="379"/>
                    </a:lnTo>
                    <a:lnTo>
                      <a:pt x="371" y="326"/>
                    </a:lnTo>
                    <a:lnTo>
                      <a:pt x="371" y="272"/>
                    </a:lnTo>
                    <a:lnTo>
                      <a:pt x="486" y="272"/>
                    </a:lnTo>
                    <a:lnTo>
                      <a:pt x="486"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17" name="Freeform 14">
                <a:extLst>
                  <a:ext uri="{FF2B5EF4-FFF2-40B4-BE49-F238E27FC236}">
                    <a16:creationId xmlns:a16="http://schemas.microsoft.com/office/drawing/2014/main" id="{A9C680A8-F637-AA76-1089-7FCBCF397201}"/>
                  </a:ext>
                </a:extLst>
              </p:cNvPr>
              <p:cNvSpPr>
                <a:spLocks/>
              </p:cNvSpPr>
              <p:nvPr/>
            </p:nvSpPr>
            <p:spPr bwMode="auto">
              <a:xfrm>
                <a:off x="927" y="196"/>
                <a:ext cx="486" cy="461"/>
              </a:xfrm>
              <a:custGeom>
                <a:avLst/>
                <a:gdLst/>
                <a:ahLst/>
                <a:cxnLst>
                  <a:cxn ang="0">
                    <a:pos x="0" y="0"/>
                  </a:cxn>
                  <a:cxn ang="0">
                    <a:pos x="0" y="326"/>
                  </a:cxn>
                  <a:cxn ang="0">
                    <a:pos x="57" y="326"/>
                  </a:cxn>
                  <a:cxn ang="0">
                    <a:pos x="57" y="461"/>
                  </a:cxn>
                  <a:cxn ang="0">
                    <a:pos x="343" y="461"/>
                  </a:cxn>
                  <a:cxn ang="0">
                    <a:pos x="343" y="379"/>
                  </a:cxn>
                  <a:cxn ang="0">
                    <a:pos x="371" y="326"/>
                  </a:cxn>
                  <a:cxn ang="0">
                    <a:pos x="371" y="272"/>
                  </a:cxn>
                  <a:cxn ang="0">
                    <a:pos x="486" y="272"/>
                  </a:cxn>
                  <a:cxn ang="0">
                    <a:pos x="486" y="0"/>
                  </a:cxn>
                  <a:cxn ang="0">
                    <a:pos x="0" y="0"/>
                  </a:cxn>
                </a:cxnLst>
                <a:rect l="0" t="0" r="r" b="b"/>
                <a:pathLst>
                  <a:path w="486" h="461">
                    <a:moveTo>
                      <a:pt x="0" y="0"/>
                    </a:moveTo>
                    <a:lnTo>
                      <a:pt x="0" y="326"/>
                    </a:lnTo>
                    <a:lnTo>
                      <a:pt x="57" y="326"/>
                    </a:lnTo>
                    <a:lnTo>
                      <a:pt x="57" y="461"/>
                    </a:lnTo>
                    <a:lnTo>
                      <a:pt x="343" y="461"/>
                    </a:lnTo>
                    <a:lnTo>
                      <a:pt x="343" y="379"/>
                    </a:lnTo>
                    <a:lnTo>
                      <a:pt x="371" y="326"/>
                    </a:lnTo>
                    <a:lnTo>
                      <a:pt x="371" y="272"/>
                    </a:lnTo>
                    <a:lnTo>
                      <a:pt x="486" y="272"/>
                    </a:lnTo>
                    <a:lnTo>
                      <a:pt x="486"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45" name="Group 15">
              <a:extLst>
                <a:ext uri="{FF2B5EF4-FFF2-40B4-BE49-F238E27FC236}">
                  <a16:creationId xmlns:a16="http://schemas.microsoft.com/office/drawing/2014/main" id="{F64C3CF8-2A29-53B1-3FB8-61317AFE2FA7}"/>
                </a:ext>
              </a:extLst>
            </p:cNvPr>
            <p:cNvGrpSpPr>
              <a:grpSpLocks/>
            </p:cNvGrpSpPr>
            <p:nvPr/>
          </p:nvGrpSpPr>
          <p:grpSpPr bwMode="auto">
            <a:xfrm>
              <a:off x="2091295" y="1633909"/>
              <a:ext cx="691345" cy="530300"/>
              <a:chOff x="1413" y="196"/>
              <a:chExt cx="601" cy="461"/>
            </a:xfrm>
            <a:solidFill>
              <a:schemeClr val="bg1">
                <a:lumMod val="85000"/>
              </a:schemeClr>
            </a:solidFill>
          </p:grpSpPr>
          <p:sp>
            <p:nvSpPr>
              <p:cNvPr id="614" name="Freeform 16">
                <a:extLst>
                  <a:ext uri="{FF2B5EF4-FFF2-40B4-BE49-F238E27FC236}">
                    <a16:creationId xmlns:a16="http://schemas.microsoft.com/office/drawing/2014/main" id="{0FE36DF6-4451-ABDB-917D-44C66BBF4373}"/>
                  </a:ext>
                </a:extLst>
              </p:cNvPr>
              <p:cNvSpPr>
                <a:spLocks/>
              </p:cNvSpPr>
              <p:nvPr/>
            </p:nvSpPr>
            <p:spPr bwMode="auto">
              <a:xfrm>
                <a:off x="1413" y="196"/>
                <a:ext cx="601" cy="461"/>
              </a:xfrm>
              <a:custGeom>
                <a:avLst/>
                <a:gdLst/>
                <a:ahLst/>
                <a:cxnLst>
                  <a:cxn ang="0">
                    <a:pos x="0" y="0"/>
                  </a:cxn>
                  <a:cxn ang="0">
                    <a:pos x="0" y="272"/>
                  </a:cxn>
                  <a:cxn ang="0">
                    <a:pos x="57" y="272"/>
                  </a:cxn>
                  <a:cxn ang="0">
                    <a:pos x="172" y="326"/>
                  </a:cxn>
                  <a:cxn ang="0">
                    <a:pos x="172" y="379"/>
                  </a:cxn>
                  <a:cxn ang="0">
                    <a:pos x="287" y="379"/>
                  </a:cxn>
                  <a:cxn ang="0">
                    <a:pos x="287" y="461"/>
                  </a:cxn>
                  <a:cxn ang="0">
                    <a:pos x="401" y="461"/>
                  </a:cxn>
                  <a:cxn ang="0">
                    <a:pos x="601" y="326"/>
                  </a:cxn>
                  <a:cxn ang="0">
                    <a:pos x="601" y="190"/>
                  </a:cxn>
                  <a:cxn ang="0">
                    <a:pos x="572" y="136"/>
                  </a:cxn>
                  <a:cxn ang="0">
                    <a:pos x="601" y="0"/>
                  </a:cxn>
                  <a:cxn ang="0">
                    <a:pos x="0" y="0"/>
                  </a:cxn>
                </a:cxnLst>
                <a:rect l="0" t="0" r="r" b="b"/>
                <a:pathLst>
                  <a:path w="601" h="461">
                    <a:moveTo>
                      <a:pt x="0" y="0"/>
                    </a:moveTo>
                    <a:lnTo>
                      <a:pt x="0" y="272"/>
                    </a:lnTo>
                    <a:lnTo>
                      <a:pt x="57" y="272"/>
                    </a:lnTo>
                    <a:lnTo>
                      <a:pt x="172" y="326"/>
                    </a:lnTo>
                    <a:lnTo>
                      <a:pt x="172" y="379"/>
                    </a:lnTo>
                    <a:lnTo>
                      <a:pt x="287" y="379"/>
                    </a:lnTo>
                    <a:lnTo>
                      <a:pt x="287" y="461"/>
                    </a:lnTo>
                    <a:lnTo>
                      <a:pt x="401" y="461"/>
                    </a:lnTo>
                    <a:lnTo>
                      <a:pt x="601" y="326"/>
                    </a:lnTo>
                    <a:lnTo>
                      <a:pt x="601" y="190"/>
                    </a:lnTo>
                    <a:lnTo>
                      <a:pt x="572" y="136"/>
                    </a:lnTo>
                    <a:lnTo>
                      <a:pt x="601"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15" name="Freeform 17">
                <a:extLst>
                  <a:ext uri="{FF2B5EF4-FFF2-40B4-BE49-F238E27FC236}">
                    <a16:creationId xmlns:a16="http://schemas.microsoft.com/office/drawing/2014/main" id="{60952985-43E9-EAAB-DA7A-DEB9B7E54BCE}"/>
                  </a:ext>
                </a:extLst>
              </p:cNvPr>
              <p:cNvSpPr>
                <a:spLocks/>
              </p:cNvSpPr>
              <p:nvPr/>
            </p:nvSpPr>
            <p:spPr bwMode="auto">
              <a:xfrm>
                <a:off x="1413" y="196"/>
                <a:ext cx="601" cy="461"/>
              </a:xfrm>
              <a:custGeom>
                <a:avLst/>
                <a:gdLst/>
                <a:ahLst/>
                <a:cxnLst>
                  <a:cxn ang="0">
                    <a:pos x="0" y="0"/>
                  </a:cxn>
                  <a:cxn ang="0">
                    <a:pos x="0" y="272"/>
                  </a:cxn>
                  <a:cxn ang="0">
                    <a:pos x="57" y="272"/>
                  </a:cxn>
                  <a:cxn ang="0">
                    <a:pos x="172" y="326"/>
                  </a:cxn>
                  <a:cxn ang="0">
                    <a:pos x="172" y="379"/>
                  </a:cxn>
                  <a:cxn ang="0">
                    <a:pos x="287" y="379"/>
                  </a:cxn>
                  <a:cxn ang="0">
                    <a:pos x="287" y="461"/>
                  </a:cxn>
                  <a:cxn ang="0">
                    <a:pos x="401" y="461"/>
                  </a:cxn>
                  <a:cxn ang="0">
                    <a:pos x="601" y="326"/>
                  </a:cxn>
                  <a:cxn ang="0">
                    <a:pos x="601" y="190"/>
                  </a:cxn>
                  <a:cxn ang="0">
                    <a:pos x="572" y="136"/>
                  </a:cxn>
                  <a:cxn ang="0">
                    <a:pos x="601" y="0"/>
                  </a:cxn>
                  <a:cxn ang="0">
                    <a:pos x="0" y="0"/>
                  </a:cxn>
                </a:cxnLst>
                <a:rect l="0" t="0" r="r" b="b"/>
                <a:pathLst>
                  <a:path w="601" h="461">
                    <a:moveTo>
                      <a:pt x="0" y="0"/>
                    </a:moveTo>
                    <a:lnTo>
                      <a:pt x="0" y="272"/>
                    </a:lnTo>
                    <a:lnTo>
                      <a:pt x="57" y="272"/>
                    </a:lnTo>
                    <a:lnTo>
                      <a:pt x="172" y="326"/>
                    </a:lnTo>
                    <a:lnTo>
                      <a:pt x="172" y="379"/>
                    </a:lnTo>
                    <a:lnTo>
                      <a:pt x="287" y="379"/>
                    </a:lnTo>
                    <a:lnTo>
                      <a:pt x="287" y="461"/>
                    </a:lnTo>
                    <a:lnTo>
                      <a:pt x="401" y="461"/>
                    </a:lnTo>
                    <a:lnTo>
                      <a:pt x="601" y="326"/>
                    </a:lnTo>
                    <a:lnTo>
                      <a:pt x="601" y="190"/>
                    </a:lnTo>
                    <a:lnTo>
                      <a:pt x="572" y="136"/>
                    </a:lnTo>
                    <a:lnTo>
                      <a:pt x="601"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46" name="Group 18">
              <a:extLst>
                <a:ext uri="{FF2B5EF4-FFF2-40B4-BE49-F238E27FC236}">
                  <a16:creationId xmlns:a16="http://schemas.microsoft.com/office/drawing/2014/main" id="{BD61C789-8753-7A6B-A27B-1EEEBEC94244}"/>
                </a:ext>
              </a:extLst>
            </p:cNvPr>
            <p:cNvGrpSpPr>
              <a:grpSpLocks/>
            </p:cNvGrpSpPr>
            <p:nvPr/>
          </p:nvGrpSpPr>
          <p:grpSpPr bwMode="auto">
            <a:xfrm>
              <a:off x="2750430" y="1633908"/>
              <a:ext cx="692495" cy="591267"/>
              <a:chOff x="1986" y="196"/>
              <a:chExt cx="602" cy="514"/>
            </a:xfrm>
            <a:solidFill>
              <a:schemeClr val="bg1">
                <a:lumMod val="85000"/>
              </a:schemeClr>
            </a:solidFill>
          </p:grpSpPr>
          <p:sp>
            <p:nvSpPr>
              <p:cNvPr id="612" name="Freeform 19">
                <a:extLst>
                  <a:ext uri="{FF2B5EF4-FFF2-40B4-BE49-F238E27FC236}">
                    <a16:creationId xmlns:a16="http://schemas.microsoft.com/office/drawing/2014/main" id="{56FABF3C-1434-263E-A4D4-BC3B861D4E09}"/>
                  </a:ext>
                </a:extLst>
              </p:cNvPr>
              <p:cNvSpPr>
                <a:spLocks/>
              </p:cNvSpPr>
              <p:nvPr/>
            </p:nvSpPr>
            <p:spPr bwMode="auto">
              <a:xfrm>
                <a:off x="1986" y="196"/>
                <a:ext cx="602" cy="514"/>
              </a:xfrm>
              <a:custGeom>
                <a:avLst/>
                <a:gdLst/>
                <a:ahLst/>
                <a:cxnLst>
                  <a:cxn ang="0">
                    <a:pos x="29" y="0"/>
                  </a:cxn>
                  <a:cxn ang="0">
                    <a:pos x="0" y="136"/>
                  </a:cxn>
                  <a:cxn ang="0">
                    <a:pos x="29" y="190"/>
                  </a:cxn>
                  <a:cxn ang="0">
                    <a:pos x="29" y="326"/>
                  </a:cxn>
                  <a:cxn ang="0">
                    <a:pos x="57" y="352"/>
                  </a:cxn>
                  <a:cxn ang="0">
                    <a:pos x="115" y="352"/>
                  </a:cxn>
                  <a:cxn ang="0">
                    <a:pos x="143" y="379"/>
                  </a:cxn>
                  <a:cxn ang="0">
                    <a:pos x="172" y="514"/>
                  </a:cxn>
                  <a:cxn ang="0">
                    <a:pos x="402" y="406"/>
                  </a:cxn>
                  <a:cxn ang="0">
                    <a:pos x="430" y="352"/>
                  </a:cxn>
                  <a:cxn ang="0">
                    <a:pos x="488" y="136"/>
                  </a:cxn>
                  <a:cxn ang="0">
                    <a:pos x="602" y="0"/>
                  </a:cxn>
                  <a:cxn ang="0">
                    <a:pos x="29" y="0"/>
                  </a:cxn>
                </a:cxnLst>
                <a:rect l="0" t="0" r="r" b="b"/>
                <a:pathLst>
                  <a:path w="602" h="514">
                    <a:moveTo>
                      <a:pt x="29" y="0"/>
                    </a:moveTo>
                    <a:lnTo>
                      <a:pt x="0" y="136"/>
                    </a:lnTo>
                    <a:lnTo>
                      <a:pt x="29" y="190"/>
                    </a:lnTo>
                    <a:lnTo>
                      <a:pt x="29" y="326"/>
                    </a:lnTo>
                    <a:lnTo>
                      <a:pt x="57" y="352"/>
                    </a:lnTo>
                    <a:lnTo>
                      <a:pt x="115" y="352"/>
                    </a:lnTo>
                    <a:lnTo>
                      <a:pt x="143" y="379"/>
                    </a:lnTo>
                    <a:lnTo>
                      <a:pt x="172" y="514"/>
                    </a:lnTo>
                    <a:lnTo>
                      <a:pt x="402" y="406"/>
                    </a:lnTo>
                    <a:lnTo>
                      <a:pt x="430" y="352"/>
                    </a:lnTo>
                    <a:lnTo>
                      <a:pt x="488" y="136"/>
                    </a:lnTo>
                    <a:lnTo>
                      <a:pt x="602" y="0"/>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13" name="Freeform 20">
                <a:extLst>
                  <a:ext uri="{FF2B5EF4-FFF2-40B4-BE49-F238E27FC236}">
                    <a16:creationId xmlns:a16="http://schemas.microsoft.com/office/drawing/2014/main" id="{129502F9-BD17-7821-733C-60BD574ED46A}"/>
                  </a:ext>
                </a:extLst>
              </p:cNvPr>
              <p:cNvSpPr>
                <a:spLocks/>
              </p:cNvSpPr>
              <p:nvPr/>
            </p:nvSpPr>
            <p:spPr bwMode="auto">
              <a:xfrm>
                <a:off x="1986" y="196"/>
                <a:ext cx="602" cy="514"/>
              </a:xfrm>
              <a:custGeom>
                <a:avLst/>
                <a:gdLst/>
                <a:ahLst/>
                <a:cxnLst>
                  <a:cxn ang="0">
                    <a:pos x="29" y="0"/>
                  </a:cxn>
                  <a:cxn ang="0">
                    <a:pos x="0" y="136"/>
                  </a:cxn>
                  <a:cxn ang="0">
                    <a:pos x="29" y="190"/>
                  </a:cxn>
                  <a:cxn ang="0">
                    <a:pos x="29" y="326"/>
                  </a:cxn>
                  <a:cxn ang="0">
                    <a:pos x="57" y="352"/>
                  </a:cxn>
                  <a:cxn ang="0">
                    <a:pos x="115" y="352"/>
                  </a:cxn>
                  <a:cxn ang="0">
                    <a:pos x="143" y="379"/>
                  </a:cxn>
                  <a:cxn ang="0">
                    <a:pos x="172" y="514"/>
                  </a:cxn>
                  <a:cxn ang="0">
                    <a:pos x="402" y="406"/>
                  </a:cxn>
                  <a:cxn ang="0">
                    <a:pos x="430" y="352"/>
                  </a:cxn>
                  <a:cxn ang="0">
                    <a:pos x="488" y="136"/>
                  </a:cxn>
                  <a:cxn ang="0">
                    <a:pos x="602" y="0"/>
                  </a:cxn>
                  <a:cxn ang="0">
                    <a:pos x="29" y="0"/>
                  </a:cxn>
                </a:cxnLst>
                <a:rect l="0" t="0" r="r" b="b"/>
                <a:pathLst>
                  <a:path w="602" h="514">
                    <a:moveTo>
                      <a:pt x="29" y="0"/>
                    </a:moveTo>
                    <a:lnTo>
                      <a:pt x="0" y="136"/>
                    </a:lnTo>
                    <a:lnTo>
                      <a:pt x="29" y="190"/>
                    </a:lnTo>
                    <a:lnTo>
                      <a:pt x="29" y="326"/>
                    </a:lnTo>
                    <a:lnTo>
                      <a:pt x="57" y="352"/>
                    </a:lnTo>
                    <a:lnTo>
                      <a:pt x="115" y="352"/>
                    </a:lnTo>
                    <a:lnTo>
                      <a:pt x="143" y="379"/>
                    </a:lnTo>
                    <a:lnTo>
                      <a:pt x="172" y="514"/>
                    </a:lnTo>
                    <a:lnTo>
                      <a:pt x="402" y="406"/>
                    </a:lnTo>
                    <a:lnTo>
                      <a:pt x="430" y="352"/>
                    </a:lnTo>
                    <a:lnTo>
                      <a:pt x="488" y="136"/>
                    </a:lnTo>
                    <a:lnTo>
                      <a:pt x="602" y="0"/>
                    </a:lnTo>
                    <a:lnTo>
                      <a:pt x="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47" name="Group 21">
              <a:extLst>
                <a:ext uri="{FF2B5EF4-FFF2-40B4-BE49-F238E27FC236}">
                  <a16:creationId xmlns:a16="http://schemas.microsoft.com/office/drawing/2014/main" id="{0519632C-2175-15BE-A81E-BB88AA183303}"/>
                </a:ext>
              </a:extLst>
            </p:cNvPr>
            <p:cNvGrpSpPr>
              <a:grpSpLocks/>
            </p:cNvGrpSpPr>
            <p:nvPr/>
          </p:nvGrpSpPr>
          <p:grpSpPr bwMode="auto">
            <a:xfrm>
              <a:off x="3245071" y="1633909"/>
              <a:ext cx="364654" cy="530300"/>
              <a:chOff x="2416" y="196"/>
              <a:chExt cx="317" cy="461"/>
            </a:xfrm>
            <a:solidFill>
              <a:schemeClr val="bg1">
                <a:lumMod val="85000"/>
              </a:schemeClr>
            </a:solidFill>
          </p:grpSpPr>
          <p:sp>
            <p:nvSpPr>
              <p:cNvPr id="610" name="Freeform 22">
                <a:extLst>
                  <a:ext uri="{FF2B5EF4-FFF2-40B4-BE49-F238E27FC236}">
                    <a16:creationId xmlns:a16="http://schemas.microsoft.com/office/drawing/2014/main" id="{35E05512-7EBF-3F1E-C745-6FB009ECA43A}"/>
                  </a:ext>
                </a:extLst>
              </p:cNvPr>
              <p:cNvSpPr>
                <a:spLocks/>
              </p:cNvSpPr>
              <p:nvPr/>
            </p:nvSpPr>
            <p:spPr bwMode="auto">
              <a:xfrm>
                <a:off x="2416" y="196"/>
                <a:ext cx="317" cy="461"/>
              </a:xfrm>
              <a:custGeom>
                <a:avLst/>
                <a:gdLst/>
                <a:ahLst/>
                <a:cxnLst>
                  <a:cxn ang="0">
                    <a:pos x="173" y="0"/>
                  </a:cxn>
                  <a:cxn ang="0">
                    <a:pos x="58" y="136"/>
                  </a:cxn>
                  <a:cxn ang="0">
                    <a:pos x="0" y="352"/>
                  </a:cxn>
                  <a:cxn ang="0">
                    <a:pos x="29" y="352"/>
                  </a:cxn>
                  <a:cxn ang="0">
                    <a:pos x="29" y="434"/>
                  </a:cxn>
                  <a:cxn ang="0">
                    <a:pos x="173" y="461"/>
                  </a:cxn>
                  <a:cxn ang="0">
                    <a:pos x="230" y="272"/>
                  </a:cxn>
                  <a:cxn ang="0">
                    <a:pos x="288" y="82"/>
                  </a:cxn>
                  <a:cxn ang="0">
                    <a:pos x="317" y="0"/>
                  </a:cxn>
                  <a:cxn ang="0">
                    <a:pos x="173" y="0"/>
                  </a:cxn>
                </a:cxnLst>
                <a:rect l="0" t="0" r="r" b="b"/>
                <a:pathLst>
                  <a:path w="317" h="461">
                    <a:moveTo>
                      <a:pt x="173" y="0"/>
                    </a:moveTo>
                    <a:lnTo>
                      <a:pt x="58" y="136"/>
                    </a:lnTo>
                    <a:lnTo>
                      <a:pt x="0" y="352"/>
                    </a:lnTo>
                    <a:lnTo>
                      <a:pt x="29" y="352"/>
                    </a:lnTo>
                    <a:lnTo>
                      <a:pt x="29" y="434"/>
                    </a:lnTo>
                    <a:lnTo>
                      <a:pt x="173" y="461"/>
                    </a:lnTo>
                    <a:lnTo>
                      <a:pt x="230" y="272"/>
                    </a:lnTo>
                    <a:lnTo>
                      <a:pt x="288" y="82"/>
                    </a:lnTo>
                    <a:lnTo>
                      <a:pt x="317" y="0"/>
                    </a:lnTo>
                    <a:lnTo>
                      <a:pt x="173"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11" name="Freeform 23">
                <a:extLst>
                  <a:ext uri="{FF2B5EF4-FFF2-40B4-BE49-F238E27FC236}">
                    <a16:creationId xmlns:a16="http://schemas.microsoft.com/office/drawing/2014/main" id="{CF2F8E24-7601-A0D1-4B52-FEB400AC396F}"/>
                  </a:ext>
                </a:extLst>
              </p:cNvPr>
              <p:cNvSpPr>
                <a:spLocks/>
              </p:cNvSpPr>
              <p:nvPr/>
            </p:nvSpPr>
            <p:spPr bwMode="auto">
              <a:xfrm>
                <a:off x="2416" y="196"/>
                <a:ext cx="317" cy="461"/>
              </a:xfrm>
              <a:custGeom>
                <a:avLst/>
                <a:gdLst/>
                <a:ahLst/>
                <a:cxnLst>
                  <a:cxn ang="0">
                    <a:pos x="173" y="0"/>
                  </a:cxn>
                  <a:cxn ang="0">
                    <a:pos x="58" y="136"/>
                  </a:cxn>
                  <a:cxn ang="0">
                    <a:pos x="0" y="352"/>
                  </a:cxn>
                  <a:cxn ang="0">
                    <a:pos x="29" y="352"/>
                  </a:cxn>
                  <a:cxn ang="0">
                    <a:pos x="29" y="434"/>
                  </a:cxn>
                  <a:cxn ang="0">
                    <a:pos x="173" y="461"/>
                  </a:cxn>
                  <a:cxn ang="0">
                    <a:pos x="230" y="272"/>
                  </a:cxn>
                  <a:cxn ang="0">
                    <a:pos x="288" y="82"/>
                  </a:cxn>
                  <a:cxn ang="0">
                    <a:pos x="317" y="0"/>
                  </a:cxn>
                  <a:cxn ang="0">
                    <a:pos x="173" y="0"/>
                  </a:cxn>
                </a:cxnLst>
                <a:rect l="0" t="0" r="r" b="b"/>
                <a:pathLst>
                  <a:path w="317" h="461">
                    <a:moveTo>
                      <a:pt x="173" y="0"/>
                    </a:moveTo>
                    <a:lnTo>
                      <a:pt x="58" y="136"/>
                    </a:lnTo>
                    <a:lnTo>
                      <a:pt x="0" y="352"/>
                    </a:lnTo>
                    <a:lnTo>
                      <a:pt x="29" y="352"/>
                    </a:lnTo>
                    <a:lnTo>
                      <a:pt x="29" y="434"/>
                    </a:lnTo>
                    <a:lnTo>
                      <a:pt x="173" y="461"/>
                    </a:lnTo>
                    <a:lnTo>
                      <a:pt x="230" y="272"/>
                    </a:lnTo>
                    <a:lnTo>
                      <a:pt x="288" y="82"/>
                    </a:lnTo>
                    <a:lnTo>
                      <a:pt x="317" y="0"/>
                    </a:lnTo>
                    <a:lnTo>
                      <a:pt x="173"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48" name="Group 24">
              <a:extLst>
                <a:ext uri="{FF2B5EF4-FFF2-40B4-BE49-F238E27FC236}">
                  <a16:creationId xmlns:a16="http://schemas.microsoft.com/office/drawing/2014/main" id="{14799BCA-5EBB-E7F0-C713-1110BC422D85}"/>
                </a:ext>
              </a:extLst>
            </p:cNvPr>
            <p:cNvGrpSpPr>
              <a:grpSpLocks/>
            </p:cNvGrpSpPr>
            <p:nvPr/>
          </p:nvGrpSpPr>
          <p:grpSpPr bwMode="auto">
            <a:xfrm>
              <a:off x="3445226" y="1633910"/>
              <a:ext cx="427921" cy="561359"/>
              <a:chOff x="2590" y="196"/>
              <a:chExt cx="372" cy="488"/>
            </a:xfrm>
            <a:solidFill>
              <a:schemeClr val="bg1">
                <a:lumMod val="85000"/>
              </a:schemeClr>
            </a:solidFill>
          </p:grpSpPr>
          <p:sp>
            <p:nvSpPr>
              <p:cNvPr id="608" name="Freeform 25">
                <a:extLst>
                  <a:ext uri="{FF2B5EF4-FFF2-40B4-BE49-F238E27FC236}">
                    <a16:creationId xmlns:a16="http://schemas.microsoft.com/office/drawing/2014/main" id="{B0B9404A-7372-285C-BF60-F6DAB1E553F5}"/>
                  </a:ext>
                </a:extLst>
              </p:cNvPr>
              <p:cNvSpPr>
                <a:spLocks/>
              </p:cNvSpPr>
              <p:nvPr/>
            </p:nvSpPr>
            <p:spPr bwMode="auto">
              <a:xfrm>
                <a:off x="2590" y="196"/>
                <a:ext cx="372" cy="488"/>
              </a:xfrm>
              <a:custGeom>
                <a:avLst/>
                <a:gdLst/>
                <a:ahLst/>
                <a:cxnLst>
                  <a:cxn ang="0">
                    <a:pos x="143" y="0"/>
                  </a:cxn>
                  <a:cxn ang="0">
                    <a:pos x="115" y="82"/>
                  </a:cxn>
                  <a:cxn ang="0">
                    <a:pos x="57" y="272"/>
                  </a:cxn>
                  <a:cxn ang="0">
                    <a:pos x="0" y="461"/>
                  </a:cxn>
                  <a:cxn ang="0">
                    <a:pos x="0" y="488"/>
                  </a:cxn>
                  <a:cxn ang="0">
                    <a:pos x="315" y="488"/>
                  </a:cxn>
                  <a:cxn ang="0">
                    <a:pos x="372" y="379"/>
                  </a:cxn>
                  <a:cxn ang="0">
                    <a:pos x="257" y="407"/>
                  </a:cxn>
                  <a:cxn ang="0">
                    <a:pos x="344" y="299"/>
                  </a:cxn>
                  <a:cxn ang="0">
                    <a:pos x="228" y="272"/>
                  </a:cxn>
                  <a:cxn ang="0">
                    <a:pos x="315" y="163"/>
                  </a:cxn>
                  <a:cxn ang="0">
                    <a:pos x="315" y="54"/>
                  </a:cxn>
                  <a:cxn ang="0">
                    <a:pos x="257" y="27"/>
                  </a:cxn>
                  <a:cxn ang="0">
                    <a:pos x="228" y="109"/>
                  </a:cxn>
                  <a:cxn ang="0">
                    <a:pos x="201" y="54"/>
                  </a:cxn>
                  <a:cxn ang="0">
                    <a:pos x="228" y="0"/>
                  </a:cxn>
                  <a:cxn ang="0">
                    <a:pos x="143" y="0"/>
                  </a:cxn>
                </a:cxnLst>
                <a:rect l="0" t="0" r="r" b="b"/>
                <a:pathLst>
                  <a:path w="372" h="488">
                    <a:moveTo>
                      <a:pt x="143" y="0"/>
                    </a:moveTo>
                    <a:lnTo>
                      <a:pt x="115" y="82"/>
                    </a:lnTo>
                    <a:lnTo>
                      <a:pt x="57" y="272"/>
                    </a:lnTo>
                    <a:lnTo>
                      <a:pt x="0" y="461"/>
                    </a:lnTo>
                    <a:lnTo>
                      <a:pt x="0" y="488"/>
                    </a:lnTo>
                    <a:lnTo>
                      <a:pt x="315" y="488"/>
                    </a:lnTo>
                    <a:lnTo>
                      <a:pt x="372" y="379"/>
                    </a:lnTo>
                    <a:lnTo>
                      <a:pt x="257" y="407"/>
                    </a:lnTo>
                    <a:lnTo>
                      <a:pt x="344" y="299"/>
                    </a:lnTo>
                    <a:lnTo>
                      <a:pt x="228" y="272"/>
                    </a:lnTo>
                    <a:lnTo>
                      <a:pt x="315" y="163"/>
                    </a:lnTo>
                    <a:lnTo>
                      <a:pt x="315" y="54"/>
                    </a:lnTo>
                    <a:lnTo>
                      <a:pt x="257" y="27"/>
                    </a:lnTo>
                    <a:lnTo>
                      <a:pt x="228" y="109"/>
                    </a:lnTo>
                    <a:lnTo>
                      <a:pt x="201" y="54"/>
                    </a:lnTo>
                    <a:lnTo>
                      <a:pt x="228" y="0"/>
                    </a:lnTo>
                    <a:lnTo>
                      <a:pt x="143"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09" name="Freeform 26">
                <a:extLst>
                  <a:ext uri="{FF2B5EF4-FFF2-40B4-BE49-F238E27FC236}">
                    <a16:creationId xmlns:a16="http://schemas.microsoft.com/office/drawing/2014/main" id="{37BE5031-5AB7-A156-9AF0-9BFDB7F3282E}"/>
                  </a:ext>
                </a:extLst>
              </p:cNvPr>
              <p:cNvSpPr>
                <a:spLocks/>
              </p:cNvSpPr>
              <p:nvPr/>
            </p:nvSpPr>
            <p:spPr bwMode="auto">
              <a:xfrm>
                <a:off x="2590" y="196"/>
                <a:ext cx="372" cy="488"/>
              </a:xfrm>
              <a:custGeom>
                <a:avLst/>
                <a:gdLst/>
                <a:ahLst/>
                <a:cxnLst>
                  <a:cxn ang="0">
                    <a:pos x="143" y="0"/>
                  </a:cxn>
                  <a:cxn ang="0">
                    <a:pos x="115" y="82"/>
                  </a:cxn>
                  <a:cxn ang="0">
                    <a:pos x="57" y="272"/>
                  </a:cxn>
                  <a:cxn ang="0">
                    <a:pos x="0" y="461"/>
                  </a:cxn>
                  <a:cxn ang="0">
                    <a:pos x="0" y="488"/>
                  </a:cxn>
                  <a:cxn ang="0">
                    <a:pos x="315" y="488"/>
                  </a:cxn>
                  <a:cxn ang="0">
                    <a:pos x="372" y="379"/>
                  </a:cxn>
                  <a:cxn ang="0">
                    <a:pos x="257" y="407"/>
                  </a:cxn>
                  <a:cxn ang="0">
                    <a:pos x="344" y="299"/>
                  </a:cxn>
                  <a:cxn ang="0">
                    <a:pos x="228" y="272"/>
                  </a:cxn>
                  <a:cxn ang="0">
                    <a:pos x="315" y="163"/>
                  </a:cxn>
                  <a:cxn ang="0">
                    <a:pos x="315" y="54"/>
                  </a:cxn>
                  <a:cxn ang="0">
                    <a:pos x="257" y="27"/>
                  </a:cxn>
                  <a:cxn ang="0">
                    <a:pos x="228" y="109"/>
                  </a:cxn>
                  <a:cxn ang="0">
                    <a:pos x="201" y="54"/>
                  </a:cxn>
                  <a:cxn ang="0">
                    <a:pos x="228" y="0"/>
                  </a:cxn>
                  <a:cxn ang="0">
                    <a:pos x="143" y="0"/>
                  </a:cxn>
                </a:cxnLst>
                <a:rect l="0" t="0" r="r" b="b"/>
                <a:pathLst>
                  <a:path w="372" h="488">
                    <a:moveTo>
                      <a:pt x="143" y="0"/>
                    </a:moveTo>
                    <a:lnTo>
                      <a:pt x="115" y="82"/>
                    </a:lnTo>
                    <a:lnTo>
                      <a:pt x="57" y="272"/>
                    </a:lnTo>
                    <a:lnTo>
                      <a:pt x="0" y="461"/>
                    </a:lnTo>
                    <a:lnTo>
                      <a:pt x="0" y="488"/>
                    </a:lnTo>
                    <a:lnTo>
                      <a:pt x="315" y="488"/>
                    </a:lnTo>
                    <a:lnTo>
                      <a:pt x="372" y="379"/>
                    </a:lnTo>
                    <a:lnTo>
                      <a:pt x="257" y="407"/>
                    </a:lnTo>
                    <a:lnTo>
                      <a:pt x="344" y="299"/>
                    </a:lnTo>
                    <a:lnTo>
                      <a:pt x="228" y="272"/>
                    </a:lnTo>
                    <a:lnTo>
                      <a:pt x="315" y="163"/>
                    </a:lnTo>
                    <a:lnTo>
                      <a:pt x="315" y="54"/>
                    </a:lnTo>
                    <a:lnTo>
                      <a:pt x="257" y="27"/>
                    </a:lnTo>
                    <a:lnTo>
                      <a:pt x="228" y="109"/>
                    </a:lnTo>
                    <a:lnTo>
                      <a:pt x="201" y="54"/>
                    </a:lnTo>
                    <a:lnTo>
                      <a:pt x="228" y="0"/>
                    </a:lnTo>
                    <a:lnTo>
                      <a:pt x="143"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49" name="Group 27">
              <a:extLst>
                <a:ext uri="{FF2B5EF4-FFF2-40B4-BE49-F238E27FC236}">
                  <a16:creationId xmlns:a16="http://schemas.microsoft.com/office/drawing/2014/main" id="{747A8E81-9F4C-73AC-6DAF-98F1E0037480}"/>
                </a:ext>
              </a:extLst>
            </p:cNvPr>
            <p:cNvGrpSpPr>
              <a:grpSpLocks/>
            </p:cNvGrpSpPr>
            <p:nvPr/>
          </p:nvGrpSpPr>
          <p:grpSpPr bwMode="auto">
            <a:xfrm>
              <a:off x="640736" y="2446037"/>
              <a:ext cx="756913" cy="561359"/>
              <a:chOff x="152" y="902"/>
              <a:chExt cx="658" cy="488"/>
            </a:xfrm>
            <a:solidFill>
              <a:schemeClr val="bg1">
                <a:lumMod val="85000"/>
              </a:schemeClr>
            </a:solidFill>
          </p:grpSpPr>
          <p:sp>
            <p:nvSpPr>
              <p:cNvPr id="606" name="Freeform 28">
                <a:extLst>
                  <a:ext uri="{FF2B5EF4-FFF2-40B4-BE49-F238E27FC236}">
                    <a16:creationId xmlns:a16="http://schemas.microsoft.com/office/drawing/2014/main" id="{92081DEB-7C78-F92E-28DB-01F82FFB9020}"/>
                  </a:ext>
                </a:extLst>
              </p:cNvPr>
              <p:cNvSpPr>
                <a:spLocks/>
              </p:cNvSpPr>
              <p:nvPr/>
            </p:nvSpPr>
            <p:spPr bwMode="auto">
              <a:xfrm>
                <a:off x="152" y="902"/>
                <a:ext cx="658" cy="488"/>
              </a:xfrm>
              <a:custGeom>
                <a:avLst/>
                <a:gdLst/>
                <a:ahLst/>
                <a:cxnLst>
                  <a:cxn ang="0">
                    <a:pos x="0" y="136"/>
                  </a:cxn>
                  <a:cxn ang="0">
                    <a:pos x="0" y="352"/>
                  </a:cxn>
                  <a:cxn ang="0">
                    <a:pos x="171" y="488"/>
                  </a:cxn>
                  <a:cxn ang="0">
                    <a:pos x="572" y="488"/>
                  </a:cxn>
                  <a:cxn ang="0">
                    <a:pos x="572" y="407"/>
                  </a:cxn>
                  <a:cxn ang="0">
                    <a:pos x="658" y="407"/>
                  </a:cxn>
                  <a:cxn ang="0">
                    <a:pos x="486" y="245"/>
                  </a:cxn>
                  <a:cxn ang="0">
                    <a:pos x="515" y="218"/>
                  </a:cxn>
                  <a:cxn ang="0">
                    <a:pos x="486" y="163"/>
                  </a:cxn>
                  <a:cxn ang="0">
                    <a:pos x="429" y="109"/>
                  </a:cxn>
                  <a:cxn ang="0">
                    <a:pos x="371" y="27"/>
                  </a:cxn>
                  <a:cxn ang="0">
                    <a:pos x="229" y="0"/>
                  </a:cxn>
                  <a:cxn ang="0">
                    <a:pos x="114" y="136"/>
                  </a:cxn>
                  <a:cxn ang="0">
                    <a:pos x="0" y="136"/>
                  </a:cxn>
                </a:cxnLst>
                <a:rect l="0" t="0" r="r" b="b"/>
                <a:pathLst>
                  <a:path w="658" h="488">
                    <a:moveTo>
                      <a:pt x="0" y="136"/>
                    </a:moveTo>
                    <a:lnTo>
                      <a:pt x="0" y="352"/>
                    </a:lnTo>
                    <a:lnTo>
                      <a:pt x="171" y="488"/>
                    </a:lnTo>
                    <a:lnTo>
                      <a:pt x="572" y="488"/>
                    </a:lnTo>
                    <a:lnTo>
                      <a:pt x="572" y="407"/>
                    </a:lnTo>
                    <a:lnTo>
                      <a:pt x="658" y="407"/>
                    </a:lnTo>
                    <a:lnTo>
                      <a:pt x="486" y="245"/>
                    </a:lnTo>
                    <a:lnTo>
                      <a:pt x="515" y="218"/>
                    </a:lnTo>
                    <a:lnTo>
                      <a:pt x="486" y="163"/>
                    </a:lnTo>
                    <a:lnTo>
                      <a:pt x="429" y="109"/>
                    </a:lnTo>
                    <a:lnTo>
                      <a:pt x="371" y="27"/>
                    </a:lnTo>
                    <a:lnTo>
                      <a:pt x="229" y="0"/>
                    </a:lnTo>
                    <a:lnTo>
                      <a:pt x="114" y="136"/>
                    </a:lnTo>
                    <a:lnTo>
                      <a:pt x="0" y="136"/>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07" name="Freeform 29">
                <a:extLst>
                  <a:ext uri="{FF2B5EF4-FFF2-40B4-BE49-F238E27FC236}">
                    <a16:creationId xmlns:a16="http://schemas.microsoft.com/office/drawing/2014/main" id="{5C65B755-6DC3-9FA7-D978-3B5C8E7909C1}"/>
                  </a:ext>
                </a:extLst>
              </p:cNvPr>
              <p:cNvSpPr>
                <a:spLocks/>
              </p:cNvSpPr>
              <p:nvPr/>
            </p:nvSpPr>
            <p:spPr bwMode="auto">
              <a:xfrm>
                <a:off x="152" y="902"/>
                <a:ext cx="658" cy="488"/>
              </a:xfrm>
              <a:custGeom>
                <a:avLst/>
                <a:gdLst/>
                <a:ahLst/>
                <a:cxnLst>
                  <a:cxn ang="0">
                    <a:pos x="0" y="136"/>
                  </a:cxn>
                  <a:cxn ang="0">
                    <a:pos x="0" y="352"/>
                  </a:cxn>
                  <a:cxn ang="0">
                    <a:pos x="171" y="488"/>
                  </a:cxn>
                  <a:cxn ang="0">
                    <a:pos x="572" y="488"/>
                  </a:cxn>
                  <a:cxn ang="0">
                    <a:pos x="572" y="407"/>
                  </a:cxn>
                  <a:cxn ang="0">
                    <a:pos x="658" y="407"/>
                  </a:cxn>
                  <a:cxn ang="0">
                    <a:pos x="486" y="245"/>
                  </a:cxn>
                  <a:cxn ang="0">
                    <a:pos x="515" y="218"/>
                  </a:cxn>
                  <a:cxn ang="0">
                    <a:pos x="486" y="163"/>
                  </a:cxn>
                  <a:cxn ang="0">
                    <a:pos x="429" y="109"/>
                  </a:cxn>
                  <a:cxn ang="0">
                    <a:pos x="371" y="27"/>
                  </a:cxn>
                  <a:cxn ang="0">
                    <a:pos x="229" y="0"/>
                  </a:cxn>
                  <a:cxn ang="0">
                    <a:pos x="114" y="136"/>
                  </a:cxn>
                  <a:cxn ang="0">
                    <a:pos x="0" y="136"/>
                  </a:cxn>
                </a:cxnLst>
                <a:rect l="0" t="0" r="r" b="b"/>
                <a:pathLst>
                  <a:path w="658" h="488">
                    <a:moveTo>
                      <a:pt x="0" y="136"/>
                    </a:moveTo>
                    <a:lnTo>
                      <a:pt x="0" y="352"/>
                    </a:lnTo>
                    <a:lnTo>
                      <a:pt x="171" y="488"/>
                    </a:lnTo>
                    <a:lnTo>
                      <a:pt x="572" y="488"/>
                    </a:lnTo>
                    <a:lnTo>
                      <a:pt x="572" y="407"/>
                    </a:lnTo>
                    <a:lnTo>
                      <a:pt x="658" y="407"/>
                    </a:lnTo>
                    <a:lnTo>
                      <a:pt x="486" y="245"/>
                    </a:lnTo>
                    <a:lnTo>
                      <a:pt x="515" y="218"/>
                    </a:lnTo>
                    <a:lnTo>
                      <a:pt x="486" y="163"/>
                    </a:lnTo>
                    <a:lnTo>
                      <a:pt x="429" y="109"/>
                    </a:lnTo>
                    <a:lnTo>
                      <a:pt x="371" y="27"/>
                    </a:lnTo>
                    <a:lnTo>
                      <a:pt x="229" y="0"/>
                    </a:lnTo>
                    <a:lnTo>
                      <a:pt x="114" y="136"/>
                    </a:lnTo>
                    <a:lnTo>
                      <a:pt x="0" y="136"/>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0" name="Group 30">
              <a:extLst>
                <a:ext uri="{FF2B5EF4-FFF2-40B4-BE49-F238E27FC236}">
                  <a16:creationId xmlns:a16="http://schemas.microsoft.com/office/drawing/2014/main" id="{C72A416C-F632-B398-B52C-B268755659DB}"/>
                </a:ext>
              </a:extLst>
            </p:cNvPr>
            <p:cNvGrpSpPr>
              <a:grpSpLocks/>
            </p:cNvGrpSpPr>
            <p:nvPr/>
          </p:nvGrpSpPr>
          <p:grpSpPr bwMode="auto">
            <a:xfrm>
              <a:off x="1133073" y="2570272"/>
              <a:ext cx="531451" cy="404915"/>
              <a:chOff x="580" y="1010"/>
              <a:chExt cx="462" cy="352"/>
            </a:xfrm>
            <a:solidFill>
              <a:schemeClr val="bg1">
                <a:lumMod val="85000"/>
              </a:schemeClr>
            </a:solidFill>
          </p:grpSpPr>
          <p:sp>
            <p:nvSpPr>
              <p:cNvPr id="604" name="Freeform 31">
                <a:extLst>
                  <a:ext uri="{FF2B5EF4-FFF2-40B4-BE49-F238E27FC236}">
                    <a16:creationId xmlns:a16="http://schemas.microsoft.com/office/drawing/2014/main" id="{DC885D03-A863-18BE-CF83-5F7B929604C5}"/>
                  </a:ext>
                </a:extLst>
              </p:cNvPr>
              <p:cNvSpPr>
                <a:spLocks/>
              </p:cNvSpPr>
              <p:nvPr/>
            </p:nvSpPr>
            <p:spPr bwMode="auto">
              <a:xfrm>
                <a:off x="580" y="1010"/>
                <a:ext cx="462" cy="352"/>
              </a:xfrm>
              <a:custGeom>
                <a:avLst/>
                <a:gdLst/>
                <a:ahLst/>
                <a:cxnLst>
                  <a:cxn ang="0">
                    <a:pos x="0" y="0"/>
                  </a:cxn>
                  <a:cxn ang="0">
                    <a:pos x="58" y="55"/>
                  </a:cxn>
                  <a:cxn ang="0">
                    <a:pos x="87" y="109"/>
                  </a:cxn>
                  <a:cxn ang="0">
                    <a:pos x="58" y="136"/>
                  </a:cxn>
                  <a:cxn ang="0">
                    <a:pos x="231" y="298"/>
                  </a:cxn>
                  <a:cxn ang="0">
                    <a:pos x="260" y="352"/>
                  </a:cxn>
                  <a:cxn ang="0">
                    <a:pos x="347" y="352"/>
                  </a:cxn>
                  <a:cxn ang="0">
                    <a:pos x="347" y="271"/>
                  </a:cxn>
                  <a:cxn ang="0">
                    <a:pos x="462" y="271"/>
                  </a:cxn>
                  <a:cxn ang="0">
                    <a:pos x="404" y="82"/>
                  </a:cxn>
                  <a:cxn ang="0">
                    <a:pos x="375" y="0"/>
                  </a:cxn>
                  <a:cxn ang="0">
                    <a:pos x="0" y="0"/>
                  </a:cxn>
                </a:cxnLst>
                <a:rect l="0" t="0" r="r" b="b"/>
                <a:pathLst>
                  <a:path w="462" h="352">
                    <a:moveTo>
                      <a:pt x="0" y="0"/>
                    </a:moveTo>
                    <a:lnTo>
                      <a:pt x="58" y="55"/>
                    </a:lnTo>
                    <a:lnTo>
                      <a:pt x="87" y="109"/>
                    </a:lnTo>
                    <a:lnTo>
                      <a:pt x="58" y="136"/>
                    </a:lnTo>
                    <a:lnTo>
                      <a:pt x="231" y="298"/>
                    </a:lnTo>
                    <a:lnTo>
                      <a:pt x="260" y="352"/>
                    </a:lnTo>
                    <a:lnTo>
                      <a:pt x="347" y="352"/>
                    </a:lnTo>
                    <a:lnTo>
                      <a:pt x="347" y="271"/>
                    </a:lnTo>
                    <a:lnTo>
                      <a:pt x="462" y="271"/>
                    </a:lnTo>
                    <a:lnTo>
                      <a:pt x="404" y="82"/>
                    </a:lnTo>
                    <a:lnTo>
                      <a:pt x="375"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05" name="Freeform 32">
                <a:extLst>
                  <a:ext uri="{FF2B5EF4-FFF2-40B4-BE49-F238E27FC236}">
                    <a16:creationId xmlns:a16="http://schemas.microsoft.com/office/drawing/2014/main" id="{EFD54819-E485-34CC-F1DD-607492CEA57D}"/>
                  </a:ext>
                </a:extLst>
              </p:cNvPr>
              <p:cNvSpPr>
                <a:spLocks/>
              </p:cNvSpPr>
              <p:nvPr/>
            </p:nvSpPr>
            <p:spPr bwMode="auto">
              <a:xfrm>
                <a:off x="580" y="1010"/>
                <a:ext cx="462" cy="352"/>
              </a:xfrm>
              <a:custGeom>
                <a:avLst/>
                <a:gdLst/>
                <a:ahLst/>
                <a:cxnLst>
                  <a:cxn ang="0">
                    <a:pos x="0" y="0"/>
                  </a:cxn>
                  <a:cxn ang="0">
                    <a:pos x="58" y="55"/>
                  </a:cxn>
                  <a:cxn ang="0">
                    <a:pos x="87" y="109"/>
                  </a:cxn>
                  <a:cxn ang="0">
                    <a:pos x="58" y="136"/>
                  </a:cxn>
                  <a:cxn ang="0">
                    <a:pos x="231" y="298"/>
                  </a:cxn>
                  <a:cxn ang="0">
                    <a:pos x="260" y="352"/>
                  </a:cxn>
                  <a:cxn ang="0">
                    <a:pos x="347" y="352"/>
                  </a:cxn>
                  <a:cxn ang="0">
                    <a:pos x="347" y="271"/>
                  </a:cxn>
                  <a:cxn ang="0">
                    <a:pos x="462" y="271"/>
                  </a:cxn>
                  <a:cxn ang="0">
                    <a:pos x="404" y="82"/>
                  </a:cxn>
                  <a:cxn ang="0">
                    <a:pos x="375" y="0"/>
                  </a:cxn>
                  <a:cxn ang="0">
                    <a:pos x="0" y="0"/>
                  </a:cxn>
                </a:cxnLst>
                <a:rect l="0" t="0" r="r" b="b"/>
                <a:pathLst>
                  <a:path w="462" h="352">
                    <a:moveTo>
                      <a:pt x="0" y="0"/>
                    </a:moveTo>
                    <a:lnTo>
                      <a:pt x="58" y="55"/>
                    </a:lnTo>
                    <a:lnTo>
                      <a:pt x="87" y="109"/>
                    </a:lnTo>
                    <a:lnTo>
                      <a:pt x="58" y="136"/>
                    </a:lnTo>
                    <a:lnTo>
                      <a:pt x="231" y="298"/>
                    </a:lnTo>
                    <a:lnTo>
                      <a:pt x="260" y="352"/>
                    </a:lnTo>
                    <a:lnTo>
                      <a:pt x="347" y="352"/>
                    </a:lnTo>
                    <a:lnTo>
                      <a:pt x="347" y="271"/>
                    </a:lnTo>
                    <a:lnTo>
                      <a:pt x="462" y="271"/>
                    </a:lnTo>
                    <a:lnTo>
                      <a:pt x="404" y="82"/>
                    </a:lnTo>
                    <a:lnTo>
                      <a:pt x="375"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1" name="Group 33">
              <a:extLst>
                <a:ext uri="{FF2B5EF4-FFF2-40B4-BE49-F238E27FC236}">
                  <a16:creationId xmlns:a16="http://schemas.microsoft.com/office/drawing/2014/main" id="{75E58EB0-3B95-19AD-1AA3-E1AFC4259971}"/>
                </a:ext>
              </a:extLst>
            </p:cNvPr>
            <p:cNvGrpSpPr>
              <a:grpSpLocks/>
            </p:cNvGrpSpPr>
            <p:nvPr/>
          </p:nvGrpSpPr>
          <p:grpSpPr bwMode="auto">
            <a:xfrm>
              <a:off x="1333229" y="2164210"/>
              <a:ext cx="691345" cy="500391"/>
              <a:chOff x="754" y="657"/>
              <a:chExt cx="601" cy="435"/>
            </a:xfrm>
            <a:solidFill>
              <a:schemeClr val="bg1">
                <a:lumMod val="85000"/>
              </a:schemeClr>
            </a:solidFill>
          </p:grpSpPr>
          <p:sp>
            <p:nvSpPr>
              <p:cNvPr id="602" name="Freeform 34">
                <a:extLst>
                  <a:ext uri="{FF2B5EF4-FFF2-40B4-BE49-F238E27FC236}">
                    <a16:creationId xmlns:a16="http://schemas.microsoft.com/office/drawing/2014/main" id="{E6C6D200-074E-2DDF-3E99-47568AC70C9D}"/>
                  </a:ext>
                </a:extLst>
              </p:cNvPr>
              <p:cNvSpPr>
                <a:spLocks/>
              </p:cNvSpPr>
              <p:nvPr/>
            </p:nvSpPr>
            <p:spPr bwMode="auto">
              <a:xfrm>
                <a:off x="754" y="657"/>
                <a:ext cx="601" cy="435"/>
              </a:xfrm>
              <a:custGeom>
                <a:avLst/>
                <a:gdLst/>
                <a:ahLst/>
                <a:cxnLst>
                  <a:cxn ang="0">
                    <a:pos x="28" y="190"/>
                  </a:cxn>
                  <a:cxn ang="0">
                    <a:pos x="0" y="217"/>
                  </a:cxn>
                  <a:cxn ang="0">
                    <a:pos x="0" y="353"/>
                  </a:cxn>
                  <a:cxn ang="0">
                    <a:pos x="201" y="353"/>
                  </a:cxn>
                  <a:cxn ang="0">
                    <a:pos x="229" y="435"/>
                  </a:cxn>
                  <a:cxn ang="0">
                    <a:pos x="544" y="435"/>
                  </a:cxn>
                  <a:cxn ang="0">
                    <a:pos x="601" y="353"/>
                  </a:cxn>
                  <a:cxn ang="0">
                    <a:pos x="601" y="136"/>
                  </a:cxn>
                  <a:cxn ang="0">
                    <a:pos x="515" y="136"/>
                  </a:cxn>
                  <a:cxn ang="0">
                    <a:pos x="515" y="0"/>
                  </a:cxn>
                  <a:cxn ang="0">
                    <a:pos x="229" y="0"/>
                  </a:cxn>
                  <a:cxn ang="0">
                    <a:pos x="258" y="136"/>
                  </a:cxn>
                  <a:cxn ang="0">
                    <a:pos x="172" y="136"/>
                  </a:cxn>
                  <a:cxn ang="0">
                    <a:pos x="172" y="190"/>
                  </a:cxn>
                  <a:cxn ang="0">
                    <a:pos x="28" y="190"/>
                  </a:cxn>
                </a:cxnLst>
                <a:rect l="0" t="0" r="r" b="b"/>
                <a:pathLst>
                  <a:path w="601" h="435">
                    <a:moveTo>
                      <a:pt x="28" y="190"/>
                    </a:moveTo>
                    <a:lnTo>
                      <a:pt x="0" y="217"/>
                    </a:lnTo>
                    <a:lnTo>
                      <a:pt x="0" y="353"/>
                    </a:lnTo>
                    <a:lnTo>
                      <a:pt x="201" y="353"/>
                    </a:lnTo>
                    <a:lnTo>
                      <a:pt x="229" y="435"/>
                    </a:lnTo>
                    <a:lnTo>
                      <a:pt x="544" y="435"/>
                    </a:lnTo>
                    <a:lnTo>
                      <a:pt x="601" y="353"/>
                    </a:lnTo>
                    <a:lnTo>
                      <a:pt x="601" y="136"/>
                    </a:lnTo>
                    <a:lnTo>
                      <a:pt x="515" y="136"/>
                    </a:lnTo>
                    <a:lnTo>
                      <a:pt x="515" y="0"/>
                    </a:lnTo>
                    <a:lnTo>
                      <a:pt x="229" y="0"/>
                    </a:lnTo>
                    <a:lnTo>
                      <a:pt x="258" y="136"/>
                    </a:lnTo>
                    <a:lnTo>
                      <a:pt x="172" y="136"/>
                    </a:lnTo>
                    <a:lnTo>
                      <a:pt x="172" y="190"/>
                    </a:lnTo>
                    <a:lnTo>
                      <a:pt x="28" y="19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03" name="Freeform 35">
                <a:extLst>
                  <a:ext uri="{FF2B5EF4-FFF2-40B4-BE49-F238E27FC236}">
                    <a16:creationId xmlns:a16="http://schemas.microsoft.com/office/drawing/2014/main" id="{F498B68E-40CC-441B-CEC8-B06312621CCB}"/>
                  </a:ext>
                </a:extLst>
              </p:cNvPr>
              <p:cNvSpPr>
                <a:spLocks/>
              </p:cNvSpPr>
              <p:nvPr/>
            </p:nvSpPr>
            <p:spPr bwMode="auto">
              <a:xfrm>
                <a:off x="754" y="657"/>
                <a:ext cx="601" cy="435"/>
              </a:xfrm>
              <a:custGeom>
                <a:avLst/>
                <a:gdLst/>
                <a:ahLst/>
                <a:cxnLst>
                  <a:cxn ang="0">
                    <a:pos x="28" y="190"/>
                  </a:cxn>
                  <a:cxn ang="0">
                    <a:pos x="0" y="217"/>
                  </a:cxn>
                  <a:cxn ang="0">
                    <a:pos x="0" y="353"/>
                  </a:cxn>
                  <a:cxn ang="0">
                    <a:pos x="201" y="353"/>
                  </a:cxn>
                  <a:cxn ang="0">
                    <a:pos x="229" y="435"/>
                  </a:cxn>
                  <a:cxn ang="0">
                    <a:pos x="544" y="435"/>
                  </a:cxn>
                  <a:cxn ang="0">
                    <a:pos x="601" y="353"/>
                  </a:cxn>
                  <a:cxn ang="0">
                    <a:pos x="601" y="136"/>
                  </a:cxn>
                  <a:cxn ang="0">
                    <a:pos x="515" y="136"/>
                  </a:cxn>
                  <a:cxn ang="0">
                    <a:pos x="515" y="0"/>
                  </a:cxn>
                  <a:cxn ang="0">
                    <a:pos x="229" y="0"/>
                  </a:cxn>
                  <a:cxn ang="0">
                    <a:pos x="258" y="136"/>
                  </a:cxn>
                  <a:cxn ang="0">
                    <a:pos x="172" y="136"/>
                  </a:cxn>
                  <a:cxn ang="0">
                    <a:pos x="172" y="190"/>
                  </a:cxn>
                  <a:cxn ang="0">
                    <a:pos x="28" y="190"/>
                  </a:cxn>
                </a:cxnLst>
                <a:rect l="0" t="0" r="r" b="b"/>
                <a:pathLst>
                  <a:path w="601" h="435">
                    <a:moveTo>
                      <a:pt x="28" y="190"/>
                    </a:moveTo>
                    <a:lnTo>
                      <a:pt x="0" y="217"/>
                    </a:lnTo>
                    <a:lnTo>
                      <a:pt x="0" y="353"/>
                    </a:lnTo>
                    <a:lnTo>
                      <a:pt x="201" y="353"/>
                    </a:lnTo>
                    <a:lnTo>
                      <a:pt x="229" y="435"/>
                    </a:lnTo>
                    <a:lnTo>
                      <a:pt x="544" y="435"/>
                    </a:lnTo>
                    <a:lnTo>
                      <a:pt x="601" y="353"/>
                    </a:lnTo>
                    <a:lnTo>
                      <a:pt x="601" y="136"/>
                    </a:lnTo>
                    <a:lnTo>
                      <a:pt x="515" y="136"/>
                    </a:lnTo>
                    <a:lnTo>
                      <a:pt x="515" y="0"/>
                    </a:lnTo>
                    <a:lnTo>
                      <a:pt x="229" y="0"/>
                    </a:lnTo>
                    <a:lnTo>
                      <a:pt x="258" y="136"/>
                    </a:lnTo>
                    <a:lnTo>
                      <a:pt x="172" y="136"/>
                    </a:lnTo>
                    <a:lnTo>
                      <a:pt x="172" y="190"/>
                    </a:lnTo>
                    <a:lnTo>
                      <a:pt x="28" y="19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2" name="Group 36">
              <a:extLst>
                <a:ext uri="{FF2B5EF4-FFF2-40B4-BE49-F238E27FC236}">
                  <a16:creationId xmlns:a16="http://schemas.microsoft.com/office/drawing/2014/main" id="{EF926CC8-BF90-821E-B7E5-09CEC4955071}"/>
                </a:ext>
              </a:extLst>
            </p:cNvPr>
            <p:cNvGrpSpPr>
              <a:grpSpLocks/>
            </p:cNvGrpSpPr>
            <p:nvPr/>
          </p:nvGrpSpPr>
          <p:grpSpPr bwMode="auto">
            <a:xfrm>
              <a:off x="1926798" y="1945648"/>
              <a:ext cx="494640" cy="373855"/>
              <a:chOff x="1270" y="467"/>
              <a:chExt cx="430" cy="325"/>
            </a:xfrm>
            <a:solidFill>
              <a:schemeClr val="bg1">
                <a:lumMod val="85000"/>
              </a:schemeClr>
            </a:solidFill>
          </p:grpSpPr>
          <p:sp>
            <p:nvSpPr>
              <p:cNvPr id="600" name="Freeform 37">
                <a:extLst>
                  <a:ext uri="{FF2B5EF4-FFF2-40B4-BE49-F238E27FC236}">
                    <a16:creationId xmlns:a16="http://schemas.microsoft.com/office/drawing/2014/main" id="{2816172C-C1FB-94FA-CAB2-56BF1D48152C}"/>
                  </a:ext>
                </a:extLst>
              </p:cNvPr>
              <p:cNvSpPr>
                <a:spLocks/>
              </p:cNvSpPr>
              <p:nvPr/>
            </p:nvSpPr>
            <p:spPr bwMode="auto">
              <a:xfrm>
                <a:off x="1270" y="467"/>
                <a:ext cx="430" cy="325"/>
              </a:xfrm>
              <a:custGeom>
                <a:avLst/>
                <a:gdLst/>
                <a:ahLst/>
                <a:cxnLst>
                  <a:cxn ang="0">
                    <a:pos x="28" y="0"/>
                  </a:cxn>
                  <a:cxn ang="0">
                    <a:pos x="28" y="55"/>
                  </a:cxn>
                  <a:cxn ang="0">
                    <a:pos x="0" y="108"/>
                  </a:cxn>
                  <a:cxn ang="0">
                    <a:pos x="0" y="325"/>
                  </a:cxn>
                  <a:cxn ang="0">
                    <a:pos x="229" y="325"/>
                  </a:cxn>
                  <a:cxn ang="0">
                    <a:pos x="229" y="271"/>
                  </a:cxn>
                  <a:cxn ang="0">
                    <a:pos x="430" y="271"/>
                  </a:cxn>
                  <a:cxn ang="0">
                    <a:pos x="430" y="108"/>
                  </a:cxn>
                  <a:cxn ang="0">
                    <a:pos x="315" y="108"/>
                  </a:cxn>
                  <a:cxn ang="0">
                    <a:pos x="315" y="55"/>
                  </a:cxn>
                  <a:cxn ang="0">
                    <a:pos x="200" y="0"/>
                  </a:cxn>
                  <a:cxn ang="0">
                    <a:pos x="28" y="0"/>
                  </a:cxn>
                </a:cxnLst>
                <a:rect l="0" t="0" r="r" b="b"/>
                <a:pathLst>
                  <a:path w="430" h="325">
                    <a:moveTo>
                      <a:pt x="28" y="0"/>
                    </a:moveTo>
                    <a:lnTo>
                      <a:pt x="28" y="55"/>
                    </a:lnTo>
                    <a:lnTo>
                      <a:pt x="0" y="108"/>
                    </a:lnTo>
                    <a:lnTo>
                      <a:pt x="0" y="325"/>
                    </a:lnTo>
                    <a:lnTo>
                      <a:pt x="229" y="325"/>
                    </a:lnTo>
                    <a:lnTo>
                      <a:pt x="229" y="271"/>
                    </a:lnTo>
                    <a:lnTo>
                      <a:pt x="430" y="271"/>
                    </a:lnTo>
                    <a:lnTo>
                      <a:pt x="430" y="108"/>
                    </a:lnTo>
                    <a:lnTo>
                      <a:pt x="315" y="108"/>
                    </a:lnTo>
                    <a:lnTo>
                      <a:pt x="315" y="55"/>
                    </a:lnTo>
                    <a:lnTo>
                      <a:pt x="200" y="0"/>
                    </a:lnTo>
                    <a:lnTo>
                      <a:pt x="28"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601" name="Freeform 38">
                <a:extLst>
                  <a:ext uri="{FF2B5EF4-FFF2-40B4-BE49-F238E27FC236}">
                    <a16:creationId xmlns:a16="http://schemas.microsoft.com/office/drawing/2014/main" id="{2729ED89-E44F-1185-CFEF-149EB7558C1C}"/>
                  </a:ext>
                </a:extLst>
              </p:cNvPr>
              <p:cNvSpPr>
                <a:spLocks/>
              </p:cNvSpPr>
              <p:nvPr/>
            </p:nvSpPr>
            <p:spPr bwMode="auto">
              <a:xfrm>
                <a:off x="1270" y="467"/>
                <a:ext cx="430" cy="325"/>
              </a:xfrm>
              <a:custGeom>
                <a:avLst/>
                <a:gdLst/>
                <a:ahLst/>
                <a:cxnLst>
                  <a:cxn ang="0">
                    <a:pos x="28" y="0"/>
                  </a:cxn>
                  <a:cxn ang="0">
                    <a:pos x="28" y="55"/>
                  </a:cxn>
                  <a:cxn ang="0">
                    <a:pos x="0" y="108"/>
                  </a:cxn>
                  <a:cxn ang="0">
                    <a:pos x="0" y="325"/>
                  </a:cxn>
                  <a:cxn ang="0">
                    <a:pos x="229" y="325"/>
                  </a:cxn>
                  <a:cxn ang="0">
                    <a:pos x="229" y="271"/>
                  </a:cxn>
                  <a:cxn ang="0">
                    <a:pos x="430" y="271"/>
                  </a:cxn>
                  <a:cxn ang="0">
                    <a:pos x="430" y="108"/>
                  </a:cxn>
                  <a:cxn ang="0">
                    <a:pos x="315" y="108"/>
                  </a:cxn>
                  <a:cxn ang="0">
                    <a:pos x="315" y="55"/>
                  </a:cxn>
                  <a:cxn ang="0">
                    <a:pos x="200" y="0"/>
                  </a:cxn>
                  <a:cxn ang="0">
                    <a:pos x="28" y="0"/>
                  </a:cxn>
                </a:cxnLst>
                <a:rect l="0" t="0" r="r" b="b"/>
                <a:pathLst>
                  <a:path w="430" h="325">
                    <a:moveTo>
                      <a:pt x="28" y="0"/>
                    </a:moveTo>
                    <a:lnTo>
                      <a:pt x="28" y="55"/>
                    </a:lnTo>
                    <a:lnTo>
                      <a:pt x="0" y="108"/>
                    </a:lnTo>
                    <a:lnTo>
                      <a:pt x="0" y="325"/>
                    </a:lnTo>
                    <a:lnTo>
                      <a:pt x="229" y="325"/>
                    </a:lnTo>
                    <a:lnTo>
                      <a:pt x="229" y="271"/>
                    </a:lnTo>
                    <a:lnTo>
                      <a:pt x="430" y="271"/>
                    </a:lnTo>
                    <a:lnTo>
                      <a:pt x="430" y="108"/>
                    </a:lnTo>
                    <a:lnTo>
                      <a:pt x="315" y="108"/>
                    </a:lnTo>
                    <a:lnTo>
                      <a:pt x="315" y="55"/>
                    </a:lnTo>
                    <a:lnTo>
                      <a:pt x="200" y="0"/>
                    </a:lnTo>
                    <a:lnTo>
                      <a:pt x="28"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3" name="Group 39">
              <a:extLst>
                <a:ext uri="{FF2B5EF4-FFF2-40B4-BE49-F238E27FC236}">
                  <a16:creationId xmlns:a16="http://schemas.microsoft.com/office/drawing/2014/main" id="{7D5AFF9B-6DEB-A1BB-A811-477C0B31DAB9}"/>
                </a:ext>
              </a:extLst>
            </p:cNvPr>
            <p:cNvGrpSpPr>
              <a:grpSpLocks/>
            </p:cNvGrpSpPr>
            <p:nvPr/>
          </p:nvGrpSpPr>
          <p:grpSpPr bwMode="auto">
            <a:xfrm>
              <a:off x="1959008" y="2257387"/>
              <a:ext cx="563659" cy="407215"/>
              <a:chOff x="1298" y="738"/>
              <a:chExt cx="490" cy="354"/>
            </a:xfrm>
            <a:solidFill>
              <a:schemeClr val="bg1">
                <a:lumMod val="85000"/>
              </a:schemeClr>
            </a:solidFill>
          </p:grpSpPr>
          <p:sp>
            <p:nvSpPr>
              <p:cNvPr id="598" name="Freeform 40">
                <a:extLst>
                  <a:ext uri="{FF2B5EF4-FFF2-40B4-BE49-F238E27FC236}">
                    <a16:creationId xmlns:a16="http://schemas.microsoft.com/office/drawing/2014/main" id="{335601F8-6888-2822-E183-320FE04EABD9}"/>
                  </a:ext>
                </a:extLst>
              </p:cNvPr>
              <p:cNvSpPr>
                <a:spLocks/>
              </p:cNvSpPr>
              <p:nvPr/>
            </p:nvSpPr>
            <p:spPr bwMode="auto">
              <a:xfrm>
                <a:off x="1298" y="738"/>
                <a:ext cx="490" cy="354"/>
              </a:xfrm>
              <a:custGeom>
                <a:avLst/>
                <a:gdLst/>
                <a:ahLst/>
                <a:cxnLst>
                  <a:cxn ang="0">
                    <a:pos x="57" y="54"/>
                  </a:cxn>
                  <a:cxn ang="0">
                    <a:pos x="57" y="272"/>
                  </a:cxn>
                  <a:cxn ang="0">
                    <a:pos x="0" y="354"/>
                  </a:cxn>
                  <a:cxn ang="0">
                    <a:pos x="490" y="354"/>
                  </a:cxn>
                  <a:cxn ang="0">
                    <a:pos x="490" y="190"/>
                  </a:cxn>
                  <a:cxn ang="0">
                    <a:pos x="403" y="109"/>
                  </a:cxn>
                  <a:cxn ang="0">
                    <a:pos x="403" y="0"/>
                  </a:cxn>
                  <a:cxn ang="0">
                    <a:pos x="202" y="0"/>
                  </a:cxn>
                  <a:cxn ang="0">
                    <a:pos x="202" y="54"/>
                  </a:cxn>
                  <a:cxn ang="0">
                    <a:pos x="57" y="54"/>
                  </a:cxn>
                </a:cxnLst>
                <a:rect l="0" t="0" r="r" b="b"/>
                <a:pathLst>
                  <a:path w="490" h="354">
                    <a:moveTo>
                      <a:pt x="57" y="54"/>
                    </a:moveTo>
                    <a:lnTo>
                      <a:pt x="57" y="272"/>
                    </a:lnTo>
                    <a:lnTo>
                      <a:pt x="0" y="354"/>
                    </a:lnTo>
                    <a:lnTo>
                      <a:pt x="490" y="354"/>
                    </a:lnTo>
                    <a:lnTo>
                      <a:pt x="490" y="190"/>
                    </a:lnTo>
                    <a:lnTo>
                      <a:pt x="403" y="109"/>
                    </a:lnTo>
                    <a:lnTo>
                      <a:pt x="403" y="0"/>
                    </a:lnTo>
                    <a:lnTo>
                      <a:pt x="202" y="0"/>
                    </a:lnTo>
                    <a:lnTo>
                      <a:pt x="202" y="54"/>
                    </a:lnTo>
                    <a:lnTo>
                      <a:pt x="57" y="5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99" name="Freeform 41">
                <a:extLst>
                  <a:ext uri="{FF2B5EF4-FFF2-40B4-BE49-F238E27FC236}">
                    <a16:creationId xmlns:a16="http://schemas.microsoft.com/office/drawing/2014/main" id="{BE36A1C3-2DDD-B8A8-A9FD-D65476F8FE2A}"/>
                  </a:ext>
                </a:extLst>
              </p:cNvPr>
              <p:cNvSpPr>
                <a:spLocks/>
              </p:cNvSpPr>
              <p:nvPr/>
            </p:nvSpPr>
            <p:spPr bwMode="auto">
              <a:xfrm>
                <a:off x="1298" y="738"/>
                <a:ext cx="490" cy="354"/>
              </a:xfrm>
              <a:custGeom>
                <a:avLst/>
                <a:gdLst/>
                <a:ahLst/>
                <a:cxnLst>
                  <a:cxn ang="0">
                    <a:pos x="57" y="54"/>
                  </a:cxn>
                  <a:cxn ang="0">
                    <a:pos x="57" y="272"/>
                  </a:cxn>
                  <a:cxn ang="0">
                    <a:pos x="0" y="354"/>
                  </a:cxn>
                  <a:cxn ang="0">
                    <a:pos x="490" y="354"/>
                  </a:cxn>
                  <a:cxn ang="0">
                    <a:pos x="490" y="190"/>
                  </a:cxn>
                  <a:cxn ang="0">
                    <a:pos x="403" y="109"/>
                  </a:cxn>
                  <a:cxn ang="0">
                    <a:pos x="403" y="0"/>
                  </a:cxn>
                  <a:cxn ang="0">
                    <a:pos x="202" y="0"/>
                  </a:cxn>
                  <a:cxn ang="0">
                    <a:pos x="202" y="54"/>
                  </a:cxn>
                  <a:cxn ang="0">
                    <a:pos x="57" y="54"/>
                  </a:cxn>
                </a:cxnLst>
                <a:rect l="0" t="0" r="r" b="b"/>
                <a:pathLst>
                  <a:path w="490" h="354">
                    <a:moveTo>
                      <a:pt x="57" y="54"/>
                    </a:moveTo>
                    <a:lnTo>
                      <a:pt x="57" y="272"/>
                    </a:lnTo>
                    <a:lnTo>
                      <a:pt x="0" y="354"/>
                    </a:lnTo>
                    <a:lnTo>
                      <a:pt x="490" y="354"/>
                    </a:lnTo>
                    <a:lnTo>
                      <a:pt x="490" y="190"/>
                    </a:lnTo>
                    <a:lnTo>
                      <a:pt x="403" y="109"/>
                    </a:lnTo>
                    <a:lnTo>
                      <a:pt x="403" y="0"/>
                    </a:lnTo>
                    <a:lnTo>
                      <a:pt x="202" y="0"/>
                    </a:lnTo>
                    <a:lnTo>
                      <a:pt x="202" y="54"/>
                    </a:lnTo>
                    <a:lnTo>
                      <a:pt x="57" y="5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4" name="Group 42">
              <a:extLst>
                <a:ext uri="{FF2B5EF4-FFF2-40B4-BE49-F238E27FC236}">
                  <a16:creationId xmlns:a16="http://schemas.microsoft.com/office/drawing/2014/main" id="{4F98FC7A-6B6A-1C94-9E73-6CBADA9E1096}"/>
                </a:ext>
              </a:extLst>
            </p:cNvPr>
            <p:cNvGrpSpPr>
              <a:grpSpLocks/>
            </p:cNvGrpSpPr>
            <p:nvPr/>
          </p:nvGrpSpPr>
          <p:grpSpPr bwMode="auto">
            <a:xfrm>
              <a:off x="2421438" y="2008914"/>
              <a:ext cx="526849" cy="499240"/>
              <a:chOff x="1700" y="522"/>
              <a:chExt cx="458" cy="434"/>
            </a:xfrm>
            <a:solidFill>
              <a:schemeClr val="bg1">
                <a:lumMod val="85000"/>
              </a:schemeClr>
            </a:solidFill>
          </p:grpSpPr>
          <p:sp>
            <p:nvSpPr>
              <p:cNvPr id="596" name="Freeform 43">
                <a:extLst>
                  <a:ext uri="{FF2B5EF4-FFF2-40B4-BE49-F238E27FC236}">
                    <a16:creationId xmlns:a16="http://schemas.microsoft.com/office/drawing/2014/main" id="{F029B51B-1699-F5A6-C5BF-56EFD25AC436}"/>
                  </a:ext>
                </a:extLst>
              </p:cNvPr>
              <p:cNvSpPr>
                <a:spLocks/>
              </p:cNvSpPr>
              <p:nvPr/>
            </p:nvSpPr>
            <p:spPr bwMode="auto">
              <a:xfrm>
                <a:off x="1700" y="522"/>
                <a:ext cx="458" cy="434"/>
              </a:xfrm>
              <a:custGeom>
                <a:avLst/>
                <a:gdLst/>
                <a:ahLst/>
                <a:cxnLst>
                  <a:cxn ang="0">
                    <a:pos x="0" y="135"/>
                  </a:cxn>
                  <a:cxn ang="0">
                    <a:pos x="0" y="325"/>
                  </a:cxn>
                  <a:cxn ang="0">
                    <a:pos x="86" y="406"/>
                  </a:cxn>
                  <a:cxn ang="0">
                    <a:pos x="86" y="434"/>
                  </a:cxn>
                  <a:cxn ang="0">
                    <a:pos x="343" y="434"/>
                  </a:cxn>
                  <a:cxn ang="0">
                    <a:pos x="372" y="325"/>
                  </a:cxn>
                  <a:cxn ang="0">
                    <a:pos x="458" y="189"/>
                  </a:cxn>
                  <a:cxn ang="0">
                    <a:pos x="430" y="53"/>
                  </a:cxn>
                  <a:cxn ang="0">
                    <a:pos x="401" y="26"/>
                  </a:cxn>
                  <a:cxn ang="0">
                    <a:pos x="343" y="26"/>
                  </a:cxn>
                  <a:cxn ang="0">
                    <a:pos x="315" y="0"/>
                  </a:cxn>
                  <a:cxn ang="0">
                    <a:pos x="115" y="135"/>
                  </a:cxn>
                  <a:cxn ang="0">
                    <a:pos x="0" y="135"/>
                  </a:cxn>
                </a:cxnLst>
                <a:rect l="0" t="0" r="r" b="b"/>
                <a:pathLst>
                  <a:path w="458" h="434">
                    <a:moveTo>
                      <a:pt x="0" y="135"/>
                    </a:moveTo>
                    <a:lnTo>
                      <a:pt x="0" y="325"/>
                    </a:lnTo>
                    <a:lnTo>
                      <a:pt x="86" y="406"/>
                    </a:lnTo>
                    <a:lnTo>
                      <a:pt x="86" y="434"/>
                    </a:lnTo>
                    <a:lnTo>
                      <a:pt x="343" y="434"/>
                    </a:lnTo>
                    <a:lnTo>
                      <a:pt x="372" y="325"/>
                    </a:lnTo>
                    <a:lnTo>
                      <a:pt x="458" y="189"/>
                    </a:lnTo>
                    <a:lnTo>
                      <a:pt x="430" y="53"/>
                    </a:lnTo>
                    <a:lnTo>
                      <a:pt x="401" y="26"/>
                    </a:lnTo>
                    <a:lnTo>
                      <a:pt x="343" y="26"/>
                    </a:lnTo>
                    <a:lnTo>
                      <a:pt x="315" y="0"/>
                    </a:lnTo>
                    <a:lnTo>
                      <a:pt x="115" y="135"/>
                    </a:lnTo>
                    <a:lnTo>
                      <a:pt x="0" y="135"/>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97" name="Freeform 44">
                <a:extLst>
                  <a:ext uri="{FF2B5EF4-FFF2-40B4-BE49-F238E27FC236}">
                    <a16:creationId xmlns:a16="http://schemas.microsoft.com/office/drawing/2014/main" id="{C37F6374-7953-3F11-E0E6-3821C2A86945}"/>
                  </a:ext>
                </a:extLst>
              </p:cNvPr>
              <p:cNvSpPr>
                <a:spLocks/>
              </p:cNvSpPr>
              <p:nvPr/>
            </p:nvSpPr>
            <p:spPr bwMode="auto">
              <a:xfrm>
                <a:off x="1700" y="522"/>
                <a:ext cx="458" cy="434"/>
              </a:xfrm>
              <a:custGeom>
                <a:avLst/>
                <a:gdLst/>
                <a:ahLst/>
                <a:cxnLst>
                  <a:cxn ang="0">
                    <a:pos x="0" y="135"/>
                  </a:cxn>
                  <a:cxn ang="0">
                    <a:pos x="0" y="325"/>
                  </a:cxn>
                  <a:cxn ang="0">
                    <a:pos x="86" y="406"/>
                  </a:cxn>
                  <a:cxn ang="0">
                    <a:pos x="86" y="434"/>
                  </a:cxn>
                  <a:cxn ang="0">
                    <a:pos x="343" y="434"/>
                  </a:cxn>
                  <a:cxn ang="0">
                    <a:pos x="372" y="325"/>
                  </a:cxn>
                  <a:cxn ang="0">
                    <a:pos x="458" y="189"/>
                  </a:cxn>
                  <a:cxn ang="0">
                    <a:pos x="430" y="53"/>
                  </a:cxn>
                  <a:cxn ang="0">
                    <a:pos x="401" y="26"/>
                  </a:cxn>
                  <a:cxn ang="0">
                    <a:pos x="343" y="26"/>
                  </a:cxn>
                  <a:cxn ang="0">
                    <a:pos x="315" y="0"/>
                  </a:cxn>
                  <a:cxn ang="0">
                    <a:pos x="115" y="135"/>
                  </a:cxn>
                  <a:cxn ang="0">
                    <a:pos x="0" y="135"/>
                  </a:cxn>
                </a:cxnLst>
                <a:rect l="0" t="0" r="r" b="b"/>
                <a:pathLst>
                  <a:path w="458" h="434">
                    <a:moveTo>
                      <a:pt x="0" y="135"/>
                    </a:moveTo>
                    <a:lnTo>
                      <a:pt x="0" y="325"/>
                    </a:lnTo>
                    <a:lnTo>
                      <a:pt x="86" y="406"/>
                    </a:lnTo>
                    <a:lnTo>
                      <a:pt x="86" y="434"/>
                    </a:lnTo>
                    <a:lnTo>
                      <a:pt x="343" y="434"/>
                    </a:lnTo>
                    <a:lnTo>
                      <a:pt x="372" y="325"/>
                    </a:lnTo>
                    <a:lnTo>
                      <a:pt x="458" y="189"/>
                    </a:lnTo>
                    <a:lnTo>
                      <a:pt x="430" y="53"/>
                    </a:lnTo>
                    <a:lnTo>
                      <a:pt x="401" y="26"/>
                    </a:lnTo>
                    <a:lnTo>
                      <a:pt x="343" y="26"/>
                    </a:lnTo>
                    <a:lnTo>
                      <a:pt x="315" y="0"/>
                    </a:lnTo>
                    <a:lnTo>
                      <a:pt x="115" y="135"/>
                    </a:lnTo>
                    <a:lnTo>
                      <a:pt x="0" y="135"/>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5" name="Group 45">
              <a:extLst>
                <a:ext uri="{FF2B5EF4-FFF2-40B4-BE49-F238E27FC236}">
                  <a16:creationId xmlns:a16="http://schemas.microsoft.com/office/drawing/2014/main" id="{02AD3D03-42E7-C6EF-AD8D-963177414DAA}"/>
                </a:ext>
              </a:extLst>
            </p:cNvPr>
            <p:cNvGrpSpPr>
              <a:grpSpLocks/>
            </p:cNvGrpSpPr>
            <p:nvPr/>
          </p:nvGrpSpPr>
          <p:grpSpPr bwMode="auto">
            <a:xfrm>
              <a:off x="2520364" y="2507005"/>
              <a:ext cx="461281" cy="437123"/>
              <a:chOff x="1786" y="955"/>
              <a:chExt cx="401" cy="380"/>
            </a:xfrm>
            <a:solidFill>
              <a:schemeClr val="bg1">
                <a:lumMod val="85000"/>
              </a:schemeClr>
            </a:solidFill>
          </p:grpSpPr>
          <p:sp>
            <p:nvSpPr>
              <p:cNvPr id="594" name="Freeform 46">
                <a:extLst>
                  <a:ext uri="{FF2B5EF4-FFF2-40B4-BE49-F238E27FC236}">
                    <a16:creationId xmlns:a16="http://schemas.microsoft.com/office/drawing/2014/main" id="{3A14EFC1-66A6-954D-6465-00097A06ECC1}"/>
                  </a:ext>
                </a:extLst>
              </p:cNvPr>
              <p:cNvSpPr>
                <a:spLocks/>
              </p:cNvSpPr>
              <p:nvPr/>
            </p:nvSpPr>
            <p:spPr bwMode="auto">
              <a:xfrm>
                <a:off x="1786" y="955"/>
                <a:ext cx="401" cy="380"/>
              </a:xfrm>
              <a:custGeom>
                <a:avLst/>
                <a:gdLst/>
                <a:ahLst/>
                <a:cxnLst>
                  <a:cxn ang="0">
                    <a:pos x="0" y="0"/>
                  </a:cxn>
                  <a:cxn ang="0">
                    <a:pos x="0" y="380"/>
                  </a:cxn>
                  <a:cxn ang="0">
                    <a:pos x="373" y="380"/>
                  </a:cxn>
                  <a:cxn ang="0">
                    <a:pos x="373" y="298"/>
                  </a:cxn>
                  <a:cxn ang="0">
                    <a:pos x="344" y="218"/>
                  </a:cxn>
                  <a:cxn ang="0">
                    <a:pos x="401" y="190"/>
                  </a:cxn>
                  <a:cxn ang="0">
                    <a:pos x="373" y="136"/>
                  </a:cxn>
                  <a:cxn ang="0">
                    <a:pos x="287" y="109"/>
                  </a:cxn>
                  <a:cxn ang="0">
                    <a:pos x="287" y="0"/>
                  </a:cxn>
                  <a:cxn ang="0">
                    <a:pos x="0" y="0"/>
                  </a:cxn>
                </a:cxnLst>
                <a:rect l="0" t="0" r="r" b="b"/>
                <a:pathLst>
                  <a:path w="401" h="380">
                    <a:moveTo>
                      <a:pt x="0" y="0"/>
                    </a:moveTo>
                    <a:lnTo>
                      <a:pt x="0" y="380"/>
                    </a:lnTo>
                    <a:lnTo>
                      <a:pt x="373" y="380"/>
                    </a:lnTo>
                    <a:lnTo>
                      <a:pt x="373" y="298"/>
                    </a:lnTo>
                    <a:lnTo>
                      <a:pt x="344" y="218"/>
                    </a:lnTo>
                    <a:lnTo>
                      <a:pt x="401" y="190"/>
                    </a:lnTo>
                    <a:lnTo>
                      <a:pt x="373" y="136"/>
                    </a:lnTo>
                    <a:lnTo>
                      <a:pt x="287" y="109"/>
                    </a:lnTo>
                    <a:lnTo>
                      <a:pt x="287"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95" name="Freeform 47">
                <a:extLst>
                  <a:ext uri="{FF2B5EF4-FFF2-40B4-BE49-F238E27FC236}">
                    <a16:creationId xmlns:a16="http://schemas.microsoft.com/office/drawing/2014/main" id="{A132ADE1-0C0D-44CA-65B5-F6A89E8D5CD1}"/>
                  </a:ext>
                </a:extLst>
              </p:cNvPr>
              <p:cNvSpPr>
                <a:spLocks/>
              </p:cNvSpPr>
              <p:nvPr/>
            </p:nvSpPr>
            <p:spPr bwMode="auto">
              <a:xfrm>
                <a:off x="1786" y="955"/>
                <a:ext cx="401" cy="380"/>
              </a:xfrm>
              <a:custGeom>
                <a:avLst/>
                <a:gdLst/>
                <a:ahLst/>
                <a:cxnLst>
                  <a:cxn ang="0">
                    <a:pos x="0" y="0"/>
                  </a:cxn>
                  <a:cxn ang="0">
                    <a:pos x="0" y="380"/>
                  </a:cxn>
                  <a:cxn ang="0">
                    <a:pos x="373" y="380"/>
                  </a:cxn>
                  <a:cxn ang="0">
                    <a:pos x="373" y="298"/>
                  </a:cxn>
                  <a:cxn ang="0">
                    <a:pos x="344" y="218"/>
                  </a:cxn>
                  <a:cxn ang="0">
                    <a:pos x="401" y="190"/>
                  </a:cxn>
                  <a:cxn ang="0">
                    <a:pos x="373" y="136"/>
                  </a:cxn>
                  <a:cxn ang="0">
                    <a:pos x="287" y="109"/>
                  </a:cxn>
                  <a:cxn ang="0">
                    <a:pos x="287" y="0"/>
                  </a:cxn>
                  <a:cxn ang="0">
                    <a:pos x="0" y="0"/>
                  </a:cxn>
                </a:cxnLst>
                <a:rect l="0" t="0" r="r" b="b"/>
                <a:pathLst>
                  <a:path w="401" h="380">
                    <a:moveTo>
                      <a:pt x="0" y="0"/>
                    </a:moveTo>
                    <a:lnTo>
                      <a:pt x="0" y="380"/>
                    </a:lnTo>
                    <a:lnTo>
                      <a:pt x="373" y="380"/>
                    </a:lnTo>
                    <a:lnTo>
                      <a:pt x="373" y="298"/>
                    </a:lnTo>
                    <a:lnTo>
                      <a:pt x="344" y="218"/>
                    </a:lnTo>
                    <a:lnTo>
                      <a:pt x="401" y="190"/>
                    </a:lnTo>
                    <a:lnTo>
                      <a:pt x="373" y="136"/>
                    </a:lnTo>
                    <a:lnTo>
                      <a:pt x="287" y="109"/>
                    </a:lnTo>
                    <a:lnTo>
                      <a:pt x="287"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6" name="Group 48">
              <a:extLst>
                <a:ext uri="{FF2B5EF4-FFF2-40B4-BE49-F238E27FC236}">
                  <a16:creationId xmlns:a16="http://schemas.microsoft.com/office/drawing/2014/main" id="{FA10D5AC-9269-2A02-6D83-E28F4148EAE8}"/>
                </a:ext>
              </a:extLst>
            </p:cNvPr>
            <p:cNvGrpSpPr>
              <a:grpSpLocks/>
            </p:cNvGrpSpPr>
            <p:nvPr/>
          </p:nvGrpSpPr>
          <p:grpSpPr bwMode="auto">
            <a:xfrm>
              <a:off x="2816000" y="2038823"/>
              <a:ext cx="626927" cy="625776"/>
              <a:chOff x="2043" y="548"/>
              <a:chExt cx="545" cy="544"/>
            </a:xfrm>
            <a:solidFill>
              <a:schemeClr val="bg1">
                <a:lumMod val="85000"/>
              </a:schemeClr>
            </a:solidFill>
          </p:grpSpPr>
          <p:sp>
            <p:nvSpPr>
              <p:cNvPr id="592" name="Freeform 49">
                <a:extLst>
                  <a:ext uri="{FF2B5EF4-FFF2-40B4-BE49-F238E27FC236}">
                    <a16:creationId xmlns:a16="http://schemas.microsoft.com/office/drawing/2014/main" id="{518BE62A-C7AB-3BEF-9C8B-ADED402F1E96}"/>
                  </a:ext>
                </a:extLst>
              </p:cNvPr>
              <p:cNvSpPr>
                <a:spLocks/>
              </p:cNvSpPr>
              <p:nvPr/>
            </p:nvSpPr>
            <p:spPr bwMode="auto">
              <a:xfrm>
                <a:off x="2043" y="548"/>
                <a:ext cx="545" cy="544"/>
              </a:xfrm>
              <a:custGeom>
                <a:avLst/>
                <a:gdLst/>
                <a:ahLst/>
                <a:cxnLst>
                  <a:cxn ang="0">
                    <a:pos x="0" y="408"/>
                  </a:cxn>
                  <a:cxn ang="0">
                    <a:pos x="29" y="408"/>
                  </a:cxn>
                  <a:cxn ang="0">
                    <a:pos x="29" y="517"/>
                  </a:cxn>
                  <a:cxn ang="0">
                    <a:pos x="115" y="544"/>
                  </a:cxn>
                  <a:cxn ang="0">
                    <a:pos x="230" y="462"/>
                  </a:cxn>
                  <a:cxn ang="0">
                    <a:pos x="259" y="354"/>
                  </a:cxn>
                  <a:cxn ang="0">
                    <a:pos x="373" y="299"/>
                  </a:cxn>
                  <a:cxn ang="0">
                    <a:pos x="517" y="299"/>
                  </a:cxn>
                  <a:cxn ang="0">
                    <a:pos x="517" y="163"/>
                  </a:cxn>
                  <a:cxn ang="0">
                    <a:pos x="545" y="163"/>
                  </a:cxn>
                  <a:cxn ang="0">
                    <a:pos x="545" y="109"/>
                  </a:cxn>
                  <a:cxn ang="0">
                    <a:pos x="402" y="82"/>
                  </a:cxn>
                  <a:cxn ang="0">
                    <a:pos x="402" y="0"/>
                  </a:cxn>
                  <a:cxn ang="0">
                    <a:pos x="373" y="0"/>
                  </a:cxn>
                  <a:cxn ang="0">
                    <a:pos x="345" y="54"/>
                  </a:cxn>
                  <a:cxn ang="0">
                    <a:pos x="115" y="163"/>
                  </a:cxn>
                  <a:cxn ang="0">
                    <a:pos x="29" y="299"/>
                  </a:cxn>
                  <a:cxn ang="0">
                    <a:pos x="0" y="408"/>
                  </a:cxn>
                </a:cxnLst>
                <a:rect l="0" t="0" r="r" b="b"/>
                <a:pathLst>
                  <a:path w="545" h="544">
                    <a:moveTo>
                      <a:pt x="0" y="408"/>
                    </a:moveTo>
                    <a:lnTo>
                      <a:pt x="29" y="408"/>
                    </a:lnTo>
                    <a:lnTo>
                      <a:pt x="29" y="517"/>
                    </a:lnTo>
                    <a:lnTo>
                      <a:pt x="115" y="544"/>
                    </a:lnTo>
                    <a:lnTo>
                      <a:pt x="230" y="462"/>
                    </a:lnTo>
                    <a:lnTo>
                      <a:pt x="259" y="354"/>
                    </a:lnTo>
                    <a:lnTo>
                      <a:pt x="373" y="299"/>
                    </a:lnTo>
                    <a:lnTo>
                      <a:pt x="517" y="299"/>
                    </a:lnTo>
                    <a:lnTo>
                      <a:pt x="517" y="163"/>
                    </a:lnTo>
                    <a:lnTo>
                      <a:pt x="545" y="163"/>
                    </a:lnTo>
                    <a:lnTo>
                      <a:pt x="545" y="109"/>
                    </a:lnTo>
                    <a:lnTo>
                      <a:pt x="402" y="82"/>
                    </a:lnTo>
                    <a:lnTo>
                      <a:pt x="402" y="0"/>
                    </a:lnTo>
                    <a:lnTo>
                      <a:pt x="373" y="0"/>
                    </a:lnTo>
                    <a:lnTo>
                      <a:pt x="345" y="54"/>
                    </a:lnTo>
                    <a:lnTo>
                      <a:pt x="115" y="163"/>
                    </a:lnTo>
                    <a:lnTo>
                      <a:pt x="29" y="299"/>
                    </a:lnTo>
                    <a:lnTo>
                      <a:pt x="0" y="408"/>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93" name="Freeform 50">
                <a:extLst>
                  <a:ext uri="{FF2B5EF4-FFF2-40B4-BE49-F238E27FC236}">
                    <a16:creationId xmlns:a16="http://schemas.microsoft.com/office/drawing/2014/main" id="{8804E6A4-4A28-8EE0-7F9C-A94B0FFD173B}"/>
                  </a:ext>
                </a:extLst>
              </p:cNvPr>
              <p:cNvSpPr>
                <a:spLocks/>
              </p:cNvSpPr>
              <p:nvPr/>
            </p:nvSpPr>
            <p:spPr bwMode="auto">
              <a:xfrm>
                <a:off x="2043" y="548"/>
                <a:ext cx="545" cy="544"/>
              </a:xfrm>
              <a:custGeom>
                <a:avLst/>
                <a:gdLst/>
                <a:ahLst/>
                <a:cxnLst>
                  <a:cxn ang="0">
                    <a:pos x="0" y="408"/>
                  </a:cxn>
                  <a:cxn ang="0">
                    <a:pos x="29" y="408"/>
                  </a:cxn>
                  <a:cxn ang="0">
                    <a:pos x="29" y="517"/>
                  </a:cxn>
                  <a:cxn ang="0">
                    <a:pos x="115" y="544"/>
                  </a:cxn>
                  <a:cxn ang="0">
                    <a:pos x="230" y="462"/>
                  </a:cxn>
                  <a:cxn ang="0">
                    <a:pos x="259" y="354"/>
                  </a:cxn>
                  <a:cxn ang="0">
                    <a:pos x="373" y="299"/>
                  </a:cxn>
                  <a:cxn ang="0">
                    <a:pos x="517" y="299"/>
                  </a:cxn>
                  <a:cxn ang="0">
                    <a:pos x="517" y="163"/>
                  </a:cxn>
                  <a:cxn ang="0">
                    <a:pos x="545" y="163"/>
                  </a:cxn>
                  <a:cxn ang="0">
                    <a:pos x="545" y="109"/>
                  </a:cxn>
                  <a:cxn ang="0">
                    <a:pos x="402" y="82"/>
                  </a:cxn>
                  <a:cxn ang="0">
                    <a:pos x="402" y="0"/>
                  </a:cxn>
                  <a:cxn ang="0">
                    <a:pos x="373" y="0"/>
                  </a:cxn>
                  <a:cxn ang="0">
                    <a:pos x="345" y="54"/>
                  </a:cxn>
                  <a:cxn ang="0">
                    <a:pos x="115" y="163"/>
                  </a:cxn>
                  <a:cxn ang="0">
                    <a:pos x="29" y="299"/>
                  </a:cxn>
                  <a:cxn ang="0">
                    <a:pos x="0" y="408"/>
                  </a:cxn>
                </a:cxnLst>
                <a:rect l="0" t="0" r="r" b="b"/>
                <a:pathLst>
                  <a:path w="545" h="544">
                    <a:moveTo>
                      <a:pt x="0" y="408"/>
                    </a:moveTo>
                    <a:lnTo>
                      <a:pt x="29" y="408"/>
                    </a:lnTo>
                    <a:lnTo>
                      <a:pt x="29" y="517"/>
                    </a:lnTo>
                    <a:lnTo>
                      <a:pt x="115" y="544"/>
                    </a:lnTo>
                    <a:lnTo>
                      <a:pt x="230" y="462"/>
                    </a:lnTo>
                    <a:lnTo>
                      <a:pt x="259" y="354"/>
                    </a:lnTo>
                    <a:lnTo>
                      <a:pt x="373" y="299"/>
                    </a:lnTo>
                    <a:lnTo>
                      <a:pt x="517" y="299"/>
                    </a:lnTo>
                    <a:lnTo>
                      <a:pt x="517" y="163"/>
                    </a:lnTo>
                    <a:lnTo>
                      <a:pt x="545" y="163"/>
                    </a:lnTo>
                    <a:lnTo>
                      <a:pt x="545" y="109"/>
                    </a:lnTo>
                    <a:lnTo>
                      <a:pt x="402" y="82"/>
                    </a:lnTo>
                    <a:lnTo>
                      <a:pt x="402" y="0"/>
                    </a:lnTo>
                    <a:lnTo>
                      <a:pt x="373" y="0"/>
                    </a:lnTo>
                    <a:lnTo>
                      <a:pt x="345" y="54"/>
                    </a:lnTo>
                    <a:lnTo>
                      <a:pt x="115" y="163"/>
                    </a:lnTo>
                    <a:lnTo>
                      <a:pt x="29" y="299"/>
                    </a:lnTo>
                    <a:lnTo>
                      <a:pt x="0" y="408"/>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7" name="Group 51">
              <a:extLst>
                <a:ext uri="{FF2B5EF4-FFF2-40B4-BE49-F238E27FC236}">
                  <a16:creationId xmlns:a16="http://schemas.microsoft.com/office/drawing/2014/main" id="{B97C51DE-580B-FA58-37D5-6F1D0CCF15AD}"/>
                </a:ext>
              </a:extLst>
            </p:cNvPr>
            <p:cNvGrpSpPr>
              <a:grpSpLocks/>
            </p:cNvGrpSpPr>
            <p:nvPr/>
          </p:nvGrpSpPr>
          <p:grpSpPr bwMode="auto">
            <a:xfrm>
              <a:off x="3347447" y="2195269"/>
              <a:ext cx="690195" cy="406065"/>
              <a:chOff x="2505" y="684"/>
              <a:chExt cx="600" cy="353"/>
            </a:xfrm>
            <a:solidFill>
              <a:schemeClr val="bg1">
                <a:lumMod val="85000"/>
              </a:schemeClr>
            </a:solidFill>
          </p:grpSpPr>
          <p:sp>
            <p:nvSpPr>
              <p:cNvPr id="590" name="Freeform 52">
                <a:extLst>
                  <a:ext uri="{FF2B5EF4-FFF2-40B4-BE49-F238E27FC236}">
                    <a16:creationId xmlns:a16="http://schemas.microsoft.com/office/drawing/2014/main" id="{BD9A70BA-8350-8771-AA25-77900CE53F3C}"/>
                  </a:ext>
                </a:extLst>
              </p:cNvPr>
              <p:cNvSpPr>
                <a:spLocks/>
              </p:cNvSpPr>
              <p:nvPr/>
            </p:nvSpPr>
            <p:spPr bwMode="auto">
              <a:xfrm>
                <a:off x="2505" y="684"/>
                <a:ext cx="600" cy="353"/>
              </a:xfrm>
              <a:custGeom>
                <a:avLst/>
                <a:gdLst/>
                <a:ahLst/>
                <a:cxnLst>
                  <a:cxn ang="0">
                    <a:pos x="86" y="0"/>
                  </a:cxn>
                  <a:cxn ang="0">
                    <a:pos x="86" y="27"/>
                  </a:cxn>
                  <a:cxn ang="0">
                    <a:pos x="57" y="27"/>
                  </a:cxn>
                  <a:cxn ang="0">
                    <a:pos x="57" y="218"/>
                  </a:cxn>
                  <a:cxn ang="0">
                    <a:pos x="0" y="353"/>
                  </a:cxn>
                  <a:cxn ang="0">
                    <a:pos x="200" y="353"/>
                  </a:cxn>
                  <a:cxn ang="0">
                    <a:pos x="371" y="299"/>
                  </a:cxn>
                  <a:cxn ang="0">
                    <a:pos x="400" y="353"/>
                  </a:cxn>
                  <a:cxn ang="0">
                    <a:pos x="514" y="353"/>
                  </a:cxn>
                  <a:cxn ang="0">
                    <a:pos x="514" y="245"/>
                  </a:cxn>
                  <a:cxn ang="0">
                    <a:pos x="600" y="190"/>
                  </a:cxn>
                  <a:cxn ang="0">
                    <a:pos x="486" y="163"/>
                  </a:cxn>
                  <a:cxn ang="0">
                    <a:pos x="514" y="109"/>
                  </a:cxn>
                  <a:cxn ang="0">
                    <a:pos x="400" y="55"/>
                  </a:cxn>
                  <a:cxn ang="0">
                    <a:pos x="486" y="55"/>
                  </a:cxn>
                  <a:cxn ang="0">
                    <a:pos x="400" y="0"/>
                  </a:cxn>
                  <a:cxn ang="0">
                    <a:pos x="86" y="0"/>
                  </a:cxn>
                </a:cxnLst>
                <a:rect l="0" t="0" r="r" b="b"/>
                <a:pathLst>
                  <a:path w="600" h="353">
                    <a:moveTo>
                      <a:pt x="86" y="0"/>
                    </a:moveTo>
                    <a:lnTo>
                      <a:pt x="86" y="27"/>
                    </a:lnTo>
                    <a:lnTo>
                      <a:pt x="57" y="27"/>
                    </a:lnTo>
                    <a:lnTo>
                      <a:pt x="57" y="218"/>
                    </a:lnTo>
                    <a:lnTo>
                      <a:pt x="0" y="353"/>
                    </a:lnTo>
                    <a:lnTo>
                      <a:pt x="200" y="353"/>
                    </a:lnTo>
                    <a:lnTo>
                      <a:pt x="371" y="299"/>
                    </a:lnTo>
                    <a:lnTo>
                      <a:pt x="400" y="353"/>
                    </a:lnTo>
                    <a:lnTo>
                      <a:pt x="514" y="353"/>
                    </a:lnTo>
                    <a:lnTo>
                      <a:pt x="514" y="245"/>
                    </a:lnTo>
                    <a:lnTo>
                      <a:pt x="600" y="190"/>
                    </a:lnTo>
                    <a:lnTo>
                      <a:pt x="486" y="163"/>
                    </a:lnTo>
                    <a:lnTo>
                      <a:pt x="514" y="109"/>
                    </a:lnTo>
                    <a:lnTo>
                      <a:pt x="400" y="55"/>
                    </a:lnTo>
                    <a:lnTo>
                      <a:pt x="486" y="55"/>
                    </a:lnTo>
                    <a:lnTo>
                      <a:pt x="400" y="0"/>
                    </a:lnTo>
                    <a:lnTo>
                      <a:pt x="86"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91" name="Freeform 53">
                <a:extLst>
                  <a:ext uri="{FF2B5EF4-FFF2-40B4-BE49-F238E27FC236}">
                    <a16:creationId xmlns:a16="http://schemas.microsoft.com/office/drawing/2014/main" id="{DA3BF4E7-209B-7C88-D06D-6C02BCCEF675}"/>
                  </a:ext>
                </a:extLst>
              </p:cNvPr>
              <p:cNvSpPr>
                <a:spLocks/>
              </p:cNvSpPr>
              <p:nvPr/>
            </p:nvSpPr>
            <p:spPr bwMode="auto">
              <a:xfrm>
                <a:off x="2505" y="684"/>
                <a:ext cx="600" cy="353"/>
              </a:xfrm>
              <a:custGeom>
                <a:avLst/>
                <a:gdLst/>
                <a:ahLst/>
                <a:cxnLst>
                  <a:cxn ang="0">
                    <a:pos x="86" y="0"/>
                  </a:cxn>
                  <a:cxn ang="0">
                    <a:pos x="86" y="27"/>
                  </a:cxn>
                  <a:cxn ang="0">
                    <a:pos x="57" y="27"/>
                  </a:cxn>
                  <a:cxn ang="0">
                    <a:pos x="57" y="218"/>
                  </a:cxn>
                  <a:cxn ang="0">
                    <a:pos x="0" y="353"/>
                  </a:cxn>
                  <a:cxn ang="0">
                    <a:pos x="200" y="353"/>
                  </a:cxn>
                  <a:cxn ang="0">
                    <a:pos x="371" y="299"/>
                  </a:cxn>
                  <a:cxn ang="0">
                    <a:pos x="400" y="353"/>
                  </a:cxn>
                  <a:cxn ang="0">
                    <a:pos x="514" y="353"/>
                  </a:cxn>
                  <a:cxn ang="0">
                    <a:pos x="514" y="245"/>
                  </a:cxn>
                  <a:cxn ang="0">
                    <a:pos x="600" y="190"/>
                  </a:cxn>
                  <a:cxn ang="0">
                    <a:pos x="486" y="163"/>
                  </a:cxn>
                  <a:cxn ang="0">
                    <a:pos x="514" y="109"/>
                  </a:cxn>
                  <a:cxn ang="0">
                    <a:pos x="400" y="55"/>
                  </a:cxn>
                  <a:cxn ang="0">
                    <a:pos x="486" y="55"/>
                  </a:cxn>
                  <a:cxn ang="0">
                    <a:pos x="400" y="0"/>
                  </a:cxn>
                  <a:cxn ang="0">
                    <a:pos x="86" y="0"/>
                  </a:cxn>
                </a:cxnLst>
                <a:rect l="0" t="0" r="r" b="b"/>
                <a:pathLst>
                  <a:path w="600" h="353">
                    <a:moveTo>
                      <a:pt x="86" y="0"/>
                    </a:moveTo>
                    <a:lnTo>
                      <a:pt x="86" y="27"/>
                    </a:lnTo>
                    <a:lnTo>
                      <a:pt x="57" y="27"/>
                    </a:lnTo>
                    <a:lnTo>
                      <a:pt x="57" y="218"/>
                    </a:lnTo>
                    <a:lnTo>
                      <a:pt x="0" y="353"/>
                    </a:lnTo>
                    <a:lnTo>
                      <a:pt x="200" y="353"/>
                    </a:lnTo>
                    <a:lnTo>
                      <a:pt x="371" y="299"/>
                    </a:lnTo>
                    <a:lnTo>
                      <a:pt x="400" y="353"/>
                    </a:lnTo>
                    <a:lnTo>
                      <a:pt x="514" y="353"/>
                    </a:lnTo>
                    <a:lnTo>
                      <a:pt x="514" y="245"/>
                    </a:lnTo>
                    <a:lnTo>
                      <a:pt x="600" y="190"/>
                    </a:lnTo>
                    <a:lnTo>
                      <a:pt x="486" y="163"/>
                    </a:lnTo>
                    <a:lnTo>
                      <a:pt x="514" y="109"/>
                    </a:lnTo>
                    <a:lnTo>
                      <a:pt x="400" y="55"/>
                    </a:lnTo>
                    <a:lnTo>
                      <a:pt x="486" y="55"/>
                    </a:lnTo>
                    <a:lnTo>
                      <a:pt x="400" y="0"/>
                    </a:lnTo>
                    <a:lnTo>
                      <a:pt x="86"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58" name="Group 54">
              <a:extLst>
                <a:ext uri="{FF2B5EF4-FFF2-40B4-BE49-F238E27FC236}">
                  <a16:creationId xmlns:a16="http://schemas.microsoft.com/office/drawing/2014/main" id="{433F86FF-A947-3967-9C65-475329847984}"/>
                </a:ext>
              </a:extLst>
            </p:cNvPr>
            <p:cNvGrpSpPr>
              <a:grpSpLocks/>
            </p:cNvGrpSpPr>
            <p:nvPr/>
          </p:nvGrpSpPr>
          <p:grpSpPr bwMode="auto">
            <a:xfrm>
              <a:off x="2914925" y="2382772"/>
              <a:ext cx="495790" cy="592416"/>
              <a:chOff x="2129" y="847"/>
              <a:chExt cx="431" cy="515"/>
            </a:xfrm>
            <a:solidFill>
              <a:schemeClr val="bg1">
                <a:lumMod val="85000"/>
              </a:schemeClr>
            </a:solidFill>
          </p:grpSpPr>
          <p:sp>
            <p:nvSpPr>
              <p:cNvPr id="588" name="Freeform 55">
                <a:extLst>
                  <a:ext uri="{FF2B5EF4-FFF2-40B4-BE49-F238E27FC236}">
                    <a16:creationId xmlns:a16="http://schemas.microsoft.com/office/drawing/2014/main" id="{86DB1827-7552-7441-0E58-40FFFCD77965}"/>
                  </a:ext>
                </a:extLst>
              </p:cNvPr>
              <p:cNvSpPr>
                <a:spLocks/>
              </p:cNvSpPr>
              <p:nvPr/>
            </p:nvSpPr>
            <p:spPr bwMode="auto">
              <a:xfrm>
                <a:off x="2129" y="847"/>
                <a:ext cx="431" cy="515"/>
              </a:xfrm>
              <a:custGeom>
                <a:avLst/>
                <a:gdLst/>
                <a:ahLst/>
                <a:cxnLst>
                  <a:cxn ang="0">
                    <a:pos x="29" y="244"/>
                  </a:cxn>
                  <a:cxn ang="0">
                    <a:pos x="58" y="299"/>
                  </a:cxn>
                  <a:cxn ang="0">
                    <a:pos x="0" y="326"/>
                  </a:cxn>
                  <a:cxn ang="0">
                    <a:pos x="29" y="406"/>
                  </a:cxn>
                  <a:cxn ang="0">
                    <a:pos x="144" y="515"/>
                  </a:cxn>
                  <a:cxn ang="0">
                    <a:pos x="288" y="434"/>
                  </a:cxn>
                  <a:cxn ang="0">
                    <a:pos x="345" y="434"/>
                  </a:cxn>
                  <a:cxn ang="0">
                    <a:pos x="345" y="515"/>
                  </a:cxn>
                  <a:cxn ang="0">
                    <a:pos x="403" y="461"/>
                  </a:cxn>
                  <a:cxn ang="0">
                    <a:pos x="431" y="190"/>
                  </a:cxn>
                  <a:cxn ang="0">
                    <a:pos x="374" y="190"/>
                  </a:cxn>
                  <a:cxn ang="0">
                    <a:pos x="431" y="54"/>
                  </a:cxn>
                  <a:cxn ang="0">
                    <a:pos x="431" y="0"/>
                  </a:cxn>
                  <a:cxn ang="0">
                    <a:pos x="288" y="0"/>
                  </a:cxn>
                  <a:cxn ang="0">
                    <a:pos x="172" y="54"/>
                  </a:cxn>
                  <a:cxn ang="0">
                    <a:pos x="144" y="163"/>
                  </a:cxn>
                  <a:cxn ang="0">
                    <a:pos x="29" y="244"/>
                  </a:cxn>
                </a:cxnLst>
                <a:rect l="0" t="0" r="r" b="b"/>
                <a:pathLst>
                  <a:path w="431" h="515">
                    <a:moveTo>
                      <a:pt x="29" y="244"/>
                    </a:moveTo>
                    <a:lnTo>
                      <a:pt x="58" y="299"/>
                    </a:lnTo>
                    <a:lnTo>
                      <a:pt x="0" y="326"/>
                    </a:lnTo>
                    <a:lnTo>
                      <a:pt x="29" y="406"/>
                    </a:lnTo>
                    <a:lnTo>
                      <a:pt x="144" y="515"/>
                    </a:lnTo>
                    <a:lnTo>
                      <a:pt x="288" y="434"/>
                    </a:lnTo>
                    <a:lnTo>
                      <a:pt x="345" y="434"/>
                    </a:lnTo>
                    <a:lnTo>
                      <a:pt x="345" y="515"/>
                    </a:lnTo>
                    <a:lnTo>
                      <a:pt x="403" y="461"/>
                    </a:lnTo>
                    <a:lnTo>
                      <a:pt x="431" y="190"/>
                    </a:lnTo>
                    <a:lnTo>
                      <a:pt x="374" y="190"/>
                    </a:lnTo>
                    <a:lnTo>
                      <a:pt x="431" y="54"/>
                    </a:lnTo>
                    <a:lnTo>
                      <a:pt x="431" y="0"/>
                    </a:lnTo>
                    <a:lnTo>
                      <a:pt x="288" y="0"/>
                    </a:lnTo>
                    <a:lnTo>
                      <a:pt x="172" y="54"/>
                    </a:lnTo>
                    <a:lnTo>
                      <a:pt x="144" y="163"/>
                    </a:lnTo>
                    <a:lnTo>
                      <a:pt x="29" y="24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89" name="Freeform 56">
                <a:extLst>
                  <a:ext uri="{FF2B5EF4-FFF2-40B4-BE49-F238E27FC236}">
                    <a16:creationId xmlns:a16="http://schemas.microsoft.com/office/drawing/2014/main" id="{A08DA2A9-F6BF-3B4C-F6CF-E0453AFB3E73}"/>
                  </a:ext>
                </a:extLst>
              </p:cNvPr>
              <p:cNvSpPr>
                <a:spLocks/>
              </p:cNvSpPr>
              <p:nvPr/>
            </p:nvSpPr>
            <p:spPr bwMode="auto">
              <a:xfrm>
                <a:off x="2129" y="847"/>
                <a:ext cx="431" cy="515"/>
              </a:xfrm>
              <a:custGeom>
                <a:avLst/>
                <a:gdLst/>
                <a:ahLst/>
                <a:cxnLst>
                  <a:cxn ang="0">
                    <a:pos x="29" y="244"/>
                  </a:cxn>
                  <a:cxn ang="0">
                    <a:pos x="58" y="299"/>
                  </a:cxn>
                  <a:cxn ang="0">
                    <a:pos x="0" y="326"/>
                  </a:cxn>
                  <a:cxn ang="0">
                    <a:pos x="29" y="406"/>
                  </a:cxn>
                  <a:cxn ang="0">
                    <a:pos x="144" y="515"/>
                  </a:cxn>
                  <a:cxn ang="0">
                    <a:pos x="288" y="434"/>
                  </a:cxn>
                  <a:cxn ang="0">
                    <a:pos x="345" y="434"/>
                  </a:cxn>
                  <a:cxn ang="0">
                    <a:pos x="345" y="515"/>
                  </a:cxn>
                  <a:cxn ang="0">
                    <a:pos x="403" y="461"/>
                  </a:cxn>
                  <a:cxn ang="0">
                    <a:pos x="431" y="190"/>
                  </a:cxn>
                  <a:cxn ang="0">
                    <a:pos x="374" y="190"/>
                  </a:cxn>
                  <a:cxn ang="0">
                    <a:pos x="431" y="54"/>
                  </a:cxn>
                  <a:cxn ang="0">
                    <a:pos x="431" y="0"/>
                  </a:cxn>
                  <a:cxn ang="0">
                    <a:pos x="288" y="0"/>
                  </a:cxn>
                  <a:cxn ang="0">
                    <a:pos x="172" y="54"/>
                  </a:cxn>
                  <a:cxn ang="0">
                    <a:pos x="144" y="163"/>
                  </a:cxn>
                  <a:cxn ang="0">
                    <a:pos x="29" y="244"/>
                  </a:cxn>
                </a:cxnLst>
                <a:rect l="0" t="0" r="r" b="b"/>
                <a:pathLst>
                  <a:path w="431" h="515">
                    <a:moveTo>
                      <a:pt x="29" y="244"/>
                    </a:moveTo>
                    <a:lnTo>
                      <a:pt x="58" y="299"/>
                    </a:lnTo>
                    <a:lnTo>
                      <a:pt x="0" y="326"/>
                    </a:lnTo>
                    <a:lnTo>
                      <a:pt x="29" y="406"/>
                    </a:lnTo>
                    <a:lnTo>
                      <a:pt x="144" y="515"/>
                    </a:lnTo>
                    <a:lnTo>
                      <a:pt x="288" y="434"/>
                    </a:lnTo>
                    <a:lnTo>
                      <a:pt x="345" y="434"/>
                    </a:lnTo>
                    <a:lnTo>
                      <a:pt x="345" y="515"/>
                    </a:lnTo>
                    <a:lnTo>
                      <a:pt x="403" y="461"/>
                    </a:lnTo>
                    <a:lnTo>
                      <a:pt x="431" y="190"/>
                    </a:lnTo>
                    <a:lnTo>
                      <a:pt x="374" y="190"/>
                    </a:lnTo>
                    <a:lnTo>
                      <a:pt x="431" y="54"/>
                    </a:lnTo>
                    <a:lnTo>
                      <a:pt x="431" y="0"/>
                    </a:lnTo>
                    <a:lnTo>
                      <a:pt x="288" y="0"/>
                    </a:lnTo>
                    <a:lnTo>
                      <a:pt x="172" y="54"/>
                    </a:lnTo>
                    <a:lnTo>
                      <a:pt x="144" y="163"/>
                    </a:lnTo>
                    <a:lnTo>
                      <a:pt x="29" y="24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159" name="Freeform 58">
              <a:extLst>
                <a:ext uri="{FF2B5EF4-FFF2-40B4-BE49-F238E27FC236}">
                  <a16:creationId xmlns:a16="http://schemas.microsoft.com/office/drawing/2014/main" id="{24E3974C-EB87-0929-18A6-EED99FF8CD3B}"/>
                </a:ext>
              </a:extLst>
            </p:cNvPr>
            <p:cNvSpPr>
              <a:spLocks/>
            </p:cNvSpPr>
            <p:nvPr/>
          </p:nvSpPr>
          <p:spPr bwMode="auto">
            <a:xfrm>
              <a:off x="3312938" y="2539216"/>
              <a:ext cx="594718" cy="592416"/>
            </a:xfrm>
            <a:custGeom>
              <a:avLst/>
              <a:gdLst/>
              <a:ahLst/>
              <a:cxnLst>
                <a:cxn ang="0">
                  <a:pos x="86" y="54"/>
                </a:cxn>
                <a:cxn ang="0">
                  <a:pos x="57" y="325"/>
                </a:cxn>
                <a:cxn ang="0">
                  <a:pos x="0" y="379"/>
                </a:cxn>
                <a:cxn ang="0">
                  <a:pos x="0" y="461"/>
                </a:cxn>
                <a:cxn ang="0">
                  <a:pos x="28" y="515"/>
                </a:cxn>
                <a:cxn ang="0">
                  <a:pos x="287" y="515"/>
                </a:cxn>
                <a:cxn ang="0">
                  <a:pos x="316" y="488"/>
                </a:cxn>
                <a:cxn ang="0">
                  <a:pos x="201" y="488"/>
                </a:cxn>
                <a:cxn ang="0">
                  <a:pos x="230" y="407"/>
                </a:cxn>
                <a:cxn ang="0">
                  <a:pos x="287" y="461"/>
                </a:cxn>
                <a:cxn ang="0">
                  <a:pos x="287" y="407"/>
                </a:cxn>
                <a:cxn ang="0">
                  <a:pos x="459" y="245"/>
                </a:cxn>
                <a:cxn ang="0">
                  <a:pos x="517" y="109"/>
                </a:cxn>
                <a:cxn ang="0">
                  <a:pos x="459" y="109"/>
                </a:cxn>
                <a:cxn ang="0">
                  <a:pos x="344" y="109"/>
                </a:cxn>
                <a:cxn ang="0">
                  <a:pos x="430" y="54"/>
                </a:cxn>
                <a:cxn ang="0">
                  <a:pos x="401" y="0"/>
                </a:cxn>
                <a:cxn ang="0">
                  <a:pos x="230" y="54"/>
                </a:cxn>
                <a:cxn ang="0">
                  <a:pos x="86" y="54"/>
                </a:cxn>
              </a:cxnLst>
              <a:rect l="0" t="0" r="r" b="b"/>
              <a:pathLst>
                <a:path w="517" h="515">
                  <a:moveTo>
                    <a:pt x="86" y="54"/>
                  </a:moveTo>
                  <a:lnTo>
                    <a:pt x="57" y="325"/>
                  </a:lnTo>
                  <a:lnTo>
                    <a:pt x="0" y="379"/>
                  </a:lnTo>
                  <a:lnTo>
                    <a:pt x="0" y="461"/>
                  </a:lnTo>
                  <a:lnTo>
                    <a:pt x="28" y="515"/>
                  </a:lnTo>
                  <a:lnTo>
                    <a:pt x="287" y="515"/>
                  </a:lnTo>
                  <a:lnTo>
                    <a:pt x="316" y="488"/>
                  </a:lnTo>
                  <a:lnTo>
                    <a:pt x="201" y="488"/>
                  </a:lnTo>
                  <a:lnTo>
                    <a:pt x="230" y="407"/>
                  </a:lnTo>
                  <a:lnTo>
                    <a:pt x="287" y="461"/>
                  </a:lnTo>
                  <a:lnTo>
                    <a:pt x="287" y="407"/>
                  </a:lnTo>
                  <a:lnTo>
                    <a:pt x="459" y="245"/>
                  </a:lnTo>
                  <a:lnTo>
                    <a:pt x="517" y="109"/>
                  </a:lnTo>
                  <a:lnTo>
                    <a:pt x="459" y="109"/>
                  </a:lnTo>
                  <a:lnTo>
                    <a:pt x="344" y="109"/>
                  </a:lnTo>
                  <a:lnTo>
                    <a:pt x="430" y="54"/>
                  </a:lnTo>
                  <a:lnTo>
                    <a:pt x="401" y="0"/>
                  </a:lnTo>
                  <a:lnTo>
                    <a:pt x="230" y="54"/>
                  </a:lnTo>
                  <a:lnTo>
                    <a:pt x="86" y="54"/>
                  </a:lnTo>
                  <a:close/>
                </a:path>
              </a:pathLst>
            </a:custGeom>
            <a:solidFill>
              <a:schemeClr val="bg1">
                <a:lumMod val="85000"/>
              </a:schemeClr>
            </a:solidFill>
            <a:ln w="9525">
              <a:solidFill>
                <a:schemeClr val="bg1"/>
              </a:solidFill>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nvGrpSpPr>
            <p:cNvPr id="160" name="Group 60">
              <a:extLst>
                <a:ext uri="{FF2B5EF4-FFF2-40B4-BE49-F238E27FC236}">
                  <a16:creationId xmlns:a16="http://schemas.microsoft.com/office/drawing/2014/main" id="{233FE632-A69A-1E67-3747-7E0FDA77BE09}"/>
                </a:ext>
              </a:extLst>
            </p:cNvPr>
            <p:cNvGrpSpPr>
              <a:grpSpLocks/>
            </p:cNvGrpSpPr>
            <p:nvPr/>
          </p:nvGrpSpPr>
          <p:grpSpPr bwMode="auto">
            <a:xfrm>
              <a:off x="1301021" y="2664601"/>
              <a:ext cx="790273" cy="966273"/>
              <a:chOff x="726" y="1092"/>
              <a:chExt cx="687" cy="840"/>
            </a:xfrm>
            <a:solidFill>
              <a:schemeClr val="bg1">
                <a:lumMod val="85000"/>
              </a:schemeClr>
            </a:solidFill>
          </p:grpSpPr>
          <p:sp>
            <p:nvSpPr>
              <p:cNvPr id="586" name="Freeform 61">
                <a:extLst>
                  <a:ext uri="{FF2B5EF4-FFF2-40B4-BE49-F238E27FC236}">
                    <a16:creationId xmlns:a16="http://schemas.microsoft.com/office/drawing/2014/main" id="{4ABAB956-E328-2D67-695B-AC8F891A8CAD}"/>
                  </a:ext>
                </a:extLst>
              </p:cNvPr>
              <p:cNvSpPr>
                <a:spLocks/>
              </p:cNvSpPr>
              <p:nvPr/>
            </p:nvSpPr>
            <p:spPr bwMode="auto">
              <a:xfrm>
                <a:off x="726" y="1092"/>
                <a:ext cx="687" cy="840"/>
              </a:xfrm>
              <a:custGeom>
                <a:avLst/>
                <a:gdLst/>
                <a:ahLst/>
                <a:cxnLst>
                  <a:cxn ang="0">
                    <a:pos x="258" y="0"/>
                  </a:cxn>
                  <a:cxn ang="0">
                    <a:pos x="315" y="189"/>
                  </a:cxn>
                  <a:cxn ang="0">
                    <a:pos x="200" y="189"/>
                  </a:cxn>
                  <a:cxn ang="0">
                    <a:pos x="200" y="270"/>
                  </a:cxn>
                  <a:cxn ang="0">
                    <a:pos x="114" y="270"/>
                  </a:cxn>
                  <a:cxn ang="0">
                    <a:pos x="86" y="216"/>
                  </a:cxn>
                  <a:cxn ang="0">
                    <a:pos x="0" y="216"/>
                  </a:cxn>
                  <a:cxn ang="0">
                    <a:pos x="0" y="433"/>
                  </a:cxn>
                  <a:cxn ang="0">
                    <a:pos x="114" y="433"/>
                  </a:cxn>
                  <a:cxn ang="0">
                    <a:pos x="114" y="623"/>
                  </a:cxn>
                  <a:cxn ang="0">
                    <a:pos x="200" y="623"/>
                  </a:cxn>
                  <a:cxn ang="0">
                    <a:pos x="200" y="813"/>
                  </a:cxn>
                  <a:cxn ang="0">
                    <a:pos x="371" y="813"/>
                  </a:cxn>
                  <a:cxn ang="0">
                    <a:pos x="457" y="840"/>
                  </a:cxn>
                  <a:cxn ang="0">
                    <a:pos x="687" y="650"/>
                  </a:cxn>
                  <a:cxn ang="0">
                    <a:pos x="601" y="569"/>
                  </a:cxn>
                  <a:cxn ang="0">
                    <a:pos x="515" y="542"/>
                  </a:cxn>
                  <a:cxn ang="0">
                    <a:pos x="457" y="460"/>
                  </a:cxn>
                  <a:cxn ang="0">
                    <a:pos x="486" y="297"/>
                  </a:cxn>
                  <a:cxn ang="0">
                    <a:pos x="543" y="189"/>
                  </a:cxn>
                  <a:cxn ang="0">
                    <a:pos x="457" y="0"/>
                  </a:cxn>
                  <a:cxn ang="0">
                    <a:pos x="258" y="0"/>
                  </a:cxn>
                </a:cxnLst>
                <a:rect l="0" t="0" r="r" b="b"/>
                <a:pathLst>
                  <a:path w="687" h="840">
                    <a:moveTo>
                      <a:pt x="258" y="0"/>
                    </a:moveTo>
                    <a:lnTo>
                      <a:pt x="315" y="189"/>
                    </a:lnTo>
                    <a:lnTo>
                      <a:pt x="200" y="189"/>
                    </a:lnTo>
                    <a:lnTo>
                      <a:pt x="200" y="270"/>
                    </a:lnTo>
                    <a:lnTo>
                      <a:pt x="114" y="270"/>
                    </a:lnTo>
                    <a:lnTo>
                      <a:pt x="86" y="216"/>
                    </a:lnTo>
                    <a:lnTo>
                      <a:pt x="0" y="216"/>
                    </a:lnTo>
                    <a:lnTo>
                      <a:pt x="0" y="433"/>
                    </a:lnTo>
                    <a:lnTo>
                      <a:pt x="114" y="433"/>
                    </a:lnTo>
                    <a:lnTo>
                      <a:pt x="114" y="623"/>
                    </a:lnTo>
                    <a:lnTo>
                      <a:pt x="200" y="623"/>
                    </a:lnTo>
                    <a:lnTo>
                      <a:pt x="200" y="813"/>
                    </a:lnTo>
                    <a:lnTo>
                      <a:pt x="371" y="813"/>
                    </a:lnTo>
                    <a:lnTo>
                      <a:pt x="457" y="840"/>
                    </a:lnTo>
                    <a:lnTo>
                      <a:pt x="687" y="650"/>
                    </a:lnTo>
                    <a:lnTo>
                      <a:pt x="601" y="569"/>
                    </a:lnTo>
                    <a:lnTo>
                      <a:pt x="515" y="542"/>
                    </a:lnTo>
                    <a:lnTo>
                      <a:pt x="457" y="460"/>
                    </a:lnTo>
                    <a:lnTo>
                      <a:pt x="486" y="297"/>
                    </a:lnTo>
                    <a:lnTo>
                      <a:pt x="543" y="189"/>
                    </a:lnTo>
                    <a:lnTo>
                      <a:pt x="457" y="0"/>
                    </a:lnTo>
                    <a:lnTo>
                      <a:pt x="258"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87" name="Freeform 62">
                <a:extLst>
                  <a:ext uri="{FF2B5EF4-FFF2-40B4-BE49-F238E27FC236}">
                    <a16:creationId xmlns:a16="http://schemas.microsoft.com/office/drawing/2014/main" id="{C4829E9D-3987-9A5F-08D8-41FA5FE397B5}"/>
                  </a:ext>
                </a:extLst>
              </p:cNvPr>
              <p:cNvSpPr>
                <a:spLocks/>
              </p:cNvSpPr>
              <p:nvPr/>
            </p:nvSpPr>
            <p:spPr bwMode="auto">
              <a:xfrm>
                <a:off x="726" y="1092"/>
                <a:ext cx="687" cy="840"/>
              </a:xfrm>
              <a:custGeom>
                <a:avLst/>
                <a:gdLst/>
                <a:ahLst/>
                <a:cxnLst>
                  <a:cxn ang="0">
                    <a:pos x="258" y="0"/>
                  </a:cxn>
                  <a:cxn ang="0">
                    <a:pos x="315" y="189"/>
                  </a:cxn>
                  <a:cxn ang="0">
                    <a:pos x="200" y="189"/>
                  </a:cxn>
                  <a:cxn ang="0">
                    <a:pos x="200" y="270"/>
                  </a:cxn>
                  <a:cxn ang="0">
                    <a:pos x="114" y="270"/>
                  </a:cxn>
                  <a:cxn ang="0">
                    <a:pos x="86" y="216"/>
                  </a:cxn>
                  <a:cxn ang="0">
                    <a:pos x="0" y="216"/>
                  </a:cxn>
                  <a:cxn ang="0">
                    <a:pos x="0" y="433"/>
                  </a:cxn>
                  <a:cxn ang="0">
                    <a:pos x="114" y="433"/>
                  </a:cxn>
                  <a:cxn ang="0">
                    <a:pos x="114" y="623"/>
                  </a:cxn>
                  <a:cxn ang="0">
                    <a:pos x="200" y="623"/>
                  </a:cxn>
                  <a:cxn ang="0">
                    <a:pos x="200" y="813"/>
                  </a:cxn>
                  <a:cxn ang="0">
                    <a:pos x="371" y="813"/>
                  </a:cxn>
                  <a:cxn ang="0">
                    <a:pos x="457" y="840"/>
                  </a:cxn>
                  <a:cxn ang="0">
                    <a:pos x="687" y="650"/>
                  </a:cxn>
                  <a:cxn ang="0">
                    <a:pos x="601" y="569"/>
                  </a:cxn>
                  <a:cxn ang="0">
                    <a:pos x="515" y="542"/>
                  </a:cxn>
                  <a:cxn ang="0">
                    <a:pos x="457" y="460"/>
                  </a:cxn>
                  <a:cxn ang="0">
                    <a:pos x="486" y="297"/>
                  </a:cxn>
                  <a:cxn ang="0">
                    <a:pos x="543" y="189"/>
                  </a:cxn>
                  <a:cxn ang="0">
                    <a:pos x="457" y="0"/>
                  </a:cxn>
                  <a:cxn ang="0">
                    <a:pos x="258" y="0"/>
                  </a:cxn>
                </a:cxnLst>
                <a:rect l="0" t="0" r="r" b="b"/>
                <a:pathLst>
                  <a:path w="687" h="840">
                    <a:moveTo>
                      <a:pt x="258" y="0"/>
                    </a:moveTo>
                    <a:lnTo>
                      <a:pt x="315" y="189"/>
                    </a:lnTo>
                    <a:lnTo>
                      <a:pt x="200" y="189"/>
                    </a:lnTo>
                    <a:lnTo>
                      <a:pt x="200" y="270"/>
                    </a:lnTo>
                    <a:lnTo>
                      <a:pt x="114" y="270"/>
                    </a:lnTo>
                    <a:lnTo>
                      <a:pt x="86" y="216"/>
                    </a:lnTo>
                    <a:lnTo>
                      <a:pt x="0" y="216"/>
                    </a:lnTo>
                    <a:lnTo>
                      <a:pt x="0" y="433"/>
                    </a:lnTo>
                    <a:lnTo>
                      <a:pt x="114" y="433"/>
                    </a:lnTo>
                    <a:lnTo>
                      <a:pt x="114" y="623"/>
                    </a:lnTo>
                    <a:lnTo>
                      <a:pt x="200" y="623"/>
                    </a:lnTo>
                    <a:lnTo>
                      <a:pt x="200" y="813"/>
                    </a:lnTo>
                    <a:lnTo>
                      <a:pt x="371" y="813"/>
                    </a:lnTo>
                    <a:lnTo>
                      <a:pt x="457" y="840"/>
                    </a:lnTo>
                    <a:lnTo>
                      <a:pt x="687" y="650"/>
                    </a:lnTo>
                    <a:lnTo>
                      <a:pt x="601" y="569"/>
                    </a:lnTo>
                    <a:lnTo>
                      <a:pt x="515" y="542"/>
                    </a:lnTo>
                    <a:lnTo>
                      <a:pt x="457" y="460"/>
                    </a:lnTo>
                    <a:lnTo>
                      <a:pt x="486" y="297"/>
                    </a:lnTo>
                    <a:lnTo>
                      <a:pt x="543" y="189"/>
                    </a:lnTo>
                    <a:lnTo>
                      <a:pt x="457" y="0"/>
                    </a:lnTo>
                    <a:lnTo>
                      <a:pt x="258"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1" name="Group 63">
              <a:extLst>
                <a:ext uri="{FF2B5EF4-FFF2-40B4-BE49-F238E27FC236}">
                  <a16:creationId xmlns:a16="http://schemas.microsoft.com/office/drawing/2014/main" id="{DE48AFD6-783E-0806-AB74-3E56B87D503C}"/>
                </a:ext>
              </a:extLst>
            </p:cNvPr>
            <p:cNvGrpSpPr>
              <a:grpSpLocks/>
            </p:cNvGrpSpPr>
            <p:nvPr/>
          </p:nvGrpSpPr>
          <p:grpSpPr bwMode="auto">
            <a:xfrm>
              <a:off x="1827869" y="2664600"/>
              <a:ext cx="694795" cy="530300"/>
              <a:chOff x="1184" y="1092"/>
              <a:chExt cx="604" cy="461"/>
            </a:xfrm>
            <a:solidFill>
              <a:schemeClr val="bg1">
                <a:lumMod val="85000"/>
              </a:schemeClr>
            </a:solidFill>
          </p:grpSpPr>
          <p:sp>
            <p:nvSpPr>
              <p:cNvPr id="584" name="Freeform 64">
                <a:extLst>
                  <a:ext uri="{FF2B5EF4-FFF2-40B4-BE49-F238E27FC236}">
                    <a16:creationId xmlns:a16="http://schemas.microsoft.com/office/drawing/2014/main" id="{CFF166CA-6D33-EA76-13F9-CE88E291D6F2}"/>
                  </a:ext>
                </a:extLst>
              </p:cNvPr>
              <p:cNvSpPr>
                <a:spLocks/>
              </p:cNvSpPr>
              <p:nvPr/>
            </p:nvSpPr>
            <p:spPr bwMode="auto">
              <a:xfrm>
                <a:off x="1184" y="1092"/>
                <a:ext cx="604" cy="461"/>
              </a:xfrm>
              <a:custGeom>
                <a:avLst/>
                <a:gdLst/>
                <a:ahLst/>
                <a:cxnLst>
                  <a:cxn ang="0">
                    <a:pos x="0" y="0"/>
                  </a:cxn>
                  <a:cxn ang="0">
                    <a:pos x="86" y="189"/>
                  </a:cxn>
                  <a:cxn ang="0">
                    <a:pos x="29" y="298"/>
                  </a:cxn>
                  <a:cxn ang="0">
                    <a:pos x="0" y="461"/>
                  </a:cxn>
                  <a:cxn ang="0">
                    <a:pos x="316" y="461"/>
                  </a:cxn>
                  <a:cxn ang="0">
                    <a:pos x="316" y="379"/>
                  </a:cxn>
                  <a:cxn ang="0">
                    <a:pos x="546" y="379"/>
                  </a:cxn>
                  <a:cxn ang="0">
                    <a:pos x="604" y="243"/>
                  </a:cxn>
                  <a:cxn ang="0">
                    <a:pos x="604" y="0"/>
                  </a:cxn>
                  <a:cxn ang="0">
                    <a:pos x="0" y="0"/>
                  </a:cxn>
                </a:cxnLst>
                <a:rect l="0" t="0" r="r" b="b"/>
                <a:pathLst>
                  <a:path w="604" h="461">
                    <a:moveTo>
                      <a:pt x="0" y="0"/>
                    </a:moveTo>
                    <a:lnTo>
                      <a:pt x="86" y="189"/>
                    </a:lnTo>
                    <a:lnTo>
                      <a:pt x="29" y="298"/>
                    </a:lnTo>
                    <a:lnTo>
                      <a:pt x="0" y="461"/>
                    </a:lnTo>
                    <a:lnTo>
                      <a:pt x="316" y="461"/>
                    </a:lnTo>
                    <a:lnTo>
                      <a:pt x="316" y="379"/>
                    </a:lnTo>
                    <a:lnTo>
                      <a:pt x="546" y="379"/>
                    </a:lnTo>
                    <a:lnTo>
                      <a:pt x="604" y="243"/>
                    </a:lnTo>
                    <a:lnTo>
                      <a:pt x="604"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85" name="Freeform 65">
                <a:extLst>
                  <a:ext uri="{FF2B5EF4-FFF2-40B4-BE49-F238E27FC236}">
                    <a16:creationId xmlns:a16="http://schemas.microsoft.com/office/drawing/2014/main" id="{40A4FBC5-DE1C-6607-7B72-3D5FB6057B41}"/>
                  </a:ext>
                </a:extLst>
              </p:cNvPr>
              <p:cNvSpPr>
                <a:spLocks/>
              </p:cNvSpPr>
              <p:nvPr/>
            </p:nvSpPr>
            <p:spPr bwMode="auto">
              <a:xfrm>
                <a:off x="1184" y="1092"/>
                <a:ext cx="604" cy="461"/>
              </a:xfrm>
              <a:custGeom>
                <a:avLst/>
                <a:gdLst/>
                <a:ahLst/>
                <a:cxnLst>
                  <a:cxn ang="0">
                    <a:pos x="0" y="0"/>
                  </a:cxn>
                  <a:cxn ang="0">
                    <a:pos x="86" y="189"/>
                  </a:cxn>
                  <a:cxn ang="0">
                    <a:pos x="29" y="298"/>
                  </a:cxn>
                  <a:cxn ang="0">
                    <a:pos x="0" y="461"/>
                  </a:cxn>
                  <a:cxn ang="0">
                    <a:pos x="316" y="461"/>
                  </a:cxn>
                  <a:cxn ang="0">
                    <a:pos x="316" y="379"/>
                  </a:cxn>
                  <a:cxn ang="0">
                    <a:pos x="546" y="379"/>
                  </a:cxn>
                  <a:cxn ang="0">
                    <a:pos x="604" y="243"/>
                  </a:cxn>
                  <a:cxn ang="0">
                    <a:pos x="604" y="0"/>
                  </a:cxn>
                  <a:cxn ang="0">
                    <a:pos x="0" y="0"/>
                  </a:cxn>
                </a:cxnLst>
                <a:rect l="0" t="0" r="r" b="b"/>
                <a:pathLst>
                  <a:path w="604" h="461">
                    <a:moveTo>
                      <a:pt x="0" y="0"/>
                    </a:moveTo>
                    <a:lnTo>
                      <a:pt x="86" y="189"/>
                    </a:lnTo>
                    <a:lnTo>
                      <a:pt x="29" y="298"/>
                    </a:lnTo>
                    <a:lnTo>
                      <a:pt x="0" y="461"/>
                    </a:lnTo>
                    <a:lnTo>
                      <a:pt x="316" y="461"/>
                    </a:lnTo>
                    <a:lnTo>
                      <a:pt x="316" y="379"/>
                    </a:lnTo>
                    <a:lnTo>
                      <a:pt x="546" y="379"/>
                    </a:lnTo>
                    <a:lnTo>
                      <a:pt x="604" y="243"/>
                    </a:lnTo>
                    <a:lnTo>
                      <a:pt x="604"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2" name="Group 66">
              <a:extLst>
                <a:ext uri="{FF2B5EF4-FFF2-40B4-BE49-F238E27FC236}">
                  <a16:creationId xmlns:a16="http://schemas.microsoft.com/office/drawing/2014/main" id="{3DCF6EE2-BE9F-E3DC-ABFE-CAA5D7EE1250}"/>
                </a:ext>
              </a:extLst>
            </p:cNvPr>
            <p:cNvGrpSpPr>
              <a:grpSpLocks/>
            </p:cNvGrpSpPr>
            <p:nvPr/>
          </p:nvGrpSpPr>
          <p:grpSpPr bwMode="auto">
            <a:xfrm>
              <a:off x="1827869" y="3099421"/>
              <a:ext cx="824782" cy="470483"/>
              <a:chOff x="1184" y="1470"/>
              <a:chExt cx="717" cy="409"/>
            </a:xfrm>
            <a:solidFill>
              <a:schemeClr val="bg1">
                <a:lumMod val="85000"/>
              </a:schemeClr>
            </a:solidFill>
          </p:grpSpPr>
          <p:sp>
            <p:nvSpPr>
              <p:cNvPr id="582" name="Freeform 67">
                <a:extLst>
                  <a:ext uri="{FF2B5EF4-FFF2-40B4-BE49-F238E27FC236}">
                    <a16:creationId xmlns:a16="http://schemas.microsoft.com/office/drawing/2014/main" id="{1D65009D-44A9-305D-E9DC-7E189114A08D}"/>
                  </a:ext>
                </a:extLst>
              </p:cNvPr>
              <p:cNvSpPr>
                <a:spLocks/>
              </p:cNvSpPr>
              <p:nvPr/>
            </p:nvSpPr>
            <p:spPr bwMode="auto">
              <a:xfrm>
                <a:off x="1184" y="1470"/>
                <a:ext cx="717" cy="409"/>
              </a:xfrm>
              <a:custGeom>
                <a:avLst/>
                <a:gdLst/>
                <a:ahLst/>
                <a:cxnLst>
                  <a:cxn ang="0">
                    <a:pos x="0" y="82"/>
                  </a:cxn>
                  <a:cxn ang="0">
                    <a:pos x="57" y="164"/>
                  </a:cxn>
                  <a:cxn ang="0">
                    <a:pos x="144" y="191"/>
                  </a:cxn>
                  <a:cxn ang="0">
                    <a:pos x="230" y="273"/>
                  </a:cxn>
                  <a:cxn ang="0">
                    <a:pos x="258" y="382"/>
                  </a:cxn>
                  <a:cxn ang="0">
                    <a:pos x="316" y="409"/>
                  </a:cxn>
                  <a:cxn ang="0">
                    <a:pos x="717" y="327"/>
                  </a:cxn>
                  <a:cxn ang="0">
                    <a:pos x="545" y="191"/>
                  </a:cxn>
                  <a:cxn ang="0">
                    <a:pos x="574" y="28"/>
                  </a:cxn>
                  <a:cxn ang="0">
                    <a:pos x="545" y="0"/>
                  </a:cxn>
                  <a:cxn ang="0">
                    <a:pos x="316" y="0"/>
                  </a:cxn>
                  <a:cxn ang="0">
                    <a:pos x="316" y="82"/>
                  </a:cxn>
                  <a:cxn ang="0">
                    <a:pos x="0" y="82"/>
                  </a:cxn>
                </a:cxnLst>
                <a:rect l="0" t="0" r="r" b="b"/>
                <a:pathLst>
                  <a:path w="717" h="409">
                    <a:moveTo>
                      <a:pt x="0" y="82"/>
                    </a:moveTo>
                    <a:lnTo>
                      <a:pt x="57" y="164"/>
                    </a:lnTo>
                    <a:lnTo>
                      <a:pt x="144" y="191"/>
                    </a:lnTo>
                    <a:lnTo>
                      <a:pt x="230" y="273"/>
                    </a:lnTo>
                    <a:lnTo>
                      <a:pt x="258" y="382"/>
                    </a:lnTo>
                    <a:lnTo>
                      <a:pt x="316" y="409"/>
                    </a:lnTo>
                    <a:lnTo>
                      <a:pt x="717" y="327"/>
                    </a:lnTo>
                    <a:lnTo>
                      <a:pt x="545" y="191"/>
                    </a:lnTo>
                    <a:lnTo>
                      <a:pt x="574" y="28"/>
                    </a:lnTo>
                    <a:lnTo>
                      <a:pt x="545" y="0"/>
                    </a:lnTo>
                    <a:lnTo>
                      <a:pt x="316" y="0"/>
                    </a:lnTo>
                    <a:lnTo>
                      <a:pt x="316" y="82"/>
                    </a:lnTo>
                    <a:lnTo>
                      <a:pt x="0" y="8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83" name="Freeform 68">
                <a:extLst>
                  <a:ext uri="{FF2B5EF4-FFF2-40B4-BE49-F238E27FC236}">
                    <a16:creationId xmlns:a16="http://schemas.microsoft.com/office/drawing/2014/main" id="{1B240679-5511-8077-26AE-7B4DEBDA7414}"/>
                  </a:ext>
                </a:extLst>
              </p:cNvPr>
              <p:cNvSpPr>
                <a:spLocks/>
              </p:cNvSpPr>
              <p:nvPr/>
            </p:nvSpPr>
            <p:spPr bwMode="auto">
              <a:xfrm>
                <a:off x="1184" y="1470"/>
                <a:ext cx="717" cy="409"/>
              </a:xfrm>
              <a:custGeom>
                <a:avLst/>
                <a:gdLst/>
                <a:ahLst/>
                <a:cxnLst>
                  <a:cxn ang="0">
                    <a:pos x="0" y="82"/>
                  </a:cxn>
                  <a:cxn ang="0">
                    <a:pos x="57" y="164"/>
                  </a:cxn>
                  <a:cxn ang="0">
                    <a:pos x="144" y="191"/>
                  </a:cxn>
                  <a:cxn ang="0">
                    <a:pos x="230" y="273"/>
                  </a:cxn>
                  <a:cxn ang="0">
                    <a:pos x="258" y="382"/>
                  </a:cxn>
                  <a:cxn ang="0">
                    <a:pos x="316" y="409"/>
                  </a:cxn>
                  <a:cxn ang="0">
                    <a:pos x="717" y="327"/>
                  </a:cxn>
                  <a:cxn ang="0">
                    <a:pos x="545" y="191"/>
                  </a:cxn>
                  <a:cxn ang="0">
                    <a:pos x="574" y="28"/>
                  </a:cxn>
                  <a:cxn ang="0">
                    <a:pos x="545" y="0"/>
                  </a:cxn>
                  <a:cxn ang="0">
                    <a:pos x="316" y="0"/>
                  </a:cxn>
                  <a:cxn ang="0">
                    <a:pos x="316" y="82"/>
                  </a:cxn>
                  <a:cxn ang="0">
                    <a:pos x="0" y="82"/>
                  </a:cxn>
                </a:cxnLst>
                <a:rect l="0" t="0" r="r" b="b"/>
                <a:pathLst>
                  <a:path w="717" h="409">
                    <a:moveTo>
                      <a:pt x="0" y="82"/>
                    </a:moveTo>
                    <a:lnTo>
                      <a:pt x="57" y="164"/>
                    </a:lnTo>
                    <a:lnTo>
                      <a:pt x="144" y="191"/>
                    </a:lnTo>
                    <a:lnTo>
                      <a:pt x="230" y="273"/>
                    </a:lnTo>
                    <a:lnTo>
                      <a:pt x="258" y="382"/>
                    </a:lnTo>
                    <a:lnTo>
                      <a:pt x="316" y="409"/>
                    </a:lnTo>
                    <a:lnTo>
                      <a:pt x="717" y="327"/>
                    </a:lnTo>
                    <a:lnTo>
                      <a:pt x="545" y="191"/>
                    </a:lnTo>
                    <a:lnTo>
                      <a:pt x="574" y="28"/>
                    </a:lnTo>
                    <a:lnTo>
                      <a:pt x="545" y="0"/>
                    </a:lnTo>
                    <a:lnTo>
                      <a:pt x="316" y="0"/>
                    </a:lnTo>
                    <a:lnTo>
                      <a:pt x="316" y="82"/>
                    </a:lnTo>
                    <a:lnTo>
                      <a:pt x="0" y="82"/>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3" name="Group 69">
              <a:extLst>
                <a:ext uri="{FF2B5EF4-FFF2-40B4-BE49-F238E27FC236}">
                  <a16:creationId xmlns:a16="http://schemas.microsoft.com/office/drawing/2014/main" id="{D9CD64B2-D17B-510C-DB07-4DD9945A7D35}"/>
                </a:ext>
              </a:extLst>
            </p:cNvPr>
            <p:cNvGrpSpPr>
              <a:grpSpLocks/>
            </p:cNvGrpSpPr>
            <p:nvPr/>
          </p:nvGrpSpPr>
          <p:grpSpPr bwMode="auto">
            <a:xfrm>
              <a:off x="2453646" y="2944130"/>
              <a:ext cx="396862" cy="686743"/>
              <a:chOff x="1728" y="1335"/>
              <a:chExt cx="345" cy="597"/>
            </a:xfrm>
            <a:solidFill>
              <a:schemeClr val="bg1">
                <a:lumMod val="85000"/>
              </a:schemeClr>
            </a:solidFill>
          </p:grpSpPr>
          <p:sp>
            <p:nvSpPr>
              <p:cNvPr id="580" name="Freeform 70">
                <a:extLst>
                  <a:ext uri="{FF2B5EF4-FFF2-40B4-BE49-F238E27FC236}">
                    <a16:creationId xmlns:a16="http://schemas.microsoft.com/office/drawing/2014/main" id="{4A840A05-0939-B2C9-4B89-5F15442E2A20}"/>
                  </a:ext>
                </a:extLst>
              </p:cNvPr>
              <p:cNvSpPr>
                <a:spLocks/>
              </p:cNvSpPr>
              <p:nvPr/>
            </p:nvSpPr>
            <p:spPr bwMode="auto">
              <a:xfrm>
                <a:off x="1728" y="1335"/>
                <a:ext cx="345" cy="597"/>
              </a:xfrm>
              <a:custGeom>
                <a:avLst/>
                <a:gdLst/>
                <a:ahLst/>
                <a:cxnLst>
                  <a:cxn ang="0">
                    <a:pos x="0" y="136"/>
                  </a:cxn>
                  <a:cxn ang="0">
                    <a:pos x="29" y="163"/>
                  </a:cxn>
                  <a:cxn ang="0">
                    <a:pos x="0" y="326"/>
                  </a:cxn>
                  <a:cxn ang="0">
                    <a:pos x="173" y="461"/>
                  </a:cxn>
                  <a:cxn ang="0">
                    <a:pos x="258" y="597"/>
                  </a:cxn>
                  <a:cxn ang="0">
                    <a:pos x="345" y="597"/>
                  </a:cxn>
                  <a:cxn ang="0">
                    <a:pos x="345" y="0"/>
                  </a:cxn>
                  <a:cxn ang="0">
                    <a:pos x="202" y="0"/>
                  </a:cxn>
                  <a:cxn ang="0">
                    <a:pos x="58" y="0"/>
                  </a:cxn>
                  <a:cxn ang="0">
                    <a:pos x="0" y="136"/>
                  </a:cxn>
                </a:cxnLst>
                <a:rect l="0" t="0" r="r" b="b"/>
                <a:pathLst>
                  <a:path w="345" h="597">
                    <a:moveTo>
                      <a:pt x="0" y="136"/>
                    </a:moveTo>
                    <a:lnTo>
                      <a:pt x="29" y="163"/>
                    </a:lnTo>
                    <a:lnTo>
                      <a:pt x="0" y="326"/>
                    </a:lnTo>
                    <a:lnTo>
                      <a:pt x="173" y="461"/>
                    </a:lnTo>
                    <a:lnTo>
                      <a:pt x="258" y="597"/>
                    </a:lnTo>
                    <a:lnTo>
                      <a:pt x="345" y="597"/>
                    </a:lnTo>
                    <a:lnTo>
                      <a:pt x="345" y="0"/>
                    </a:lnTo>
                    <a:lnTo>
                      <a:pt x="202" y="0"/>
                    </a:lnTo>
                    <a:lnTo>
                      <a:pt x="58" y="0"/>
                    </a:lnTo>
                    <a:lnTo>
                      <a:pt x="0" y="136"/>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81" name="Freeform 71">
                <a:extLst>
                  <a:ext uri="{FF2B5EF4-FFF2-40B4-BE49-F238E27FC236}">
                    <a16:creationId xmlns:a16="http://schemas.microsoft.com/office/drawing/2014/main" id="{51960C01-C92D-FBEB-F477-6DF8785B0166}"/>
                  </a:ext>
                </a:extLst>
              </p:cNvPr>
              <p:cNvSpPr>
                <a:spLocks/>
              </p:cNvSpPr>
              <p:nvPr/>
            </p:nvSpPr>
            <p:spPr bwMode="auto">
              <a:xfrm>
                <a:off x="1728" y="1335"/>
                <a:ext cx="345" cy="597"/>
              </a:xfrm>
              <a:custGeom>
                <a:avLst/>
                <a:gdLst/>
                <a:ahLst/>
                <a:cxnLst>
                  <a:cxn ang="0">
                    <a:pos x="0" y="136"/>
                  </a:cxn>
                  <a:cxn ang="0">
                    <a:pos x="29" y="163"/>
                  </a:cxn>
                  <a:cxn ang="0">
                    <a:pos x="0" y="326"/>
                  </a:cxn>
                  <a:cxn ang="0">
                    <a:pos x="173" y="461"/>
                  </a:cxn>
                  <a:cxn ang="0">
                    <a:pos x="258" y="597"/>
                  </a:cxn>
                  <a:cxn ang="0">
                    <a:pos x="345" y="597"/>
                  </a:cxn>
                  <a:cxn ang="0">
                    <a:pos x="345" y="0"/>
                  </a:cxn>
                  <a:cxn ang="0">
                    <a:pos x="202" y="0"/>
                  </a:cxn>
                  <a:cxn ang="0">
                    <a:pos x="58" y="0"/>
                  </a:cxn>
                  <a:cxn ang="0">
                    <a:pos x="0" y="136"/>
                  </a:cxn>
                </a:cxnLst>
                <a:rect l="0" t="0" r="r" b="b"/>
                <a:pathLst>
                  <a:path w="345" h="597">
                    <a:moveTo>
                      <a:pt x="0" y="136"/>
                    </a:moveTo>
                    <a:lnTo>
                      <a:pt x="29" y="163"/>
                    </a:lnTo>
                    <a:lnTo>
                      <a:pt x="0" y="326"/>
                    </a:lnTo>
                    <a:lnTo>
                      <a:pt x="173" y="461"/>
                    </a:lnTo>
                    <a:lnTo>
                      <a:pt x="258" y="597"/>
                    </a:lnTo>
                    <a:lnTo>
                      <a:pt x="345" y="597"/>
                    </a:lnTo>
                    <a:lnTo>
                      <a:pt x="345" y="0"/>
                    </a:lnTo>
                    <a:lnTo>
                      <a:pt x="202" y="0"/>
                    </a:lnTo>
                    <a:lnTo>
                      <a:pt x="58" y="0"/>
                    </a:lnTo>
                    <a:lnTo>
                      <a:pt x="0" y="136"/>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4" name="Group 72">
              <a:extLst>
                <a:ext uri="{FF2B5EF4-FFF2-40B4-BE49-F238E27FC236}">
                  <a16:creationId xmlns:a16="http://schemas.microsoft.com/office/drawing/2014/main" id="{D97FA0ED-8A9A-4EB6-9288-DD3E136AF8DB}"/>
                </a:ext>
              </a:extLst>
            </p:cNvPr>
            <p:cNvGrpSpPr>
              <a:grpSpLocks/>
            </p:cNvGrpSpPr>
            <p:nvPr/>
          </p:nvGrpSpPr>
          <p:grpSpPr bwMode="auto">
            <a:xfrm>
              <a:off x="2850508" y="2849803"/>
              <a:ext cx="495790" cy="905305"/>
              <a:chOff x="2073" y="1253"/>
              <a:chExt cx="431" cy="787"/>
            </a:xfrm>
            <a:solidFill>
              <a:schemeClr val="bg1">
                <a:lumMod val="85000"/>
              </a:schemeClr>
            </a:solidFill>
          </p:grpSpPr>
          <p:sp>
            <p:nvSpPr>
              <p:cNvPr id="578" name="Freeform 73">
                <a:extLst>
                  <a:ext uri="{FF2B5EF4-FFF2-40B4-BE49-F238E27FC236}">
                    <a16:creationId xmlns:a16="http://schemas.microsoft.com/office/drawing/2014/main" id="{929AA529-FA80-8968-EEE6-A01587602657}"/>
                  </a:ext>
                </a:extLst>
              </p:cNvPr>
              <p:cNvSpPr>
                <a:spLocks/>
              </p:cNvSpPr>
              <p:nvPr/>
            </p:nvSpPr>
            <p:spPr bwMode="auto">
              <a:xfrm>
                <a:off x="2073" y="1253"/>
                <a:ext cx="431" cy="787"/>
              </a:xfrm>
              <a:custGeom>
                <a:avLst/>
                <a:gdLst/>
                <a:ahLst/>
                <a:cxnLst>
                  <a:cxn ang="0">
                    <a:pos x="0" y="299"/>
                  </a:cxn>
                  <a:cxn ang="0">
                    <a:pos x="0" y="733"/>
                  </a:cxn>
                  <a:cxn ang="0">
                    <a:pos x="57" y="787"/>
                  </a:cxn>
                  <a:cxn ang="0">
                    <a:pos x="57" y="707"/>
                  </a:cxn>
                  <a:cxn ang="0">
                    <a:pos x="172" y="733"/>
                  </a:cxn>
                  <a:cxn ang="0">
                    <a:pos x="143" y="652"/>
                  </a:cxn>
                  <a:cxn ang="0">
                    <a:pos x="201" y="625"/>
                  </a:cxn>
                  <a:cxn ang="0">
                    <a:pos x="143" y="517"/>
                  </a:cxn>
                  <a:cxn ang="0">
                    <a:pos x="258" y="571"/>
                  </a:cxn>
                  <a:cxn ang="0">
                    <a:pos x="172" y="435"/>
                  </a:cxn>
                  <a:cxn ang="0">
                    <a:pos x="287" y="272"/>
                  </a:cxn>
                  <a:cxn ang="0">
                    <a:pos x="431" y="245"/>
                  </a:cxn>
                  <a:cxn ang="0">
                    <a:pos x="402" y="191"/>
                  </a:cxn>
                  <a:cxn ang="0">
                    <a:pos x="402" y="28"/>
                  </a:cxn>
                  <a:cxn ang="0">
                    <a:pos x="345" y="28"/>
                  </a:cxn>
                  <a:cxn ang="0">
                    <a:pos x="201" y="109"/>
                  </a:cxn>
                  <a:cxn ang="0">
                    <a:pos x="86" y="0"/>
                  </a:cxn>
                  <a:cxn ang="0">
                    <a:pos x="86" y="82"/>
                  </a:cxn>
                  <a:cxn ang="0">
                    <a:pos x="0" y="82"/>
                  </a:cxn>
                  <a:cxn ang="0">
                    <a:pos x="0" y="299"/>
                  </a:cxn>
                </a:cxnLst>
                <a:rect l="0" t="0" r="r" b="b"/>
                <a:pathLst>
                  <a:path w="431" h="787">
                    <a:moveTo>
                      <a:pt x="0" y="299"/>
                    </a:moveTo>
                    <a:lnTo>
                      <a:pt x="0" y="733"/>
                    </a:lnTo>
                    <a:lnTo>
                      <a:pt x="57" y="787"/>
                    </a:lnTo>
                    <a:lnTo>
                      <a:pt x="57" y="707"/>
                    </a:lnTo>
                    <a:lnTo>
                      <a:pt x="172" y="733"/>
                    </a:lnTo>
                    <a:lnTo>
                      <a:pt x="143" y="652"/>
                    </a:lnTo>
                    <a:lnTo>
                      <a:pt x="201" y="625"/>
                    </a:lnTo>
                    <a:lnTo>
                      <a:pt x="143" y="517"/>
                    </a:lnTo>
                    <a:lnTo>
                      <a:pt x="258" y="571"/>
                    </a:lnTo>
                    <a:lnTo>
                      <a:pt x="172" y="435"/>
                    </a:lnTo>
                    <a:lnTo>
                      <a:pt x="287" y="272"/>
                    </a:lnTo>
                    <a:lnTo>
                      <a:pt x="431" y="245"/>
                    </a:lnTo>
                    <a:lnTo>
                      <a:pt x="402" y="191"/>
                    </a:lnTo>
                    <a:lnTo>
                      <a:pt x="402" y="28"/>
                    </a:lnTo>
                    <a:lnTo>
                      <a:pt x="345" y="28"/>
                    </a:lnTo>
                    <a:lnTo>
                      <a:pt x="201" y="109"/>
                    </a:lnTo>
                    <a:lnTo>
                      <a:pt x="86" y="0"/>
                    </a:lnTo>
                    <a:lnTo>
                      <a:pt x="86" y="82"/>
                    </a:lnTo>
                    <a:lnTo>
                      <a:pt x="0" y="82"/>
                    </a:lnTo>
                    <a:lnTo>
                      <a:pt x="0" y="299"/>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79" name="Freeform 74">
                <a:extLst>
                  <a:ext uri="{FF2B5EF4-FFF2-40B4-BE49-F238E27FC236}">
                    <a16:creationId xmlns:a16="http://schemas.microsoft.com/office/drawing/2014/main" id="{176D00D9-0ACA-2263-9D6B-B38C469BB072}"/>
                  </a:ext>
                </a:extLst>
              </p:cNvPr>
              <p:cNvSpPr>
                <a:spLocks/>
              </p:cNvSpPr>
              <p:nvPr/>
            </p:nvSpPr>
            <p:spPr bwMode="auto">
              <a:xfrm>
                <a:off x="2073" y="1253"/>
                <a:ext cx="431" cy="787"/>
              </a:xfrm>
              <a:custGeom>
                <a:avLst/>
                <a:gdLst/>
                <a:ahLst/>
                <a:cxnLst>
                  <a:cxn ang="0">
                    <a:pos x="0" y="299"/>
                  </a:cxn>
                  <a:cxn ang="0">
                    <a:pos x="0" y="733"/>
                  </a:cxn>
                  <a:cxn ang="0">
                    <a:pos x="57" y="787"/>
                  </a:cxn>
                  <a:cxn ang="0">
                    <a:pos x="57" y="707"/>
                  </a:cxn>
                  <a:cxn ang="0">
                    <a:pos x="172" y="733"/>
                  </a:cxn>
                  <a:cxn ang="0">
                    <a:pos x="143" y="652"/>
                  </a:cxn>
                  <a:cxn ang="0">
                    <a:pos x="201" y="625"/>
                  </a:cxn>
                  <a:cxn ang="0">
                    <a:pos x="143" y="517"/>
                  </a:cxn>
                  <a:cxn ang="0">
                    <a:pos x="258" y="571"/>
                  </a:cxn>
                  <a:cxn ang="0">
                    <a:pos x="172" y="435"/>
                  </a:cxn>
                  <a:cxn ang="0">
                    <a:pos x="287" y="272"/>
                  </a:cxn>
                  <a:cxn ang="0">
                    <a:pos x="431" y="245"/>
                  </a:cxn>
                  <a:cxn ang="0">
                    <a:pos x="402" y="191"/>
                  </a:cxn>
                  <a:cxn ang="0">
                    <a:pos x="402" y="28"/>
                  </a:cxn>
                  <a:cxn ang="0">
                    <a:pos x="345" y="28"/>
                  </a:cxn>
                  <a:cxn ang="0">
                    <a:pos x="201" y="109"/>
                  </a:cxn>
                  <a:cxn ang="0">
                    <a:pos x="86" y="0"/>
                  </a:cxn>
                  <a:cxn ang="0">
                    <a:pos x="86" y="82"/>
                  </a:cxn>
                  <a:cxn ang="0">
                    <a:pos x="0" y="82"/>
                  </a:cxn>
                  <a:cxn ang="0">
                    <a:pos x="0" y="299"/>
                  </a:cxn>
                </a:cxnLst>
                <a:rect l="0" t="0" r="r" b="b"/>
                <a:pathLst>
                  <a:path w="431" h="787">
                    <a:moveTo>
                      <a:pt x="0" y="299"/>
                    </a:moveTo>
                    <a:lnTo>
                      <a:pt x="0" y="733"/>
                    </a:lnTo>
                    <a:lnTo>
                      <a:pt x="57" y="787"/>
                    </a:lnTo>
                    <a:lnTo>
                      <a:pt x="57" y="707"/>
                    </a:lnTo>
                    <a:lnTo>
                      <a:pt x="172" y="733"/>
                    </a:lnTo>
                    <a:lnTo>
                      <a:pt x="143" y="652"/>
                    </a:lnTo>
                    <a:lnTo>
                      <a:pt x="201" y="625"/>
                    </a:lnTo>
                    <a:lnTo>
                      <a:pt x="143" y="517"/>
                    </a:lnTo>
                    <a:lnTo>
                      <a:pt x="258" y="571"/>
                    </a:lnTo>
                    <a:lnTo>
                      <a:pt x="172" y="435"/>
                    </a:lnTo>
                    <a:lnTo>
                      <a:pt x="287" y="272"/>
                    </a:lnTo>
                    <a:lnTo>
                      <a:pt x="431" y="245"/>
                    </a:lnTo>
                    <a:lnTo>
                      <a:pt x="402" y="191"/>
                    </a:lnTo>
                    <a:lnTo>
                      <a:pt x="402" y="28"/>
                    </a:lnTo>
                    <a:lnTo>
                      <a:pt x="345" y="28"/>
                    </a:lnTo>
                    <a:lnTo>
                      <a:pt x="201" y="109"/>
                    </a:lnTo>
                    <a:lnTo>
                      <a:pt x="86" y="0"/>
                    </a:lnTo>
                    <a:lnTo>
                      <a:pt x="86" y="82"/>
                    </a:lnTo>
                    <a:lnTo>
                      <a:pt x="0" y="82"/>
                    </a:lnTo>
                    <a:lnTo>
                      <a:pt x="0" y="299"/>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5" name="Group 78">
              <a:extLst>
                <a:ext uri="{FF2B5EF4-FFF2-40B4-BE49-F238E27FC236}">
                  <a16:creationId xmlns:a16="http://schemas.microsoft.com/office/drawing/2014/main" id="{64E48CBB-A468-2076-2FD3-BECCBC3AD5C3}"/>
                </a:ext>
              </a:extLst>
            </p:cNvPr>
            <p:cNvGrpSpPr>
              <a:grpSpLocks/>
            </p:cNvGrpSpPr>
            <p:nvPr/>
          </p:nvGrpSpPr>
          <p:grpSpPr bwMode="auto">
            <a:xfrm>
              <a:off x="837440" y="3007397"/>
              <a:ext cx="693645" cy="779920"/>
              <a:chOff x="323" y="1390"/>
              <a:chExt cx="603" cy="678"/>
            </a:xfrm>
            <a:solidFill>
              <a:schemeClr val="bg1">
                <a:lumMod val="85000"/>
              </a:schemeClr>
            </a:solidFill>
          </p:grpSpPr>
          <p:sp>
            <p:nvSpPr>
              <p:cNvPr id="576" name="Freeform 79">
                <a:extLst>
                  <a:ext uri="{FF2B5EF4-FFF2-40B4-BE49-F238E27FC236}">
                    <a16:creationId xmlns:a16="http://schemas.microsoft.com/office/drawing/2014/main" id="{6483F684-B1E2-5013-8EBF-2E156B2EDC28}"/>
                  </a:ext>
                </a:extLst>
              </p:cNvPr>
              <p:cNvSpPr>
                <a:spLocks/>
              </p:cNvSpPr>
              <p:nvPr/>
            </p:nvSpPr>
            <p:spPr bwMode="auto">
              <a:xfrm>
                <a:off x="323" y="1390"/>
                <a:ext cx="603" cy="678"/>
              </a:xfrm>
              <a:custGeom>
                <a:avLst/>
                <a:gdLst/>
                <a:ahLst/>
                <a:cxnLst>
                  <a:cxn ang="0">
                    <a:pos x="0" y="0"/>
                  </a:cxn>
                  <a:cxn ang="0">
                    <a:pos x="57" y="163"/>
                  </a:cxn>
                  <a:cxn ang="0">
                    <a:pos x="28" y="272"/>
                  </a:cxn>
                  <a:cxn ang="0">
                    <a:pos x="201" y="516"/>
                  </a:cxn>
                  <a:cxn ang="0">
                    <a:pos x="172" y="571"/>
                  </a:cxn>
                  <a:cxn ang="0">
                    <a:pos x="258" y="678"/>
                  </a:cxn>
                  <a:cxn ang="0">
                    <a:pos x="316" y="678"/>
                  </a:cxn>
                  <a:cxn ang="0">
                    <a:pos x="316" y="624"/>
                  </a:cxn>
                  <a:cxn ang="0">
                    <a:pos x="373" y="597"/>
                  </a:cxn>
                  <a:cxn ang="0">
                    <a:pos x="431" y="597"/>
                  </a:cxn>
                  <a:cxn ang="0">
                    <a:pos x="459" y="516"/>
                  </a:cxn>
                  <a:cxn ang="0">
                    <a:pos x="603" y="516"/>
                  </a:cxn>
                  <a:cxn ang="0">
                    <a:pos x="603" y="326"/>
                  </a:cxn>
                  <a:cxn ang="0">
                    <a:pos x="517" y="326"/>
                  </a:cxn>
                  <a:cxn ang="0">
                    <a:pos x="517" y="135"/>
                  </a:cxn>
                  <a:cxn ang="0">
                    <a:pos x="402" y="135"/>
                  </a:cxn>
                  <a:cxn ang="0">
                    <a:pos x="402" y="0"/>
                  </a:cxn>
                  <a:cxn ang="0">
                    <a:pos x="0" y="0"/>
                  </a:cxn>
                </a:cxnLst>
                <a:rect l="0" t="0" r="r" b="b"/>
                <a:pathLst>
                  <a:path w="603" h="678">
                    <a:moveTo>
                      <a:pt x="0" y="0"/>
                    </a:moveTo>
                    <a:lnTo>
                      <a:pt x="57" y="163"/>
                    </a:lnTo>
                    <a:lnTo>
                      <a:pt x="28" y="272"/>
                    </a:lnTo>
                    <a:lnTo>
                      <a:pt x="201" y="516"/>
                    </a:lnTo>
                    <a:lnTo>
                      <a:pt x="172" y="571"/>
                    </a:lnTo>
                    <a:lnTo>
                      <a:pt x="258" y="678"/>
                    </a:lnTo>
                    <a:lnTo>
                      <a:pt x="316" y="678"/>
                    </a:lnTo>
                    <a:lnTo>
                      <a:pt x="316" y="624"/>
                    </a:lnTo>
                    <a:lnTo>
                      <a:pt x="373" y="597"/>
                    </a:lnTo>
                    <a:lnTo>
                      <a:pt x="431" y="597"/>
                    </a:lnTo>
                    <a:lnTo>
                      <a:pt x="459" y="516"/>
                    </a:lnTo>
                    <a:lnTo>
                      <a:pt x="603" y="516"/>
                    </a:lnTo>
                    <a:lnTo>
                      <a:pt x="603" y="326"/>
                    </a:lnTo>
                    <a:lnTo>
                      <a:pt x="517" y="326"/>
                    </a:lnTo>
                    <a:lnTo>
                      <a:pt x="517" y="135"/>
                    </a:lnTo>
                    <a:lnTo>
                      <a:pt x="402" y="135"/>
                    </a:lnTo>
                    <a:lnTo>
                      <a:pt x="402"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77" name="Freeform 80">
                <a:extLst>
                  <a:ext uri="{FF2B5EF4-FFF2-40B4-BE49-F238E27FC236}">
                    <a16:creationId xmlns:a16="http://schemas.microsoft.com/office/drawing/2014/main" id="{2C7A4628-3229-4B67-72CE-BE9E6D12841D}"/>
                  </a:ext>
                </a:extLst>
              </p:cNvPr>
              <p:cNvSpPr>
                <a:spLocks/>
              </p:cNvSpPr>
              <p:nvPr/>
            </p:nvSpPr>
            <p:spPr bwMode="auto">
              <a:xfrm>
                <a:off x="323" y="1390"/>
                <a:ext cx="603" cy="678"/>
              </a:xfrm>
              <a:custGeom>
                <a:avLst/>
                <a:gdLst/>
                <a:ahLst/>
                <a:cxnLst>
                  <a:cxn ang="0">
                    <a:pos x="0" y="0"/>
                  </a:cxn>
                  <a:cxn ang="0">
                    <a:pos x="57" y="163"/>
                  </a:cxn>
                  <a:cxn ang="0">
                    <a:pos x="28" y="272"/>
                  </a:cxn>
                  <a:cxn ang="0">
                    <a:pos x="201" y="516"/>
                  </a:cxn>
                  <a:cxn ang="0">
                    <a:pos x="172" y="571"/>
                  </a:cxn>
                  <a:cxn ang="0">
                    <a:pos x="258" y="678"/>
                  </a:cxn>
                  <a:cxn ang="0">
                    <a:pos x="316" y="678"/>
                  </a:cxn>
                  <a:cxn ang="0">
                    <a:pos x="316" y="624"/>
                  </a:cxn>
                  <a:cxn ang="0">
                    <a:pos x="373" y="597"/>
                  </a:cxn>
                  <a:cxn ang="0">
                    <a:pos x="431" y="597"/>
                  </a:cxn>
                  <a:cxn ang="0">
                    <a:pos x="459" y="516"/>
                  </a:cxn>
                  <a:cxn ang="0">
                    <a:pos x="603" y="516"/>
                  </a:cxn>
                  <a:cxn ang="0">
                    <a:pos x="603" y="326"/>
                  </a:cxn>
                  <a:cxn ang="0">
                    <a:pos x="517" y="326"/>
                  </a:cxn>
                  <a:cxn ang="0">
                    <a:pos x="517" y="135"/>
                  </a:cxn>
                  <a:cxn ang="0">
                    <a:pos x="402" y="135"/>
                  </a:cxn>
                  <a:cxn ang="0">
                    <a:pos x="402" y="0"/>
                  </a:cxn>
                  <a:cxn ang="0">
                    <a:pos x="0" y="0"/>
                  </a:cxn>
                </a:cxnLst>
                <a:rect l="0" t="0" r="r" b="b"/>
                <a:pathLst>
                  <a:path w="603" h="678">
                    <a:moveTo>
                      <a:pt x="0" y="0"/>
                    </a:moveTo>
                    <a:lnTo>
                      <a:pt x="57" y="163"/>
                    </a:lnTo>
                    <a:lnTo>
                      <a:pt x="28" y="272"/>
                    </a:lnTo>
                    <a:lnTo>
                      <a:pt x="201" y="516"/>
                    </a:lnTo>
                    <a:lnTo>
                      <a:pt x="172" y="571"/>
                    </a:lnTo>
                    <a:lnTo>
                      <a:pt x="258" y="678"/>
                    </a:lnTo>
                    <a:lnTo>
                      <a:pt x="316" y="678"/>
                    </a:lnTo>
                    <a:lnTo>
                      <a:pt x="316" y="624"/>
                    </a:lnTo>
                    <a:lnTo>
                      <a:pt x="373" y="597"/>
                    </a:lnTo>
                    <a:lnTo>
                      <a:pt x="431" y="597"/>
                    </a:lnTo>
                    <a:lnTo>
                      <a:pt x="459" y="516"/>
                    </a:lnTo>
                    <a:lnTo>
                      <a:pt x="603" y="516"/>
                    </a:lnTo>
                    <a:lnTo>
                      <a:pt x="603" y="326"/>
                    </a:lnTo>
                    <a:lnTo>
                      <a:pt x="517" y="326"/>
                    </a:lnTo>
                    <a:lnTo>
                      <a:pt x="517" y="135"/>
                    </a:lnTo>
                    <a:lnTo>
                      <a:pt x="402" y="135"/>
                    </a:lnTo>
                    <a:lnTo>
                      <a:pt x="402"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6" name="Group 81">
              <a:extLst>
                <a:ext uri="{FF2B5EF4-FFF2-40B4-BE49-F238E27FC236}">
                  <a16:creationId xmlns:a16="http://schemas.microsoft.com/office/drawing/2014/main" id="{F58B3360-516A-5EBB-DDB5-D1FC368FDAED}"/>
                </a:ext>
              </a:extLst>
            </p:cNvPr>
            <p:cNvGrpSpPr>
              <a:grpSpLocks/>
            </p:cNvGrpSpPr>
            <p:nvPr/>
          </p:nvGrpSpPr>
          <p:grpSpPr bwMode="auto">
            <a:xfrm>
              <a:off x="1167583" y="3600962"/>
              <a:ext cx="824782" cy="561359"/>
              <a:chOff x="610" y="1906"/>
              <a:chExt cx="717" cy="488"/>
            </a:xfrm>
            <a:solidFill>
              <a:schemeClr val="bg1">
                <a:lumMod val="85000"/>
              </a:schemeClr>
            </a:solidFill>
          </p:grpSpPr>
          <p:sp>
            <p:nvSpPr>
              <p:cNvPr id="574" name="Freeform 82">
                <a:extLst>
                  <a:ext uri="{FF2B5EF4-FFF2-40B4-BE49-F238E27FC236}">
                    <a16:creationId xmlns:a16="http://schemas.microsoft.com/office/drawing/2014/main" id="{E4C17E5C-B604-AA60-9A5C-47237FB97C4B}"/>
                  </a:ext>
                </a:extLst>
              </p:cNvPr>
              <p:cNvSpPr>
                <a:spLocks/>
              </p:cNvSpPr>
              <p:nvPr/>
            </p:nvSpPr>
            <p:spPr bwMode="auto">
              <a:xfrm>
                <a:off x="610" y="1906"/>
                <a:ext cx="717" cy="488"/>
              </a:xfrm>
              <a:custGeom>
                <a:avLst/>
                <a:gdLst/>
                <a:ahLst/>
                <a:cxnLst>
                  <a:cxn ang="0">
                    <a:pos x="28" y="162"/>
                  </a:cxn>
                  <a:cxn ang="0">
                    <a:pos x="57" y="325"/>
                  </a:cxn>
                  <a:cxn ang="0">
                    <a:pos x="0" y="352"/>
                  </a:cxn>
                  <a:cxn ang="0">
                    <a:pos x="28" y="434"/>
                  </a:cxn>
                  <a:cxn ang="0">
                    <a:pos x="0" y="488"/>
                  </a:cxn>
                  <a:cxn ang="0">
                    <a:pos x="115" y="461"/>
                  </a:cxn>
                  <a:cxn ang="0">
                    <a:pos x="717" y="461"/>
                  </a:cxn>
                  <a:cxn ang="0">
                    <a:pos x="717" y="108"/>
                  </a:cxn>
                  <a:cxn ang="0">
                    <a:pos x="573" y="27"/>
                  </a:cxn>
                  <a:cxn ang="0">
                    <a:pos x="487" y="0"/>
                  </a:cxn>
                  <a:cxn ang="0">
                    <a:pos x="172" y="0"/>
                  </a:cxn>
                  <a:cxn ang="0">
                    <a:pos x="143" y="80"/>
                  </a:cxn>
                  <a:cxn ang="0">
                    <a:pos x="86" y="80"/>
                  </a:cxn>
                  <a:cxn ang="0">
                    <a:pos x="28" y="108"/>
                  </a:cxn>
                  <a:cxn ang="0">
                    <a:pos x="28" y="162"/>
                  </a:cxn>
                </a:cxnLst>
                <a:rect l="0" t="0" r="r" b="b"/>
                <a:pathLst>
                  <a:path w="717" h="488">
                    <a:moveTo>
                      <a:pt x="28" y="162"/>
                    </a:moveTo>
                    <a:lnTo>
                      <a:pt x="57" y="325"/>
                    </a:lnTo>
                    <a:lnTo>
                      <a:pt x="0" y="352"/>
                    </a:lnTo>
                    <a:lnTo>
                      <a:pt x="28" y="434"/>
                    </a:lnTo>
                    <a:lnTo>
                      <a:pt x="0" y="488"/>
                    </a:lnTo>
                    <a:lnTo>
                      <a:pt x="115" y="461"/>
                    </a:lnTo>
                    <a:lnTo>
                      <a:pt x="717" y="461"/>
                    </a:lnTo>
                    <a:lnTo>
                      <a:pt x="717" y="108"/>
                    </a:lnTo>
                    <a:lnTo>
                      <a:pt x="573" y="27"/>
                    </a:lnTo>
                    <a:lnTo>
                      <a:pt x="487" y="0"/>
                    </a:lnTo>
                    <a:lnTo>
                      <a:pt x="172" y="0"/>
                    </a:lnTo>
                    <a:lnTo>
                      <a:pt x="143" y="80"/>
                    </a:lnTo>
                    <a:lnTo>
                      <a:pt x="86" y="80"/>
                    </a:lnTo>
                    <a:lnTo>
                      <a:pt x="28" y="108"/>
                    </a:lnTo>
                    <a:lnTo>
                      <a:pt x="28" y="16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75" name="Freeform 83">
                <a:extLst>
                  <a:ext uri="{FF2B5EF4-FFF2-40B4-BE49-F238E27FC236}">
                    <a16:creationId xmlns:a16="http://schemas.microsoft.com/office/drawing/2014/main" id="{F6B648A2-7D0A-DB75-7114-EB14CDFC9B9F}"/>
                  </a:ext>
                </a:extLst>
              </p:cNvPr>
              <p:cNvSpPr>
                <a:spLocks/>
              </p:cNvSpPr>
              <p:nvPr/>
            </p:nvSpPr>
            <p:spPr bwMode="auto">
              <a:xfrm>
                <a:off x="610" y="1906"/>
                <a:ext cx="717" cy="488"/>
              </a:xfrm>
              <a:custGeom>
                <a:avLst/>
                <a:gdLst/>
                <a:ahLst/>
                <a:cxnLst>
                  <a:cxn ang="0">
                    <a:pos x="28" y="162"/>
                  </a:cxn>
                  <a:cxn ang="0">
                    <a:pos x="57" y="325"/>
                  </a:cxn>
                  <a:cxn ang="0">
                    <a:pos x="0" y="352"/>
                  </a:cxn>
                  <a:cxn ang="0">
                    <a:pos x="28" y="434"/>
                  </a:cxn>
                  <a:cxn ang="0">
                    <a:pos x="0" y="488"/>
                  </a:cxn>
                  <a:cxn ang="0">
                    <a:pos x="115" y="461"/>
                  </a:cxn>
                  <a:cxn ang="0">
                    <a:pos x="717" y="461"/>
                  </a:cxn>
                  <a:cxn ang="0">
                    <a:pos x="717" y="108"/>
                  </a:cxn>
                  <a:cxn ang="0">
                    <a:pos x="573" y="27"/>
                  </a:cxn>
                  <a:cxn ang="0">
                    <a:pos x="487" y="0"/>
                  </a:cxn>
                  <a:cxn ang="0">
                    <a:pos x="172" y="0"/>
                  </a:cxn>
                  <a:cxn ang="0">
                    <a:pos x="143" y="80"/>
                  </a:cxn>
                  <a:cxn ang="0">
                    <a:pos x="86" y="80"/>
                  </a:cxn>
                  <a:cxn ang="0">
                    <a:pos x="28" y="108"/>
                  </a:cxn>
                  <a:cxn ang="0">
                    <a:pos x="28" y="162"/>
                  </a:cxn>
                </a:cxnLst>
                <a:rect l="0" t="0" r="r" b="b"/>
                <a:pathLst>
                  <a:path w="717" h="488">
                    <a:moveTo>
                      <a:pt x="28" y="162"/>
                    </a:moveTo>
                    <a:lnTo>
                      <a:pt x="57" y="325"/>
                    </a:lnTo>
                    <a:lnTo>
                      <a:pt x="0" y="352"/>
                    </a:lnTo>
                    <a:lnTo>
                      <a:pt x="28" y="434"/>
                    </a:lnTo>
                    <a:lnTo>
                      <a:pt x="0" y="488"/>
                    </a:lnTo>
                    <a:lnTo>
                      <a:pt x="115" y="461"/>
                    </a:lnTo>
                    <a:lnTo>
                      <a:pt x="717" y="461"/>
                    </a:lnTo>
                    <a:lnTo>
                      <a:pt x="717" y="108"/>
                    </a:lnTo>
                    <a:lnTo>
                      <a:pt x="573" y="27"/>
                    </a:lnTo>
                    <a:lnTo>
                      <a:pt x="487" y="0"/>
                    </a:lnTo>
                    <a:lnTo>
                      <a:pt x="172" y="0"/>
                    </a:lnTo>
                    <a:lnTo>
                      <a:pt x="143" y="80"/>
                    </a:lnTo>
                    <a:lnTo>
                      <a:pt x="86" y="80"/>
                    </a:lnTo>
                    <a:lnTo>
                      <a:pt x="28" y="108"/>
                    </a:lnTo>
                    <a:lnTo>
                      <a:pt x="28" y="162"/>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7" name="Group 84">
              <a:extLst>
                <a:ext uri="{FF2B5EF4-FFF2-40B4-BE49-F238E27FC236}">
                  <a16:creationId xmlns:a16="http://schemas.microsoft.com/office/drawing/2014/main" id="{BC85FCDE-3CE3-E572-E81E-6ABEF0D4C530}"/>
                </a:ext>
              </a:extLst>
            </p:cNvPr>
            <p:cNvGrpSpPr>
              <a:grpSpLocks/>
            </p:cNvGrpSpPr>
            <p:nvPr/>
          </p:nvGrpSpPr>
          <p:grpSpPr bwMode="auto">
            <a:xfrm>
              <a:off x="1827871" y="3413461"/>
              <a:ext cx="922560" cy="717802"/>
              <a:chOff x="1184" y="1743"/>
              <a:chExt cx="802" cy="624"/>
            </a:xfrm>
            <a:solidFill>
              <a:schemeClr val="bg1">
                <a:lumMod val="85000"/>
              </a:schemeClr>
            </a:solidFill>
          </p:grpSpPr>
          <p:sp>
            <p:nvSpPr>
              <p:cNvPr id="572" name="Freeform 85">
                <a:extLst>
                  <a:ext uri="{FF2B5EF4-FFF2-40B4-BE49-F238E27FC236}">
                    <a16:creationId xmlns:a16="http://schemas.microsoft.com/office/drawing/2014/main" id="{5300CBED-5DDF-E642-6BA1-6BBD44F6DD37}"/>
                  </a:ext>
                </a:extLst>
              </p:cNvPr>
              <p:cNvSpPr>
                <a:spLocks/>
              </p:cNvSpPr>
              <p:nvPr/>
            </p:nvSpPr>
            <p:spPr bwMode="auto">
              <a:xfrm>
                <a:off x="1184" y="1743"/>
                <a:ext cx="802" cy="624"/>
              </a:xfrm>
              <a:custGeom>
                <a:avLst/>
                <a:gdLst/>
                <a:ahLst/>
                <a:cxnLst>
                  <a:cxn ang="0">
                    <a:pos x="229" y="0"/>
                  </a:cxn>
                  <a:cxn ang="0">
                    <a:pos x="0" y="190"/>
                  </a:cxn>
                  <a:cxn ang="0">
                    <a:pos x="143" y="270"/>
                  </a:cxn>
                  <a:cxn ang="0">
                    <a:pos x="143" y="624"/>
                  </a:cxn>
                  <a:cxn ang="0">
                    <a:pos x="430" y="624"/>
                  </a:cxn>
                  <a:cxn ang="0">
                    <a:pos x="545" y="542"/>
                  </a:cxn>
                  <a:cxn ang="0">
                    <a:pos x="631" y="570"/>
                  </a:cxn>
                  <a:cxn ang="0">
                    <a:pos x="688" y="570"/>
                  </a:cxn>
                  <a:cxn ang="0">
                    <a:pos x="688" y="217"/>
                  </a:cxn>
                  <a:cxn ang="0">
                    <a:pos x="773" y="217"/>
                  </a:cxn>
                  <a:cxn ang="0">
                    <a:pos x="802" y="190"/>
                  </a:cxn>
                  <a:cxn ang="0">
                    <a:pos x="717" y="54"/>
                  </a:cxn>
                  <a:cxn ang="0">
                    <a:pos x="316" y="136"/>
                  </a:cxn>
                  <a:cxn ang="0">
                    <a:pos x="258" y="108"/>
                  </a:cxn>
                  <a:cxn ang="0">
                    <a:pos x="229" y="0"/>
                  </a:cxn>
                </a:cxnLst>
                <a:rect l="0" t="0" r="r" b="b"/>
                <a:pathLst>
                  <a:path w="802" h="624">
                    <a:moveTo>
                      <a:pt x="229" y="0"/>
                    </a:moveTo>
                    <a:lnTo>
                      <a:pt x="0" y="190"/>
                    </a:lnTo>
                    <a:lnTo>
                      <a:pt x="143" y="270"/>
                    </a:lnTo>
                    <a:lnTo>
                      <a:pt x="143" y="624"/>
                    </a:lnTo>
                    <a:lnTo>
                      <a:pt x="430" y="624"/>
                    </a:lnTo>
                    <a:lnTo>
                      <a:pt x="545" y="542"/>
                    </a:lnTo>
                    <a:lnTo>
                      <a:pt x="631" y="570"/>
                    </a:lnTo>
                    <a:lnTo>
                      <a:pt x="688" y="570"/>
                    </a:lnTo>
                    <a:lnTo>
                      <a:pt x="688" y="217"/>
                    </a:lnTo>
                    <a:lnTo>
                      <a:pt x="773" y="217"/>
                    </a:lnTo>
                    <a:lnTo>
                      <a:pt x="802" y="190"/>
                    </a:lnTo>
                    <a:lnTo>
                      <a:pt x="717" y="54"/>
                    </a:lnTo>
                    <a:lnTo>
                      <a:pt x="316" y="136"/>
                    </a:lnTo>
                    <a:lnTo>
                      <a:pt x="258" y="108"/>
                    </a:lnTo>
                    <a:lnTo>
                      <a:pt x="2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73" name="Freeform 86">
                <a:extLst>
                  <a:ext uri="{FF2B5EF4-FFF2-40B4-BE49-F238E27FC236}">
                    <a16:creationId xmlns:a16="http://schemas.microsoft.com/office/drawing/2014/main" id="{58177997-5596-9C25-3A7E-8732FE50A532}"/>
                  </a:ext>
                </a:extLst>
              </p:cNvPr>
              <p:cNvSpPr>
                <a:spLocks/>
              </p:cNvSpPr>
              <p:nvPr/>
            </p:nvSpPr>
            <p:spPr bwMode="auto">
              <a:xfrm>
                <a:off x="1184" y="1743"/>
                <a:ext cx="802" cy="624"/>
              </a:xfrm>
              <a:custGeom>
                <a:avLst/>
                <a:gdLst/>
                <a:ahLst/>
                <a:cxnLst>
                  <a:cxn ang="0">
                    <a:pos x="229" y="0"/>
                  </a:cxn>
                  <a:cxn ang="0">
                    <a:pos x="0" y="190"/>
                  </a:cxn>
                  <a:cxn ang="0">
                    <a:pos x="143" y="270"/>
                  </a:cxn>
                  <a:cxn ang="0">
                    <a:pos x="143" y="624"/>
                  </a:cxn>
                  <a:cxn ang="0">
                    <a:pos x="430" y="624"/>
                  </a:cxn>
                  <a:cxn ang="0">
                    <a:pos x="545" y="542"/>
                  </a:cxn>
                  <a:cxn ang="0">
                    <a:pos x="631" y="570"/>
                  </a:cxn>
                  <a:cxn ang="0">
                    <a:pos x="688" y="570"/>
                  </a:cxn>
                  <a:cxn ang="0">
                    <a:pos x="688" y="217"/>
                  </a:cxn>
                  <a:cxn ang="0">
                    <a:pos x="773" y="217"/>
                  </a:cxn>
                  <a:cxn ang="0">
                    <a:pos x="802" y="190"/>
                  </a:cxn>
                  <a:cxn ang="0">
                    <a:pos x="717" y="54"/>
                  </a:cxn>
                  <a:cxn ang="0">
                    <a:pos x="316" y="136"/>
                  </a:cxn>
                  <a:cxn ang="0">
                    <a:pos x="258" y="108"/>
                  </a:cxn>
                  <a:cxn ang="0">
                    <a:pos x="229" y="0"/>
                  </a:cxn>
                </a:cxnLst>
                <a:rect l="0" t="0" r="r" b="b"/>
                <a:pathLst>
                  <a:path w="802" h="624">
                    <a:moveTo>
                      <a:pt x="229" y="0"/>
                    </a:moveTo>
                    <a:lnTo>
                      <a:pt x="0" y="190"/>
                    </a:lnTo>
                    <a:lnTo>
                      <a:pt x="143" y="270"/>
                    </a:lnTo>
                    <a:lnTo>
                      <a:pt x="143" y="624"/>
                    </a:lnTo>
                    <a:lnTo>
                      <a:pt x="430" y="624"/>
                    </a:lnTo>
                    <a:lnTo>
                      <a:pt x="545" y="542"/>
                    </a:lnTo>
                    <a:lnTo>
                      <a:pt x="631" y="570"/>
                    </a:lnTo>
                    <a:lnTo>
                      <a:pt x="688" y="570"/>
                    </a:lnTo>
                    <a:lnTo>
                      <a:pt x="688" y="217"/>
                    </a:lnTo>
                    <a:lnTo>
                      <a:pt x="773" y="217"/>
                    </a:lnTo>
                    <a:lnTo>
                      <a:pt x="802" y="190"/>
                    </a:lnTo>
                    <a:lnTo>
                      <a:pt x="717" y="54"/>
                    </a:lnTo>
                    <a:lnTo>
                      <a:pt x="316" y="136"/>
                    </a:lnTo>
                    <a:lnTo>
                      <a:pt x="258" y="108"/>
                    </a:lnTo>
                    <a:lnTo>
                      <a:pt x="229"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8" name="Group 87">
              <a:extLst>
                <a:ext uri="{FF2B5EF4-FFF2-40B4-BE49-F238E27FC236}">
                  <a16:creationId xmlns:a16="http://schemas.microsoft.com/office/drawing/2014/main" id="{66464B34-0642-BDA1-336D-C3BC7C44B9D3}"/>
                </a:ext>
              </a:extLst>
            </p:cNvPr>
            <p:cNvGrpSpPr>
              <a:grpSpLocks/>
            </p:cNvGrpSpPr>
            <p:nvPr/>
          </p:nvGrpSpPr>
          <p:grpSpPr bwMode="auto">
            <a:xfrm>
              <a:off x="2554876" y="3630872"/>
              <a:ext cx="659136" cy="562509"/>
              <a:chOff x="1816" y="1932"/>
              <a:chExt cx="573" cy="489"/>
            </a:xfrm>
            <a:solidFill>
              <a:schemeClr val="bg1">
                <a:lumMod val="85000"/>
              </a:schemeClr>
            </a:solidFill>
          </p:grpSpPr>
          <p:sp>
            <p:nvSpPr>
              <p:cNvPr id="570" name="Freeform 88">
                <a:extLst>
                  <a:ext uri="{FF2B5EF4-FFF2-40B4-BE49-F238E27FC236}">
                    <a16:creationId xmlns:a16="http://schemas.microsoft.com/office/drawing/2014/main" id="{069E13BA-A126-22ED-8CDF-B5DE66B739E1}"/>
                  </a:ext>
                </a:extLst>
              </p:cNvPr>
              <p:cNvSpPr>
                <a:spLocks/>
              </p:cNvSpPr>
              <p:nvPr/>
            </p:nvSpPr>
            <p:spPr bwMode="auto">
              <a:xfrm>
                <a:off x="1816" y="1932"/>
                <a:ext cx="573" cy="489"/>
              </a:xfrm>
              <a:custGeom>
                <a:avLst/>
                <a:gdLst/>
                <a:ahLst/>
                <a:cxnLst>
                  <a:cxn ang="0">
                    <a:pos x="171" y="0"/>
                  </a:cxn>
                  <a:cxn ang="0">
                    <a:pos x="142" y="28"/>
                  </a:cxn>
                  <a:cxn ang="0">
                    <a:pos x="57" y="28"/>
                  </a:cxn>
                  <a:cxn ang="0">
                    <a:pos x="57" y="380"/>
                  </a:cxn>
                  <a:cxn ang="0">
                    <a:pos x="0" y="380"/>
                  </a:cxn>
                  <a:cxn ang="0">
                    <a:pos x="0" y="407"/>
                  </a:cxn>
                  <a:cxn ang="0">
                    <a:pos x="57" y="461"/>
                  </a:cxn>
                  <a:cxn ang="0">
                    <a:pos x="57" y="489"/>
                  </a:cxn>
                  <a:cxn ang="0">
                    <a:pos x="430" y="489"/>
                  </a:cxn>
                  <a:cxn ang="0">
                    <a:pos x="458" y="352"/>
                  </a:cxn>
                  <a:cxn ang="0">
                    <a:pos x="548" y="273"/>
                  </a:cxn>
                  <a:cxn ang="0">
                    <a:pos x="573" y="135"/>
                  </a:cxn>
                  <a:cxn ang="0">
                    <a:pos x="430" y="54"/>
                  </a:cxn>
                  <a:cxn ang="0">
                    <a:pos x="315" y="28"/>
                  </a:cxn>
                  <a:cxn ang="0">
                    <a:pos x="315" y="108"/>
                  </a:cxn>
                  <a:cxn ang="0">
                    <a:pos x="257" y="54"/>
                  </a:cxn>
                  <a:cxn ang="0">
                    <a:pos x="257" y="0"/>
                  </a:cxn>
                  <a:cxn ang="0">
                    <a:pos x="171" y="0"/>
                  </a:cxn>
                </a:cxnLst>
                <a:rect l="0" t="0" r="r" b="b"/>
                <a:pathLst>
                  <a:path w="573" h="489">
                    <a:moveTo>
                      <a:pt x="171" y="0"/>
                    </a:moveTo>
                    <a:lnTo>
                      <a:pt x="142" y="28"/>
                    </a:lnTo>
                    <a:lnTo>
                      <a:pt x="57" y="28"/>
                    </a:lnTo>
                    <a:lnTo>
                      <a:pt x="57" y="380"/>
                    </a:lnTo>
                    <a:lnTo>
                      <a:pt x="0" y="380"/>
                    </a:lnTo>
                    <a:lnTo>
                      <a:pt x="0" y="407"/>
                    </a:lnTo>
                    <a:lnTo>
                      <a:pt x="57" y="461"/>
                    </a:lnTo>
                    <a:lnTo>
                      <a:pt x="57" y="489"/>
                    </a:lnTo>
                    <a:lnTo>
                      <a:pt x="430" y="489"/>
                    </a:lnTo>
                    <a:lnTo>
                      <a:pt x="458" y="352"/>
                    </a:lnTo>
                    <a:lnTo>
                      <a:pt x="548" y="273"/>
                    </a:lnTo>
                    <a:lnTo>
                      <a:pt x="573" y="135"/>
                    </a:lnTo>
                    <a:lnTo>
                      <a:pt x="430" y="54"/>
                    </a:lnTo>
                    <a:lnTo>
                      <a:pt x="315" y="28"/>
                    </a:lnTo>
                    <a:lnTo>
                      <a:pt x="315" y="108"/>
                    </a:lnTo>
                    <a:lnTo>
                      <a:pt x="257" y="54"/>
                    </a:lnTo>
                    <a:lnTo>
                      <a:pt x="257" y="0"/>
                    </a:lnTo>
                    <a:lnTo>
                      <a:pt x="171"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71" name="Freeform 89">
                <a:extLst>
                  <a:ext uri="{FF2B5EF4-FFF2-40B4-BE49-F238E27FC236}">
                    <a16:creationId xmlns:a16="http://schemas.microsoft.com/office/drawing/2014/main" id="{F9993027-0713-EE2E-7142-FF7D5BB7EE1F}"/>
                  </a:ext>
                </a:extLst>
              </p:cNvPr>
              <p:cNvSpPr>
                <a:spLocks/>
              </p:cNvSpPr>
              <p:nvPr/>
            </p:nvSpPr>
            <p:spPr bwMode="auto">
              <a:xfrm>
                <a:off x="1816" y="1932"/>
                <a:ext cx="573" cy="489"/>
              </a:xfrm>
              <a:custGeom>
                <a:avLst/>
                <a:gdLst/>
                <a:ahLst/>
                <a:cxnLst>
                  <a:cxn ang="0">
                    <a:pos x="171" y="0"/>
                  </a:cxn>
                  <a:cxn ang="0">
                    <a:pos x="142" y="28"/>
                  </a:cxn>
                  <a:cxn ang="0">
                    <a:pos x="57" y="28"/>
                  </a:cxn>
                  <a:cxn ang="0">
                    <a:pos x="57" y="380"/>
                  </a:cxn>
                  <a:cxn ang="0">
                    <a:pos x="0" y="380"/>
                  </a:cxn>
                  <a:cxn ang="0">
                    <a:pos x="0" y="407"/>
                  </a:cxn>
                  <a:cxn ang="0">
                    <a:pos x="57" y="461"/>
                  </a:cxn>
                  <a:cxn ang="0">
                    <a:pos x="57" y="489"/>
                  </a:cxn>
                  <a:cxn ang="0">
                    <a:pos x="430" y="489"/>
                  </a:cxn>
                  <a:cxn ang="0">
                    <a:pos x="458" y="352"/>
                  </a:cxn>
                  <a:cxn ang="0">
                    <a:pos x="548" y="273"/>
                  </a:cxn>
                  <a:cxn ang="0">
                    <a:pos x="573" y="135"/>
                  </a:cxn>
                  <a:cxn ang="0">
                    <a:pos x="430" y="54"/>
                  </a:cxn>
                  <a:cxn ang="0">
                    <a:pos x="315" y="28"/>
                  </a:cxn>
                  <a:cxn ang="0">
                    <a:pos x="315" y="108"/>
                  </a:cxn>
                  <a:cxn ang="0">
                    <a:pos x="257" y="54"/>
                  </a:cxn>
                  <a:cxn ang="0">
                    <a:pos x="257" y="0"/>
                  </a:cxn>
                  <a:cxn ang="0">
                    <a:pos x="171" y="0"/>
                  </a:cxn>
                </a:cxnLst>
                <a:rect l="0" t="0" r="r" b="b"/>
                <a:pathLst>
                  <a:path w="573" h="489">
                    <a:moveTo>
                      <a:pt x="171" y="0"/>
                    </a:moveTo>
                    <a:lnTo>
                      <a:pt x="142" y="28"/>
                    </a:lnTo>
                    <a:lnTo>
                      <a:pt x="57" y="28"/>
                    </a:lnTo>
                    <a:lnTo>
                      <a:pt x="57" y="380"/>
                    </a:lnTo>
                    <a:lnTo>
                      <a:pt x="0" y="380"/>
                    </a:lnTo>
                    <a:lnTo>
                      <a:pt x="0" y="407"/>
                    </a:lnTo>
                    <a:lnTo>
                      <a:pt x="57" y="461"/>
                    </a:lnTo>
                    <a:lnTo>
                      <a:pt x="57" y="489"/>
                    </a:lnTo>
                    <a:lnTo>
                      <a:pt x="430" y="489"/>
                    </a:lnTo>
                    <a:lnTo>
                      <a:pt x="458" y="352"/>
                    </a:lnTo>
                    <a:lnTo>
                      <a:pt x="548" y="273"/>
                    </a:lnTo>
                    <a:lnTo>
                      <a:pt x="573" y="135"/>
                    </a:lnTo>
                    <a:lnTo>
                      <a:pt x="430" y="54"/>
                    </a:lnTo>
                    <a:lnTo>
                      <a:pt x="315" y="28"/>
                    </a:lnTo>
                    <a:lnTo>
                      <a:pt x="315" y="108"/>
                    </a:lnTo>
                    <a:lnTo>
                      <a:pt x="257" y="54"/>
                    </a:lnTo>
                    <a:lnTo>
                      <a:pt x="257" y="0"/>
                    </a:lnTo>
                    <a:lnTo>
                      <a:pt x="171"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69" name="Group 102">
              <a:extLst>
                <a:ext uri="{FF2B5EF4-FFF2-40B4-BE49-F238E27FC236}">
                  <a16:creationId xmlns:a16="http://schemas.microsoft.com/office/drawing/2014/main" id="{A3636349-F966-C3B2-E863-933307F80C36}"/>
                </a:ext>
              </a:extLst>
            </p:cNvPr>
            <p:cNvGrpSpPr>
              <a:grpSpLocks/>
            </p:cNvGrpSpPr>
            <p:nvPr/>
          </p:nvGrpSpPr>
          <p:grpSpPr bwMode="auto">
            <a:xfrm>
              <a:off x="3049514" y="3973670"/>
              <a:ext cx="601620" cy="624627"/>
              <a:chOff x="2246" y="2230"/>
              <a:chExt cx="523" cy="543"/>
            </a:xfrm>
            <a:solidFill>
              <a:schemeClr val="bg1">
                <a:lumMod val="85000"/>
              </a:schemeClr>
            </a:solidFill>
          </p:grpSpPr>
          <p:sp>
            <p:nvSpPr>
              <p:cNvPr id="568" name="Freeform 103">
                <a:extLst>
                  <a:ext uri="{FF2B5EF4-FFF2-40B4-BE49-F238E27FC236}">
                    <a16:creationId xmlns:a16="http://schemas.microsoft.com/office/drawing/2014/main" id="{CC7C1DF0-C45C-DD9B-5A00-9EAC431987C5}"/>
                  </a:ext>
                </a:extLst>
              </p:cNvPr>
              <p:cNvSpPr>
                <a:spLocks/>
              </p:cNvSpPr>
              <p:nvPr/>
            </p:nvSpPr>
            <p:spPr bwMode="auto">
              <a:xfrm>
                <a:off x="2246" y="2230"/>
                <a:ext cx="523" cy="543"/>
              </a:xfrm>
              <a:custGeom>
                <a:avLst/>
                <a:gdLst/>
                <a:ahLst/>
                <a:cxnLst>
                  <a:cxn ang="0">
                    <a:pos x="88" y="2"/>
                  </a:cxn>
                  <a:cxn ang="0">
                    <a:pos x="29" y="53"/>
                  </a:cxn>
                  <a:cxn ang="0">
                    <a:pos x="0" y="188"/>
                  </a:cxn>
                  <a:cxn ang="0">
                    <a:pos x="86" y="248"/>
                  </a:cxn>
                  <a:cxn ang="0">
                    <a:pos x="112" y="360"/>
                  </a:cxn>
                  <a:cxn ang="0">
                    <a:pos x="114" y="542"/>
                  </a:cxn>
                  <a:cxn ang="0">
                    <a:pos x="379" y="543"/>
                  </a:cxn>
                  <a:cxn ang="0">
                    <a:pos x="437" y="515"/>
                  </a:cxn>
                  <a:cxn ang="0">
                    <a:pos x="523" y="381"/>
                  </a:cxn>
                  <a:cxn ang="0">
                    <a:pos x="466" y="272"/>
                  </a:cxn>
                  <a:cxn ang="0">
                    <a:pos x="264" y="272"/>
                  </a:cxn>
                  <a:cxn ang="0">
                    <a:pos x="322" y="190"/>
                  </a:cxn>
                  <a:cxn ang="0">
                    <a:pos x="322" y="109"/>
                  </a:cxn>
                  <a:cxn ang="0">
                    <a:pos x="236" y="109"/>
                  </a:cxn>
                  <a:cxn ang="0">
                    <a:pos x="293" y="136"/>
                  </a:cxn>
                  <a:cxn ang="0">
                    <a:pos x="293" y="190"/>
                  </a:cxn>
                  <a:cxn ang="0">
                    <a:pos x="207" y="163"/>
                  </a:cxn>
                  <a:cxn ang="0">
                    <a:pos x="149" y="27"/>
                  </a:cxn>
                  <a:cxn ang="0">
                    <a:pos x="92" y="0"/>
                  </a:cxn>
                  <a:cxn ang="0">
                    <a:pos x="88" y="2"/>
                  </a:cxn>
                </a:cxnLst>
                <a:rect l="0" t="0" r="r" b="b"/>
                <a:pathLst>
                  <a:path w="523" h="543">
                    <a:moveTo>
                      <a:pt x="88" y="2"/>
                    </a:moveTo>
                    <a:lnTo>
                      <a:pt x="29" y="53"/>
                    </a:lnTo>
                    <a:lnTo>
                      <a:pt x="0" y="188"/>
                    </a:lnTo>
                    <a:lnTo>
                      <a:pt x="86" y="248"/>
                    </a:lnTo>
                    <a:lnTo>
                      <a:pt x="112" y="360"/>
                    </a:lnTo>
                    <a:lnTo>
                      <a:pt x="114" y="542"/>
                    </a:lnTo>
                    <a:lnTo>
                      <a:pt x="379" y="543"/>
                    </a:lnTo>
                    <a:lnTo>
                      <a:pt x="437" y="515"/>
                    </a:lnTo>
                    <a:lnTo>
                      <a:pt x="523" y="381"/>
                    </a:lnTo>
                    <a:lnTo>
                      <a:pt x="466" y="272"/>
                    </a:lnTo>
                    <a:lnTo>
                      <a:pt x="264" y="272"/>
                    </a:lnTo>
                    <a:lnTo>
                      <a:pt x="322" y="190"/>
                    </a:lnTo>
                    <a:lnTo>
                      <a:pt x="322" y="109"/>
                    </a:lnTo>
                    <a:lnTo>
                      <a:pt x="236" y="109"/>
                    </a:lnTo>
                    <a:lnTo>
                      <a:pt x="293" y="136"/>
                    </a:lnTo>
                    <a:lnTo>
                      <a:pt x="293" y="190"/>
                    </a:lnTo>
                    <a:lnTo>
                      <a:pt x="207" y="163"/>
                    </a:lnTo>
                    <a:lnTo>
                      <a:pt x="149" y="27"/>
                    </a:lnTo>
                    <a:lnTo>
                      <a:pt x="92" y="0"/>
                    </a:lnTo>
                    <a:lnTo>
                      <a:pt x="88" y="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69" name="Freeform 104">
                <a:extLst>
                  <a:ext uri="{FF2B5EF4-FFF2-40B4-BE49-F238E27FC236}">
                    <a16:creationId xmlns:a16="http://schemas.microsoft.com/office/drawing/2014/main" id="{6C5C82A4-CE2B-E885-AE2E-777507961FA2}"/>
                  </a:ext>
                </a:extLst>
              </p:cNvPr>
              <p:cNvSpPr>
                <a:spLocks/>
              </p:cNvSpPr>
              <p:nvPr/>
            </p:nvSpPr>
            <p:spPr bwMode="auto">
              <a:xfrm>
                <a:off x="2246" y="2230"/>
                <a:ext cx="523" cy="543"/>
              </a:xfrm>
              <a:custGeom>
                <a:avLst/>
                <a:gdLst/>
                <a:ahLst/>
                <a:cxnLst>
                  <a:cxn ang="0">
                    <a:pos x="88" y="2"/>
                  </a:cxn>
                  <a:cxn ang="0">
                    <a:pos x="29" y="53"/>
                  </a:cxn>
                  <a:cxn ang="0">
                    <a:pos x="0" y="188"/>
                  </a:cxn>
                  <a:cxn ang="0">
                    <a:pos x="86" y="248"/>
                  </a:cxn>
                  <a:cxn ang="0">
                    <a:pos x="112" y="360"/>
                  </a:cxn>
                  <a:cxn ang="0">
                    <a:pos x="114" y="542"/>
                  </a:cxn>
                  <a:cxn ang="0">
                    <a:pos x="379" y="543"/>
                  </a:cxn>
                  <a:cxn ang="0">
                    <a:pos x="437" y="515"/>
                  </a:cxn>
                  <a:cxn ang="0">
                    <a:pos x="523" y="381"/>
                  </a:cxn>
                  <a:cxn ang="0">
                    <a:pos x="466" y="272"/>
                  </a:cxn>
                  <a:cxn ang="0">
                    <a:pos x="264" y="272"/>
                  </a:cxn>
                  <a:cxn ang="0">
                    <a:pos x="322" y="190"/>
                  </a:cxn>
                  <a:cxn ang="0">
                    <a:pos x="322" y="109"/>
                  </a:cxn>
                  <a:cxn ang="0">
                    <a:pos x="236" y="109"/>
                  </a:cxn>
                  <a:cxn ang="0">
                    <a:pos x="293" y="136"/>
                  </a:cxn>
                  <a:cxn ang="0">
                    <a:pos x="293" y="190"/>
                  </a:cxn>
                  <a:cxn ang="0">
                    <a:pos x="207" y="163"/>
                  </a:cxn>
                  <a:cxn ang="0">
                    <a:pos x="149" y="27"/>
                  </a:cxn>
                  <a:cxn ang="0">
                    <a:pos x="92" y="0"/>
                  </a:cxn>
                </a:cxnLst>
                <a:rect l="0" t="0" r="r" b="b"/>
                <a:pathLst>
                  <a:path w="523" h="543">
                    <a:moveTo>
                      <a:pt x="88" y="2"/>
                    </a:moveTo>
                    <a:lnTo>
                      <a:pt x="29" y="53"/>
                    </a:lnTo>
                    <a:lnTo>
                      <a:pt x="0" y="188"/>
                    </a:lnTo>
                    <a:lnTo>
                      <a:pt x="86" y="248"/>
                    </a:lnTo>
                    <a:lnTo>
                      <a:pt x="112" y="360"/>
                    </a:lnTo>
                    <a:lnTo>
                      <a:pt x="114" y="542"/>
                    </a:lnTo>
                    <a:lnTo>
                      <a:pt x="379" y="543"/>
                    </a:lnTo>
                    <a:lnTo>
                      <a:pt x="437" y="515"/>
                    </a:lnTo>
                    <a:lnTo>
                      <a:pt x="523" y="381"/>
                    </a:lnTo>
                    <a:lnTo>
                      <a:pt x="466" y="272"/>
                    </a:lnTo>
                    <a:lnTo>
                      <a:pt x="264" y="272"/>
                    </a:lnTo>
                    <a:lnTo>
                      <a:pt x="322" y="190"/>
                    </a:lnTo>
                    <a:lnTo>
                      <a:pt x="322" y="109"/>
                    </a:lnTo>
                    <a:lnTo>
                      <a:pt x="236" y="109"/>
                    </a:lnTo>
                    <a:lnTo>
                      <a:pt x="293" y="136"/>
                    </a:lnTo>
                    <a:lnTo>
                      <a:pt x="293" y="190"/>
                    </a:lnTo>
                    <a:lnTo>
                      <a:pt x="207" y="163"/>
                    </a:lnTo>
                    <a:lnTo>
                      <a:pt x="149" y="27"/>
                    </a:lnTo>
                    <a:lnTo>
                      <a:pt x="92"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170" name="Freeform 107">
              <a:extLst>
                <a:ext uri="{FF2B5EF4-FFF2-40B4-BE49-F238E27FC236}">
                  <a16:creationId xmlns:a16="http://schemas.microsoft.com/office/drawing/2014/main" id="{BAC81037-E673-4DD3-969F-CDD650369F09}"/>
                </a:ext>
              </a:extLst>
            </p:cNvPr>
            <p:cNvSpPr>
              <a:spLocks/>
            </p:cNvSpPr>
            <p:nvPr/>
          </p:nvSpPr>
          <p:spPr bwMode="auto">
            <a:xfrm>
              <a:off x="3643080" y="3974819"/>
              <a:ext cx="526849" cy="438274"/>
            </a:xfrm>
            <a:custGeom>
              <a:avLst/>
              <a:gdLst/>
              <a:ahLst/>
              <a:cxnLst>
                <a:cxn ang="0">
                  <a:pos x="114" y="0"/>
                </a:cxn>
                <a:cxn ang="0">
                  <a:pos x="56" y="218"/>
                </a:cxn>
                <a:cxn ang="0">
                  <a:pos x="0" y="327"/>
                </a:cxn>
                <a:cxn ang="0">
                  <a:pos x="0" y="381"/>
                </a:cxn>
                <a:cxn ang="0">
                  <a:pos x="56" y="327"/>
                </a:cxn>
                <a:cxn ang="0">
                  <a:pos x="458" y="327"/>
                </a:cxn>
                <a:cxn ang="0">
                  <a:pos x="430" y="136"/>
                </a:cxn>
                <a:cxn ang="0">
                  <a:pos x="458" y="0"/>
                </a:cxn>
                <a:cxn ang="0">
                  <a:pos x="114" y="0"/>
                </a:cxn>
              </a:cxnLst>
              <a:rect l="0" t="0" r="r" b="b"/>
              <a:pathLst>
                <a:path w="458" h="381">
                  <a:moveTo>
                    <a:pt x="114" y="0"/>
                  </a:moveTo>
                  <a:lnTo>
                    <a:pt x="56" y="218"/>
                  </a:lnTo>
                  <a:lnTo>
                    <a:pt x="0" y="327"/>
                  </a:lnTo>
                  <a:lnTo>
                    <a:pt x="0" y="381"/>
                  </a:lnTo>
                  <a:lnTo>
                    <a:pt x="56" y="327"/>
                  </a:lnTo>
                  <a:lnTo>
                    <a:pt x="458" y="327"/>
                  </a:lnTo>
                  <a:lnTo>
                    <a:pt x="430" y="136"/>
                  </a:lnTo>
                  <a:lnTo>
                    <a:pt x="458" y="0"/>
                  </a:lnTo>
                  <a:lnTo>
                    <a:pt x="114" y="0"/>
                  </a:lnTo>
                </a:path>
              </a:pathLst>
            </a:custGeom>
            <a:solidFill>
              <a:schemeClr val="bg1">
                <a:lumMod val="85000"/>
              </a:schemeClr>
            </a:solidFill>
            <a:ln w="6350" cap="rnd">
              <a:solidFill>
                <a:schemeClr val="bg1"/>
              </a:solidFill>
              <a:prstDash val="solid"/>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71" name="Freeform 110">
              <a:extLst>
                <a:ext uri="{FF2B5EF4-FFF2-40B4-BE49-F238E27FC236}">
                  <a16:creationId xmlns:a16="http://schemas.microsoft.com/office/drawing/2014/main" id="{907C5384-58F2-82C1-B328-10E9BF9B9210}"/>
                </a:ext>
              </a:extLst>
            </p:cNvPr>
            <p:cNvSpPr>
              <a:spLocks/>
            </p:cNvSpPr>
            <p:nvPr/>
          </p:nvSpPr>
          <p:spPr bwMode="auto">
            <a:xfrm>
              <a:off x="4104363" y="3974819"/>
              <a:ext cx="362352" cy="438274"/>
            </a:xfrm>
            <a:custGeom>
              <a:avLst/>
              <a:gdLst/>
              <a:ahLst/>
              <a:cxnLst>
                <a:cxn ang="0">
                  <a:pos x="57" y="0"/>
                </a:cxn>
                <a:cxn ang="0">
                  <a:pos x="29" y="136"/>
                </a:cxn>
                <a:cxn ang="0">
                  <a:pos x="57" y="327"/>
                </a:cxn>
                <a:cxn ang="0">
                  <a:pos x="0" y="381"/>
                </a:cxn>
                <a:cxn ang="0">
                  <a:pos x="315" y="381"/>
                </a:cxn>
                <a:cxn ang="0">
                  <a:pos x="315" y="0"/>
                </a:cxn>
                <a:cxn ang="0">
                  <a:pos x="57" y="0"/>
                </a:cxn>
              </a:cxnLst>
              <a:rect l="0" t="0" r="r" b="b"/>
              <a:pathLst>
                <a:path w="315" h="381">
                  <a:moveTo>
                    <a:pt x="57" y="0"/>
                  </a:moveTo>
                  <a:lnTo>
                    <a:pt x="29" y="136"/>
                  </a:lnTo>
                  <a:lnTo>
                    <a:pt x="57" y="327"/>
                  </a:lnTo>
                  <a:lnTo>
                    <a:pt x="0" y="381"/>
                  </a:lnTo>
                  <a:lnTo>
                    <a:pt x="315" y="381"/>
                  </a:lnTo>
                  <a:lnTo>
                    <a:pt x="315" y="0"/>
                  </a:lnTo>
                  <a:lnTo>
                    <a:pt x="57" y="0"/>
                  </a:lnTo>
                </a:path>
              </a:pathLst>
            </a:custGeom>
            <a:solidFill>
              <a:schemeClr val="bg1">
                <a:lumMod val="85000"/>
              </a:schemeClr>
            </a:solidFill>
            <a:ln w="6350" cap="rnd">
              <a:solidFill>
                <a:schemeClr val="bg1"/>
              </a:solidFill>
              <a:prstDash val="solid"/>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72" name="Freeform 113">
              <a:extLst>
                <a:ext uri="{FF2B5EF4-FFF2-40B4-BE49-F238E27FC236}">
                  <a16:creationId xmlns:a16="http://schemas.microsoft.com/office/drawing/2014/main" id="{95F2BBA5-D0E0-406F-B633-8172DB59AC8B}"/>
                </a:ext>
              </a:extLst>
            </p:cNvPr>
            <p:cNvSpPr>
              <a:spLocks/>
            </p:cNvSpPr>
            <p:nvPr/>
          </p:nvSpPr>
          <p:spPr bwMode="auto">
            <a:xfrm>
              <a:off x="4466712" y="3974819"/>
              <a:ext cx="362353" cy="842037"/>
            </a:xfrm>
            <a:custGeom>
              <a:avLst/>
              <a:gdLst/>
              <a:ahLst/>
              <a:cxnLst>
                <a:cxn ang="0">
                  <a:pos x="0" y="0"/>
                </a:cxn>
                <a:cxn ang="0">
                  <a:pos x="0" y="515"/>
                </a:cxn>
                <a:cxn ang="0">
                  <a:pos x="86" y="678"/>
                </a:cxn>
                <a:cxn ang="0">
                  <a:pos x="258" y="732"/>
                </a:cxn>
                <a:cxn ang="0">
                  <a:pos x="315" y="651"/>
                </a:cxn>
                <a:cxn ang="0">
                  <a:pos x="287" y="299"/>
                </a:cxn>
                <a:cxn ang="0">
                  <a:pos x="201" y="81"/>
                </a:cxn>
                <a:cxn ang="0">
                  <a:pos x="201" y="0"/>
                </a:cxn>
                <a:cxn ang="0">
                  <a:pos x="0" y="0"/>
                </a:cxn>
              </a:cxnLst>
              <a:rect l="0" t="0" r="r" b="b"/>
              <a:pathLst>
                <a:path w="315" h="732">
                  <a:moveTo>
                    <a:pt x="0" y="0"/>
                  </a:moveTo>
                  <a:lnTo>
                    <a:pt x="0" y="515"/>
                  </a:lnTo>
                  <a:lnTo>
                    <a:pt x="86" y="678"/>
                  </a:lnTo>
                  <a:lnTo>
                    <a:pt x="258" y="732"/>
                  </a:lnTo>
                  <a:lnTo>
                    <a:pt x="315" y="651"/>
                  </a:lnTo>
                  <a:lnTo>
                    <a:pt x="287" y="299"/>
                  </a:lnTo>
                  <a:lnTo>
                    <a:pt x="201" y="81"/>
                  </a:lnTo>
                  <a:lnTo>
                    <a:pt x="201" y="0"/>
                  </a:lnTo>
                  <a:lnTo>
                    <a:pt x="0" y="0"/>
                  </a:lnTo>
                </a:path>
              </a:pathLst>
            </a:custGeom>
            <a:solidFill>
              <a:schemeClr val="bg1">
                <a:lumMod val="85000"/>
              </a:schemeClr>
            </a:solidFill>
            <a:ln w="6350" cap="rnd">
              <a:solidFill>
                <a:schemeClr val="bg1"/>
              </a:solidFill>
              <a:prstDash val="solid"/>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73" name="Freeform 116">
              <a:extLst>
                <a:ext uri="{FF2B5EF4-FFF2-40B4-BE49-F238E27FC236}">
                  <a16:creationId xmlns:a16="http://schemas.microsoft.com/office/drawing/2014/main" id="{A4681CCE-50AB-CD39-1904-3717C2B59539}"/>
                </a:ext>
              </a:extLst>
            </p:cNvPr>
            <p:cNvSpPr>
              <a:spLocks/>
            </p:cNvSpPr>
            <p:nvPr/>
          </p:nvSpPr>
          <p:spPr bwMode="auto">
            <a:xfrm>
              <a:off x="4699080" y="3974821"/>
              <a:ext cx="659136" cy="376157"/>
            </a:xfrm>
            <a:custGeom>
              <a:avLst/>
              <a:gdLst/>
              <a:ahLst/>
              <a:cxnLst>
                <a:cxn ang="0">
                  <a:pos x="0" y="0"/>
                </a:cxn>
                <a:cxn ang="0">
                  <a:pos x="0" y="82"/>
                </a:cxn>
                <a:cxn ang="0">
                  <a:pos x="85" y="300"/>
                </a:cxn>
                <a:cxn ang="0">
                  <a:pos x="343" y="327"/>
                </a:cxn>
                <a:cxn ang="0">
                  <a:pos x="458" y="327"/>
                </a:cxn>
                <a:cxn ang="0">
                  <a:pos x="573" y="0"/>
                </a:cxn>
                <a:cxn ang="0">
                  <a:pos x="0" y="0"/>
                </a:cxn>
              </a:cxnLst>
              <a:rect l="0" t="0" r="r" b="b"/>
              <a:pathLst>
                <a:path w="573" h="327">
                  <a:moveTo>
                    <a:pt x="0" y="0"/>
                  </a:moveTo>
                  <a:lnTo>
                    <a:pt x="0" y="82"/>
                  </a:lnTo>
                  <a:lnTo>
                    <a:pt x="85" y="300"/>
                  </a:lnTo>
                  <a:lnTo>
                    <a:pt x="343" y="327"/>
                  </a:lnTo>
                  <a:lnTo>
                    <a:pt x="458" y="327"/>
                  </a:lnTo>
                  <a:lnTo>
                    <a:pt x="573" y="0"/>
                  </a:lnTo>
                  <a:lnTo>
                    <a:pt x="0" y="0"/>
                  </a:lnTo>
                </a:path>
              </a:pathLst>
            </a:custGeom>
            <a:solidFill>
              <a:schemeClr val="bg1">
                <a:lumMod val="85000"/>
              </a:schemeClr>
            </a:solidFill>
            <a:ln w="6350" cap="rnd">
              <a:solidFill>
                <a:schemeClr val="bg1"/>
              </a:solidFill>
              <a:prstDash val="solid"/>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74" name="Freeform 119">
              <a:extLst>
                <a:ext uri="{FF2B5EF4-FFF2-40B4-BE49-F238E27FC236}">
                  <a16:creationId xmlns:a16="http://schemas.microsoft.com/office/drawing/2014/main" id="{44EB9B3F-7323-230D-769A-B46B38D0684D}"/>
                </a:ext>
              </a:extLst>
            </p:cNvPr>
            <p:cNvSpPr>
              <a:spLocks/>
            </p:cNvSpPr>
            <p:nvPr/>
          </p:nvSpPr>
          <p:spPr bwMode="auto">
            <a:xfrm>
              <a:off x="4795705" y="4318767"/>
              <a:ext cx="729305" cy="623476"/>
            </a:xfrm>
            <a:custGeom>
              <a:avLst/>
              <a:gdLst/>
              <a:ahLst/>
              <a:cxnLst>
                <a:cxn ang="0">
                  <a:pos x="0" y="0"/>
                </a:cxn>
                <a:cxn ang="0">
                  <a:pos x="29" y="352"/>
                </a:cxn>
                <a:cxn ang="0">
                  <a:pos x="87" y="325"/>
                </a:cxn>
                <a:cxn ang="0">
                  <a:pos x="260" y="406"/>
                </a:cxn>
                <a:cxn ang="0">
                  <a:pos x="260" y="461"/>
                </a:cxn>
                <a:cxn ang="0">
                  <a:pos x="519" y="542"/>
                </a:cxn>
                <a:cxn ang="0">
                  <a:pos x="605" y="515"/>
                </a:cxn>
                <a:cxn ang="0">
                  <a:pos x="634" y="461"/>
                </a:cxn>
                <a:cxn ang="0">
                  <a:pos x="548" y="243"/>
                </a:cxn>
                <a:cxn ang="0">
                  <a:pos x="375" y="27"/>
                </a:cxn>
                <a:cxn ang="0">
                  <a:pos x="260" y="27"/>
                </a:cxn>
                <a:cxn ang="0">
                  <a:pos x="0" y="0"/>
                </a:cxn>
              </a:cxnLst>
              <a:rect l="0" t="0" r="r" b="b"/>
              <a:pathLst>
                <a:path w="634" h="542">
                  <a:moveTo>
                    <a:pt x="0" y="0"/>
                  </a:moveTo>
                  <a:lnTo>
                    <a:pt x="29" y="352"/>
                  </a:lnTo>
                  <a:lnTo>
                    <a:pt x="87" y="325"/>
                  </a:lnTo>
                  <a:lnTo>
                    <a:pt x="260" y="406"/>
                  </a:lnTo>
                  <a:lnTo>
                    <a:pt x="260" y="461"/>
                  </a:lnTo>
                  <a:lnTo>
                    <a:pt x="519" y="542"/>
                  </a:lnTo>
                  <a:lnTo>
                    <a:pt x="605" y="515"/>
                  </a:lnTo>
                  <a:lnTo>
                    <a:pt x="634" y="461"/>
                  </a:lnTo>
                  <a:lnTo>
                    <a:pt x="548" y="243"/>
                  </a:lnTo>
                  <a:lnTo>
                    <a:pt x="375" y="27"/>
                  </a:lnTo>
                  <a:lnTo>
                    <a:pt x="260" y="27"/>
                  </a:lnTo>
                  <a:lnTo>
                    <a:pt x="0" y="0"/>
                  </a:lnTo>
                </a:path>
              </a:pathLst>
            </a:custGeom>
            <a:solidFill>
              <a:srgbClr val="002060"/>
            </a:solidFill>
            <a:ln w="6350" cap="rnd">
              <a:solidFill>
                <a:schemeClr val="bg1"/>
              </a:solidFill>
              <a:prstDash val="solid"/>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nvGrpSpPr>
            <p:cNvPr id="175" name="Group 132">
              <a:extLst>
                <a:ext uri="{FF2B5EF4-FFF2-40B4-BE49-F238E27FC236}">
                  <a16:creationId xmlns:a16="http://schemas.microsoft.com/office/drawing/2014/main" id="{40BF0CCE-3B50-BFA2-27CA-93302C5BFB5E}"/>
                </a:ext>
              </a:extLst>
            </p:cNvPr>
            <p:cNvGrpSpPr>
              <a:grpSpLocks/>
            </p:cNvGrpSpPr>
            <p:nvPr/>
          </p:nvGrpSpPr>
          <p:grpSpPr bwMode="auto">
            <a:xfrm>
              <a:off x="3247371" y="4598294"/>
              <a:ext cx="727005" cy="531451"/>
              <a:chOff x="2418" y="2773"/>
              <a:chExt cx="632" cy="462"/>
            </a:xfrm>
            <a:solidFill>
              <a:schemeClr val="bg1">
                <a:lumMod val="85000"/>
              </a:schemeClr>
            </a:solidFill>
          </p:grpSpPr>
          <p:sp>
            <p:nvSpPr>
              <p:cNvPr id="566" name="Freeform 133">
                <a:extLst>
                  <a:ext uri="{FF2B5EF4-FFF2-40B4-BE49-F238E27FC236}">
                    <a16:creationId xmlns:a16="http://schemas.microsoft.com/office/drawing/2014/main" id="{C2754DD8-1D78-D084-533B-D5A8C1284CC7}"/>
                  </a:ext>
                </a:extLst>
              </p:cNvPr>
              <p:cNvSpPr>
                <a:spLocks/>
              </p:cNvSpPr>
              <p:nvPr/>
            </p:nvSpPr>
            <p:spPr bwMode="auto">
              <a:xfrm>
                <a:off x="2418" y="2773"/>
                <a:ext cx="632" cy="462"/>
              </a:xfrm>
              <a:custGeom>
                <a:avLst/>
                <a:gdLst/>
                <a:ahLst/>
                <a:cxnLst>
                  <a:cxn ang="0">
                    <a:pos x="0" y="0"/>
                  </a:cxn>
                  <a:cxn ang="0">
                    <a:pos x="58" y="54"/>
                  </a:cxn>
                  <a:cxn ang="0">
                    <a:pos x="115" y="271"/>
                  </a:cxn>
                  <a:cxn ang="0">
                    <a:pos x="202" y="271"/>
                  </a:cxn>
                  <a:cxn ang="0">
                    <a:pos x="230" y="407"/>
                  </a:cxn>
                  <a:cxn ang="0">
                    <a:pos x="317" y="407"/>
                  </a:cxn>
                  <a:cxn ang="0">
                    <a:pos x="317" y="434"/>
                  </a:cxn>
                  <a:cxn ang="0">
                    <a:pos x="402" y="434"/>
                  </a:cxn>
                  <a:cxn ang="0">
                    <a:pos x="459" y="462"/>
                  </a:cxn>
                  <a:cxn ang="0">
                    <a:pos x="546" y="434"/>
                  </a:cxn>
                  <a:cxn ang="0">
                    <a:pos x="632" y="190"/>
                  </a:cxn>
                  <a:cxn ang="0">
                    <a:pos x="345" y="190"/>
                  </a:cxn>
                  <a:cxn ang="0">
                    <a:pos x="202" y="0"/>
                  </a:cxn>
                  <a:cxn ang="0">
                    <a:pos x="0" y="0"/>
                  </a:cxn>
                </a:cxnLst>
                <a:rect l="0" t="0" r="r" b="b"/>
                <a:pathLst>
                  <a:path w="632" h="462">
                    <a:moveTo>
                      <a:pt x="0" y="0"/>
                    </a:moveTo>
                    <a:lnTo>
                      <a:pt x="58" y="54"/>
                    </a:lnTo>
                    <a:lnTo>
                      <a:pt x="115" y="271"/>
                    </a:lnTo>
                    <a:lnTo>
                      <a:pt x="202" y="271"/>
                    </a:lnTo>
                    <a:lnTo>
                      <a:pt x="230" y="407"/>
                    </a:lnTo>
                    <a:lnTo>
                      <a:pt x="317" y="407"/>
                    </a:lnTo>
                    <a:lnTo>
                      <a:pt x="317" y="434"/>
                    </a:lnTo>
                    <a:lnTo>
                      <a:pt x="402" y="434"/>
                    </a:lnTo>
                    <a:lnTo>
                      <a:pt x="459" y="462"/>
                    </a:lnTo>
                    <a:lnTo>
                      <a:pt x="546" y="434"/>
                    </a:lnTo>
                    <a:lnTo>
                      <a:pt x="632" y="190"/>
                    </a:lnTo>
                    <a:lnTo>
                      <a:pt x="345" y="190"/>
                    </a:lnTo>
                    <a:lnTo>
                      <a:pt x="202"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67" name="Freeform 134">
                <a:extLst>
                  <a:ext uri="{FF2B5EF4-FFF2-40B4-BE49-F238E27FC236}">
                    <a16:creationId xmlns:a16="http://schemas.microsoft.com/office/drawing/2014/main" id="{9B81EF85-F09B-D3F2-0691-CF52652C4FE3}"/>
                  </a:ext>
                </a:extLst>
              </p:cNvPr>
              <p:cNvSpPr>
                <a:spLocks/>
              </p:cNvSpPr>
              <p:nvPr/>
            </p:nvSpPr>
            <p:spPr bwMode="auto">
              <a:xfrm>
                <a:off x="2418" y="2773"/>
                <a:ext cx="632" cy="462"/>
              </a:xfrm>
              <a:custGeom>
                <a:avLst/>
                <a:gdLst/>
                <a:ahLst/>
                <a:cxnLst>
                  <a:cxn ang="0">
                    <a:pos x="0" y="0"/>
                  </a:cxn>
                  <a:cxn ang="0">
                    <a:pos x="58" y="54"/>
                  </a:cxn>
                  <a:cxn ang="0">
                    <a:pos x="115" y="271"/>
                  </a:cxn>
                  <a:cxn ang="0">
                    <a:pos x="202" y="271"/>
                  </a:cxn>
                  <a:cxn ang="0">
                    <a:pos x="230" y="407"/>
                  </a:cxn>
                  <a:cxn ang="0">
                    <a:pos x="317" y="407"/>
                  </a:cxn>
                  <a:cxn ang="0">
                    <a:pos x="317" y="434"/>
                  </a:cxn>
                  <a:cxn ang="0">
                    <a:pos x="402" y="434"/>
                  </a:cxn>
                  <a:cxn ang="0">
                    <a:pos x="459" y="462"/>
                  </a:cxn>
                  <a:cxn ang="0">
                    <a:pos x="546" y="434"/>
                  </a:cxn>
                  <a:cxn ang="0">
                    <a:pos x="632" y="190"/>
                  </a:cxn>
                  <a:cxn ang="0">
                    <a:pos x="345" y="190"/>
                  </a:cxn>
                  <a:cxn ang="0">
                    <a:pos x="202" y="0"/>
                  </a:cxn>
                  <a:cxn ang="0">
                    <a:pos x="0" y="0"/>
                  </a:cxn>
                </a:cxnLst>
                <a:rect l="0" t="0" r="r" b="b"/>
                <a:pathLst>
                  <a:path w="632" h="462">
                    <a:moveTo>
                      <a:pt x="0" y="0"/>
                    </a:moveTo>
                    <a:lnTo>
                      <a:pt x="58" y="54"/>
                    </a:lnTo>
                    <a:lnTo>
                      <a:pt x="115" y="271"/>
                    </a:lnTo>
                    <a:lnTo>
                      <a:pt x="202" y="271"/>
                    </a:lnTo>
                    <a:lnTo>
                      <a:pt x="230" y="407"/>
                    </a:lnTo>
                    <a:lnTo>
                      <a:pt x="317" y="407"/>
                    </a:lnTo>
                    <a:lnTo>
                      <a:pt x="317" y="434"/>
                    </a:lnTo>
                    <a:lnTo>
                      <a:pt x="402" y="434"/>
                    </a:lnTo>
                    <a:lnTo>
                      <a:pt x="459" y="462"/>
                    </a:lnTo>
                    <a:lnTo>
                      <a:pt x="546" y="434"/>
                    </a:lnTo>
                    <a:lnTo>
                      <a:pt x="632" y="190"/>
                    </a:lnTo>
                    <a:lnTo>
                      <a:pt x="345" y="190"/>
                    </a:lnTo>
                    <a:lnTo>
                      <a:pt x="202"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76" name="Group 135">
              <a:extLst>
                <a:ext uri="{FF2B5EF4-FFF2-40B4-BE49-F238E27FC236}">
                  <a16:creationId xmlns:a16="http://schemas.microsoft.com/office/drawing/2014/main" id="{30834702-DBF2-20CC-01D2-53110FDD312C}"/>
                </a:ext>
              </a:extLst>
            </p:cNvPr>
            <p:cNvGrpSpPr>
              <a:grpSpLocks/>
            </p:cNvGrpSpPr>
            <p:nvPr/>
          </p:nvGrpSpPr>
          <p:grpSpPr bwMode="auto">
            <a:xfrm>
              <a:off x="3477434" y="4411942"/>
              <a:ext cx="362353" cy="404915"/>
              <a:chOff x="2618" y="2611"/>
              <a:chExt cx="315" cy="352"/>
            </a:xfrm>
            <a:solidFill>
              <a:schemeClr val="bg1">
                <a:lumMod val="85000"/>
              </a:schemeClr>
            </a:solidFill>
          </p:grpSpPr>
          <p:sp>
            <p:nvSpPr>
              <p:cNvPr id="564" name="Freeform 136">
                <a:extLst>
                  <a:ext uri="{FF2B5EF4-FFF2-40B4-BE49-F238E27FC236}">
                    <a16:creationId xmlns:a16="http://schemas.microsoft.com/office/drawing/2014/main" id="{97E62A17-6E15-8828-19C8-6E5639150C91}"/>
                  </a:ext>
                </a:extLst>
              </p:cNvPr>
              <p:cNvSpPr>
                <a:spLocks/>
              </p:cNvSpPr>
              <p:nvPr/>
            </p:nvSpPr>
            <p:spPr bwMode="auto">
              <a:xfrm>
                <a:off x="2618" y="2611"/>
                <a:ext cx="315" cy="352"/>
              </a:xfrm>
              <a:custGeom>
                <a:avLst/>
                <a:gdLst/>
                <a:ahLst/>
                <a:cxnLst>
                  <a:cxn ang="0">
                    <a:pos x="0" y="162"/>
                  </a:cxn>
                  <a:cxn ang="0">
                    <a:pos x="144" y="352"/>
                  </a:cxn>
                  <a:cxn ang="0">
                    <a:pos x="315" y="352"/>
                  </a:cxn>
                  <a:cxn ang="0">
                    <a:pos x="315" y="325"/>
                  </a:cxn>
                  <a:cxn ang="0">
                    <a:pos x="229" y="325"/>
                  </a:cxn>
                  <a:cxn ang="0">
                    <a:pos x="258" y="216"/>
                  </a:cxn>
                  <a:cxn ang="0">
                    <a:pos x="258" y="135"/>
                  </a:cxn>
                  <a:cxn ang="0">
                    <a:pos x="200" y="81"/>
                  </a:cxn>
                  <a:cxn ang="0">
                    <a:pos x="144" y="81"/>
                  </a:cxn>
                  <a:cxn ang="0">
                    <a:pos x="144" y="0"/>
                  </a:cxn>
                  <a:cxn ang="0">
                    <a:pos x="57" y="135"/>
                  </a:cxn>
                  <a:cxn ang="0">
                    <a:pos x="0" y="162"/>
                  </a:cxn>
                </a:cxnLst>
                <a:rect l="0" t="0" r="r" b="b"/>
                <a:pathLst>
                  <a:path w="315" h="352">
                    <a:moveTo>
                      <a:pt x="0" y="162"/>
                    </a:moveTo>
                    <a:lnTo>
                      <a:pt x="144" y="352"/>
                    </a:lnTo>
                    <a:lnTo>
                      <a:pt x="315" y="352"/>
                    </a:lnTo>
                    <a:lnTo>
                      <a:pt x="315" y="325"/>
                    </a:lnTo>
                    <a:lnTo>
                      <a:pt x="229" y="325"/>
                    </a:lnTo>
                    <a:lnTo>
                      <a:pt x="258" y="216"/>
                    </a:lnTo>
                    <a:lnTo>
                      <a:pt x="258" y="135"/>
                    </a:lnTo>
                    <a:lnTo>
                      <a:pt x="200" y="81"/>
                    </a:lnTo>
                    <a:lnTo>
                      <a:pt x="144" y="81"/>
                    </a:lnTo>
                    <a:lnTo>
                      <a:pt x="144" y="0"/>
                    </a:lnTo>
                    <a:lnTo>
                      <a:pt x="57" y="135"/>
                    </a:lnTo>
                    <a:lnTo>
                      <a:pt x="0" y="16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65" name="Freeform 137">
                <a:extLst>
                  <a:ext uri="{FF2B5EF4-FFF2-40B4-BE49-F238E27FC236}">
                    <a16:creationId xmlns:a16="http://schemas.microsoft.com/office/drawing/2014/main" id="{E7EDCBCF-668F-D9F8-C0C4-A76B66D0A6F9}"/>
                  </a:ext>
                </a:extLst>
              </p:cNvPr>
              <p:cNvSpPr>
                <a:spLocks/>
              </p:cNvSpPr>
              <p:nvPr/>
            </p:nvSpPr>
            <p:spPr bwMode="auto">
              <a:xfrm>
                <a:off x="2618" y="2611"/>
                <a:ext cx="315" cy="352"/>
              </a:xfrm>
              <a:custGeom>
                <a:avLst/>
                <a:gdLst/>
                <a:ahLst/>
                <a:cxnLst>
                  <a:cxn ang="0">
                    <a:pos x="0" y="162"/>
                  </a:cxn>
                  <a:cxn ang="0">
                    <a:pos x="144" y="352"/>
                  </a:cxn>
                  <a:cxn ang="0">
                    <a:pos x="315" y="352"/>
                  </a:cxn>
                  <a:cxn ang="0">
                    <a:pos x="315" y="325"/>
                  </a:cxn>
                  <a:cxn ang="0">
                    <a:pos x="229" y="325"/>
                  </a:cxn>
                  <a:cxn ang="0">
                    <a:pos x="258" y="216"/>
                  </a:cxn>
                  <a:cxn ang="0">
                    <a:pos x="258" y="135"/>
                  </a:cxn>
                  <a:cxn ang="0">
                    <a:pos x="200" y="81"/>
                  </a:cxn>
                  <a:cxn ang="0">
                    <a:pos x="144" y="81"/>
                  </a:cxn>
                  <a:cxn ang="0">
                    <a:pos x="144" y="0"/>
                  </a:cxn>
                  <a:cxn ang="0">
                    <a:pos x="57" y="135"/>
                  </a:cxn>
                  <a:cxn ang="0">
                    <a:pos x="0" y="162"/>
                  </a:cxn>
                </a:cxnLst>
                <a:rect l="0" t="0" r="r" b="b"/>
                <a:pathLst>
                  <a:path w="315" h="352">
                    <a:moveTo>
                      <a:pt x="0" y="162"/>
                    </a:moveTo>
                    <a:lnTo>
                      <a:pt x="144" y="352"/>
                    </a:lnTo>
                    <a:lnTo>
                      <a:pt x="315" y="352"/>
                    </a:lnTo>
                    <a:lnTo>
                      <a:pt x="315" y="325"/>
                    </a:lnTo>
                    <a:lnTo>
                      <a:pt x="229" y="325"/>
                    </a:lnTo>
                    <a:lnTo>
                      <a:pt x="258" y="216"/>
                    </a:lnTo>
                    <a:lnTo>
                      <a:pt x="258" y="135"/>
                    </a:lnTo>
                    <a:lnTo>
                      <a:pt x="200" y="81"/>
                    </a:lnTo>
                    <a:lnTo>
                      <a:pt x="144" y="81"/>
                    </a:lnTo>
                    <a:lnTo>
                      <a:pt x="144" y="0"/>
                    </a:lnTo>
                    <a:lnTo>
                      <a:pt x="57" y="135"/>
                    </a:lnTo>
                    <a:lnTo>
                      <a:pt x="0" y="162"/>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77" name="Group 138">
              <a:extLst>
                <a:ext uri="{FF2B5EF4-FFF2-40B4-BE49-F238E27FC236}">
                  <a16:creationId xmlns:a16="http://schemas.microsoft.com/office/drawing/2014/main" id="{B655EB40-4917-45BB-F1DE-BFD9D033477A}"/>
                </a:ext>
              </a:extLst>
            </p:cNvPr>
            <p:cNvGrpSpPr>
              <a:grpSpLocks/>
            </p:cNvGrpSpPr>
            <p:nvPr/>
          </p:nvGrpSpPr>
          <p:grpSpPr bwMode="auto">
            <a:xfrm>
              <a:off x="3643080" y="4349825"/>
              <a:ext cx="526849" cy="467032"/>
              <a:chOff x="2762" y="2557"/>
              <a:chExt cx="458" cy="406"/>
            </a:xfrm>
            <a:solidFill>
              <a:schemeClr val="bg1">
                <a:lumMod val="85000"/>
              </a:schemeClr>
            </a:solidFill>
          </p:grpSpPr>
          <p:sp>
            <p:nvSpPr>
              <p:cNvPr id="562" name="Freeform 139">
                <a:extLst>
                  <a:ext uri="{FF2B5EF4-FFF2-40B4-BE49-F238E27FC236}">
                    <a16:creationId xmlns:a16="http://schemas.microsoft.com/office/drawing/2014/main" id="{D183E8B4-968C-7BB2-42B4-13B182D7F286}"/>
                  </a:ext>
                </a:extLst>
              </p:cNvPr>
              <p:cNvSpPr>
                <a:spLocks/>
              </p:cNvSpPr>
              <p:nvPr/>
            </p:nvSpPr>
            <p:spPr bwMode="auto">
              <a:xfrm>
                <a:off x="2762" y="2557"/>
                <a:ext cx="458" cy="406"/>
              </a:xfrm>
              <a:custGeom>
                <a:avLst/>
                <a:gdLst/>
                <a:ahLst/>
                <a:cxnLst>
                  <a:cxn ang="0">
                    <a:pos x="0" y="54"/>
                  </a:cxn>
                  <a:cxn ang="0">
                    <a:pos x="0" y="135"/>
                  </a:cxn>
                  <a:cxn ang="0">
                    <a:pos x="56" y="135"/>
                  </a:cxn>
                  <a:cxn ang="0">
                    <a:pos x="114" y="189"/>
                  </a:cxn>
                  <a:cxn ang="0">
                    <a:pos x="114" y="270"/>
                  </a:cxn>
                  <a:cxn ang="0">
                    <a:pos x="85" y="379"/>
                  </a:cxn>
                  <a:cxn ang="0">
                    <a:pos x="171" y="379"/>
                  </a:cxn>
                  <a:cxn ang="0">
                    <a:pos x="171" y="406"/>
                  </a:cxn>
                  <a:cxn ang="0">
                    <a:pos x="286" y="406"/>
                  </a:cxn>
                  <a:cxn ang="0">
                    <a:pos x="343" y="379"/>
                  </a:cxn>
                  <a:cxn ang="0">
                    <a:pos x="430" y="352"/>
                  </a:cxn>
                  <a:cxn ang="0">
                    <a:pos x="343" y="243"/>
                  </a:cxn>
                  <a:cxn ang="0">
                    <a:pos x="315" y="135"/>
                  </a:cxn>
                  <a:cxn ang="0">
                    <a:pos x="401" y="54"/>
                  </a:cxn>
                  <a:cxn ang="0">
                    <a:pos x="458" y="0"/>
                  </a:cxn>
                  <a:cxn ang="0">
                    <a:pos x="56" y="0"/>
                  </a:cxn>
                  <a:cxn ang="0">
                    <a:pos x="0" y="54"/>
                  </a:cxn>
                </a:cxnLst>
                <a:rect l="0" t="0" r="r" b="b"/>
                <a:pathLst>
                  <a:path w="458" h="406">
                    <a:moveTo>
                      <a:pt x="0" y="54"/>
                    </a:moveTo>
                    <a:lnTo>
                      <a:pt x="0" y="135"/>
                    </a:lnTo>
                    <a:lnTo>
                      <a:pt x="56" y="135"/>
                    </a:lnTo>
                    <a:lnTo>
                      <a:pt x="114" y="189"/>
                    </a:lnTo>
                    <a:lnTo>
                      <a:pt x="114" y="270"/>
                    </a:lnTo>
                    <a:lnTo>
                      <a:pt x="85" y="379"/>
                    </a:lnTo>
                    <a:lnTo>
                      <a:pt x="171" y="379"/>
                    </a:lnTo>
                    <a:lnTo>
                      <a:pt x="171" y="406"/>
                    </a:lnTo>
                    <a:lnTo>
                      <a:pt x="286" y="406"/>
                    </a:lnTo>
                    <a:lnTo>
                      <a:pt x="343" y="379"/>
                    </a:lnTo>
                    <a:lnTo>
                      <a:pt x="430" y="352"/>
                    </a:lnTo>
                    <a:lnTo>
                      <a:pt x="343" y="243"/>
                    </a:lnTo>
                    <a:lnTo>
                      <a:pt x="315" y="135"/>
                    </a:lnTo>
                    <a:lnTo>
                      <a:pt x="401" y="54"/>
                    </a:lnTo>
                    <a:lnTo>
                      <a:pt x="458" y="0"/>
                    </a:lnTo>
                    <a:lnTo>
                      <a:pt x="56" y="0"/>
                    </a:lnTo>
                    <a:lnTo>
                      <a:pt x="0" y="5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63" name="Freeform 140">
                <a:extLst>
                  <a:ext uri="{FF2B5EF4-FFF2-40B4-BE49-F238E27FC236}">
                    <a16:creationId xmlns:a16="http://schemas.microsoft.com/office/drawing/2014/main" id="{84B781ED-0DD1-1F48-9A0A-FBDBD320FA4B}"/>
                  </a:ext>
                </a:extLst>
              </p:cNvPr>
              <p:cNvSpPr>
                <a:spLocks/>
              </p:cNvSpPr>
              <p:nvPr/>
            </p:nvSpPr>
            <p:spPr bwMode="auto">
              <a:xfrm>
                <a:off x="2762" y="2557"/>
                <a:ext cx="458" cy="406"/>
              </a:xfrm>
              <a:custGeom>
                <a:avLst/>
                <a:gdLst/>
                <a:ahLst/>
                <a:cxnLst>
                  <a:cxn ang="0">
                    <a:pos x="0" y="54"/>
                  </a:cxn>
                  <a:cxn ang="0">
                    <a:pos x="0" y="135"/>
                  </a:cxn>
                  <a:cxn ang="0">
                    <a:pos x="56" y="135"/>
                  </a:cxn>
                  <a:cxn ang="0">
                    <a:pos x="114" y="189"/>
                  </a:cxn>
                  <a:cxn ang="0">
                    <a:pos x="114" y="270"/>
                  </a:cxn>
                  <a:cxn ang="0">
                    <a:pos x="85" y="379"/>
                  </a:cxn>
                  <a:cxn ang="0">
                    <a:pos x="171" y="379"/>
                  </a:cxn>
                  <a:cxn ang="0">
                    <a:pos x="171" y="406"/>
                  </a:cxn>
                  <a:cxn ang="0">
                    <a:pos x="286" y="406"/>
                  </a:cxn>
                  <a:cxn ang="0">
                    <a:pos x="343" y="379"/>
                  </a:cxn>
                  <a:cxn ang="0">
                    <a:pos x="430" y="352"/>
                  </a:cxn>
                  <a:cxn ang="0">
                    <a:pos x="343" y="243"/>
                  </a:cxn>
                  <a:cxn ang="0">
                    <a:pos x="315" y="135"/>
                  </a:cxn>
                  <a:cxn ang="0">
                    <a:pos x="401" y="54"/>
                  </a:cxn>
                  <a:cxn ang="0">
                    <a:pos x="458" y="0"/>
                  </a:cxn>
                  <a:cxn ang="0">
                    <a:pos x="56" y="0"/>
                  </a:cxn>
                  <a:cxn ang="0">
                    <a:pos x="0" y="54"/>
                  </a:cxn>
                </a:cxnLst>
                <a:rect l="0" t="0" r="r" b="b"/>
                <a:pathLst>
                  <a:path w="458" h="406">
                    <a:moveTo>
                      <a:pt x="0" y="54"/>
                    </a:moveTo>
                    <a:lnTo>
                      <a:pt x="0" y="135"/>
                    </a:lnTo>
                    <a:lnTo>
                      <a:pt x="56" y="135"/>
                    </a:lnTo>
                    <a:lnTo>
                      <a:pt x="114" y="189"/>
                    </a:lnTo>
                    <a:lnTo>
                      <a:pt x="114" y="270"/>
                    </a:lnTo>
                    <a:lnTo>
                      <a:pt x="85" y="379"/>
                    </a:lnTo>
                    <a:lnTo>
                      <a:pt x="171" y="379"/>
                    </a:lnTo>
                    <a:lnTo>
                      <a:pt x="171" y="406"/>
                    </a:lnTo>
                    <a:lnTo>
                      <a:pt x="286" y="406"/>
                    </a:lnTo>
                    <a:lnTo>
                      <a:pt x="343" y="379"/>
                    </a:lnTo>
                    <a:lnTo>
                      <a:pt x="430" y="352"/>
                    </a:lnTo>
                    <a:lnTo>
                      <a:pt x="343" y="243"/>
                    </a:lnTo>
                    <a:lnTo>
                      <a:pt x="315" y="135"/>
                    </a:lnTo>
                    <a:lnTo>
                      <a:pt x="401" y="54"/>
                    </a:lnTo>
                    <a:lnTo>
                      <a:pt x="458" y="0"/>
                    </a:lnTo>
                    <a:lnTo>
                      <a:pt x="56" y="0"/>
                    </a:lnTo>
                    <a:lnTo>
                      <a:pt x="0" y="5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178" name="Freeform 143">
              <a:extLst>
                <a:ext uri="{FF2B5EF4-FFF2-40B4-BE49-F238E27FC236}">
                  <a16:creationId xmlns:a16="http://schemas.microsoft.com/office/drawing/2014/main" id="{0CA9F32F-FFD9-D091-6596-9C3FED85E82E}"/>
                </a:ext>
              </a:extLst>
            </p:cNvPr>
            <p:cNvSpPr>
              <a:spLocks/>
            </p:cNvSpPr>
            <p:nvPr/>
          </p:nvSpPr>
          <p:spPr bwMode="auto">
            <a:xfrm>
              <a:off x="4004284" y="4418399"/>
              <a:ext cx="563659" cy="530300"/>
            </a:xfrm>
            <a:custGeom>
              <a:avLst/>
              <a:gdLst/>
              <a:ahLst/>
              <a:cxnLst>
                <a:cxn ang="0">
                  <a:pos x="87" y="0"/>
                </a:cxn>
                <a:cxn ang="0">
                  <a:pos x="0" y="81"/>
                </a:cxn>
                <a:cxn ang="0">
                  <a:pos x="29" y="189"/>
                </a:cxn>
                <a:cxn ang="0">
                  <a:pos x="115" y="298"/>
                </a:cxn>
                <a:cxn ang="0">
                  <a:pos x="288" y="461"/>
                </a:cxn>
                <a:cxn ang="0">
                  <a:pos x="346" y="434"/>
                </a:cxn>
                <a:cxn ang="0">
                  <a:pos x="403" y="434"/>
                </a:cxn>
                <a:cxn ang="0">
                  <a:pos x="403" y="352"/>
                </a:cxn>
                <a:cxn ang="0">
                  <a:pos x="490" y="298"/>
                </a:cxn>
                <a:cxn ang="0">
                  <a:pos x="403" y="135"/>
                </a:cxn>
                <a:cxn ang="0">
                  <a:pos x="403" y="0"/>
                </a:cxn>
                <a:cxn ang="0">
                  <a:pos x="87" y="0"/>
                </a:cxn>
              </a:cxnLst>
              <a:rect l="0" t="0" r="r" b="b"/>
              <a:pathLst>
                <a:path w="490" h="461">
                  <a:moveTo>
                    <a:pt x="87" y="0"/>
                  </a:moveTo>
                  <a:lnTo>
                    <a:pt x="0" y="81"/>
                  </a:lnTo>
                  <a:lnTo>
                    <a:pt x="29" y="189"/>
                  </a:lnTo>
                  <a:lnTo>
                    <a:pt x="115" y="298"/>
                  </a:lnTo>
                  <a:lnTo>
                    <a:pt x="288" y="461"/>
                  </a:lnTo>
                  <a:lnTo>
                    <a:pt x="346" y="434"/>
                  </a:lnTo>
                  <a:lnTo>
                    <a:pt x="403" y="434"/>
                  </a:lnTo>
                  <a:lnTo>
                    <a:pt x="403" y="352"/>
                  </a:lnTo>
                  <a:lnTo>
                    <a:pt x="490" y="298"/>
                  </a:lnTo>
                  <a:lnTo>
                    <a:pt x="403" y="135"/>
                  </a:lnTo>
                  <a:lnTo>
                    <a:pt x="403" y="0"/>
                  </a:lnTo>
                  <a:lnTo>
                    <a:pt x="87" y="0"/>
                  </a:lnTo>
                </a:path>
              </a:pathLst>
            </a:custGeom>
            <a:solidFill>
              <a:schemeClr val="bg1">
                <a:lumMod val="85000"/>
              </a:schemeClr>
            </a:solidFill>
            <a:ln w="6350" cap="rnd">
              <a:solidFill>
                <a:schemeClr val="bg1"/>
              </a:solidFill>
              <a:prstDash val="solid"/>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nvGrpSpPr>
            <p:cNvPr id="179" name="Group 144">
              <a:extLst>
                <a:ext uri="{FF2B5EF4-FFF2-40B4-BE49-F238E27FC236}">
                  <a16:creationId xmlns:a16="http://schemas.microsoft.com/office/drawing/2014/main" id="{9187E979-B513-3348-679B-021F080D7DC7}"/>
                </a:ext>
              </a:extLst>
            </p:cNvPr>
            <p:cNvGrpSpPr>
              <a:grpSpLocks/>
            </p:cNvGrpSpPr>
            <p:nvPr/>
          </p:nvGrpSpPr>
          <p:grpSpPr bwMode="auto">
            <a:xfrm>
              <a:off x="3874299" y="4754740"/>
              <a:ext cx="527999" cy="343947"/>
              <a:chOff x="2963" y="2909"/>
              <a:chExt cx="459" cy="299"/>
            </a:xfrm>
            <a:solidFill>
              <a:schemeClr val="bg1">
                <a:lumMod val="85000"/>
              </a:schemeClr>
            </a:solidFill>
          </p:grpSpPr>
          <p:sp>
            <p:nvSpPr>
              <p:cNvPr id="560" name="Freeform 145">
                <a:extLst>
                  <a:ext uri="{FF2B5EF4-FFF2-40B4-BE49-F238E27FC236}">
                    <a16:creationId xmlns:a16="http://schemas.microsoft.com/office/drawing/2014/main" id="{03300688-3737-6D97-50E3-03A61618F79B}"/>
                  </a:ext>
                </a:extLst>
              </p:cNvPr>
              <p:cNvSpPr>
                <a:spLocks/>
              </p:cNvSpPr>
              <p:nvPr/>
            </p:nvSpPr>
            <p:spPr bwMode="auto">
              <a:xfrm>
                <a:off x="2963" y="2909"/>
                <a:ext cx="459" cy="299"/>
              </a:xfrm>
              <a:custGeom>
                <a:avLst/>
                <a:gdLst/>
                <a:ahLst/>
                <a:cxnLst>
                  <a:cxn ang="0">
                    <a:pos x="230" y="0"/>
                  </a:cxn>
                  <a:cxn ang="0">
                    <a:pos x="144" y="27"/>
                  </a:cxn>
                  <a:cxn ang="0">
                    <a:pos x="86" y="54"/>
                  </a:cxn>
                  <a:cxn ang="0">
                    <a:pos x="0" y="299"/>
                  </a:cxn>
                  <a:cxn ang="0">
                    <a:pos x="144" y="299"/>
                  </a:cxn>
                  <a:cxn ang="0">
                    <a:pos x="201" y="245"/>
                  </a:cxn>
                  <a:cxn ang="0">
                    <a:pos x="459" y="190"/>
                  </a:cxn>
                  <a:cxn ang="0">
                    <a:pos x="459" y="136"/>
                  </a:cxn>
                  <a:cxn ang="0">
                    <a:pos x="401" y="163"/>
                  </a:cxn>
                  <a:cxn ang="0">
                    <a:pos x="230" y="0"/>
                  </a:cxn>
                </a:cxnLst>
                <a:rect l="0" t="0" r="r" b="b"/>
                <a:pathLst>
                  <a:path w="459" h="299">
                    <a:moveTo>
                      <a:pt x="230" y="0"/>
                    </a:moveTo>
                    <a:lnTo>
                      <a:pt x="144" y="27"/>
                    </a:lnTo>
                    <a:lnTo>
                      <a:pt x="86" y="54"/>
                    </a:lnTo>
                    <a:lnTo>
                      <a:pt x="0" y="299"/>
                    </a:lnTo>
                    <a:lnTo>
                      <a:pt x="144" y="299"/>
                    </a:lnTo>
                    <a:lnTo>
                      <a:pt x="201" y="245"/>
                    </a:lnTo>
                    <a:lnTo>
                      <a:pt x="459" y="190"/>
                    </a:lnTo>
                    <a:lnTo>
                      <a:pt x="459" y="136"/>
                    </a:lnTo>
                    <a:lnTo>
                      <a:pt x="401" y="163"/>
                    </a:lnTo>
                    <a:lnTo>
                      <a:pt x="23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61" name="Freeform 146">
                <a:extLst>
                  <a:ext uri="{FF2B5EF4-FFF2-40B4-BE49-F238E27FC236}">
                    <a16:creationId xmlns:a16="http://schemas.microsoft.com/office/drawing/2014/main" id="{F62A81D2-9BF0-947A-7BB3-33342F0F72F9}"/>
                  </a:ext>
                </a:extLst>
              </p:cNvPr>
              <p:cNvSpPr>
                <a:spLocks/>
              </p:cNvSpPr>
              <p:nvPr/>
            </p:nvSpPr>
            <p:spPr bwMode="auto">
              <a:xfrm>
                <a:off x="2963" y="2909"/>
                <a:ext cx="459" cy="299"/>
              </a:xfrm>
              <a:custGeom>
                <a:avLst/>
                <a:gdLst/>
                <a:ahLst/>
                <a:cxnLst>
                  <a:cxn ang="0">
                    <a:pos x="230" y="0"/>
                  </a:cxn>
                  <a:cxn ang="0">
                    <a:pos x="144" y="27"/>
                  </a:cxn>
                  <a:cxn ang="0">
                    <a:pos x="86" y="54"/>
                  </a:cxn>
                  <a:cxn ang="0">
                    <a:pos x="0" y="299"/>
                  </a:cxn>
                  <a:cxn ang="0">
                    <a:pos x="144" y="299"/>
                  </a:cxn>
                  <a:cxn ang="0">
                    <a:pos x="201" y="245"/>
                  </a:cxn>
                  <a:cxn ang="0">
                    <a:pos x="459" y="190"/>
                  </a:cxn>
                  <a:cxn ang="0">
                    <a:pos x="459" y="136"/>
                  </a:cxn>
                  <a:cxn ang="0">
                    <a:pos x="401" y="163"/>
                  </a:cxn>
                  <a:cxn ang="0">
                    <a:pos x="230" y="0"/>
                  </a:cxn>
                </a:cxnLst>
                <a:rect l="0" t="0" r="r" b="b"/>
                <a:pathLst>
                  <a:path w="459" h="299">
                    <a:moveTo>
                      <a:pt x="230" y="0"/>
                    </a:moveTo>
                    <a:lnTo>
                      <a:pt x="144" y="27"/>
                    </a:lnTo>
                    <a:lnTo>
                      <a:pt x="86" y="54"/>
                    </a:lnTo>
                    <a:lnTo>
                      <a:pt x="0" y="299"/>
                    </a:lnTo>
                    <a:lnTo>
                      <a:pt x="144" y="299"/>
                    </a:lnTo>
                    <a:lnTo>
                      <a:pt x="201" y="245"/>
                    </a:lnTo>
                    <a:lnTo>
                      <a:pt x="459" y="190"/>
                    </a:lnTo>
                    <a:lnTo>
                      <a:pt x="459" y="136"/>
                    </a:lnTo>
                    <a:lnTo>
                      <a:pt x="401" y="163"/>
                    </a:lnTo>
                    <a:lnTo>
                      <a:pt x="23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180" name="Group 168">
              <a:extLst>
                <a:ext uri="{FF2B5EF4-FFF2-40B4-BE49-F238E27FC236}">
                  <a16:creationId xmlns:a16="http://schemas.microsoft.com/office/drawing/2014/main" id="{358E8BA0-BADE-9D84-2605-918C8A773641}"/>
                </a:ext>
              </a:extLst>
            </p:cNvPr>
            <p:cNvGrpSpPr>
              <a:grpSpLocks/>
            </p:cNvGrpSpPr>
            <p:nvPr/>
          </p:nvGrpSpPr>
          <p:grpSpPr bwMode="auto">
            <a:xfrm>
              <a:off x="3707500" y="5099836"/>
              <a:ext cx="429072" cy="499240"/>
              <a:chOff x="2818" y="3209"/>
              <a:chExt cx="373" cy="434"/>
            </a:xfrm>
            <a:solidFill>
              <a:schemeClr val="bg1">
                <a:lumMod val="85000"/>
              </a:schemeClr>
            </a:solidFill>
          </p:grpSpPr>
          <p:sp>
            <p:nvSpPr>
              <p:cNvPr id="558" name="Freeform 169">
                <a:extLst>
                  <a:ext uri="{FF2B5EF4-FFF2-40B4-BE49-F238E27FC236}">
                    <a16:creationId xmlns:a16="http://schemas.microsoft.com/office/drawing/2014/main" id="{1AF3A487-B1C0-060B-77CD-2BBD2E39ECA0}"/>
                  </a:ext>
                </a:extLst>
              </p:cNvPr>
              <p:cNvSpPr>
                <a:spLocks/>
              </p:cNvSpPr>
              <p:nvPr/>
            </p:nvSpPr>
            <p:spPr bwMode="auto">
              <a:xfrm>
                <a:off x="2818" y="3209"/>
                <a:ext cx="373" cy="434"/>
              </a:xfrm>
              <a:custGeom>
                <a:avLst/>
                <a:gdLst/>
                <a:ahLst/>
                <a:cxnLst>
                  <a:cxn ang="0">
                    <a:pos x="58" y="27"/>
                  </a:cxn>
                  <a:cxn ang="0">
                    <a:pos x="0" y="108"/>
                  </a:cxn>
                  <a:cxn ang="0">
                    <a:pos x="86" y="216"/>
                  </a:cxn>
                  <a:cxn ang="0">
                    <a:pos x="172" y="243"/>
                  </a:cxn>
                  <a:cxn ang="0">
                    <a:pos x="172" y="351"/>
                  </a:cxn>
                  <a:cxn ang="0">
                    <a:pos x="203" y="434"/>
                  </a:cxn>
                  <a:cxn ang="0">
                    <a:pos x="262" y="352"/>
                  </a:cxn>
                  <a:cxn ang="0">
                    <a:pos x="344" y="189"/>
                  </a:cxn>
                  <a:cxn ang="0">
                    <a:pos x="373" y="189"/>
                  </a:cxn>
                  <a:cxn ang="0">
                    <a:pos x="373" y="135"/>
                  </a:cxn>
                  <a:cxn ang="0">
                    <a:pos x="344" y="135"/>
                  </a:cxn>
                  <a:cxn ang="0">
                    <a:pos x="344" y="81"/>
                  </a:cxn>
                  <a:cxn ang="0">
                    <a:pos x="316" y="81"/>
                  </a:cxn>
                  <a:cxn ang="0">
                    <a:pos x="316" y="27"/>
                  </a:cxn>
                  <a:cxn ang="0">
                    <a:pos x="287" y="27"/>
                  </a:cxn>
                  <a:cxn ang="0">
                    <a:pos x="287" y="0"/>
                  </a:cxn>
                  <a:cxn ang="0">
                    <a:pos x="144" y="0"/>
                  </a:cxn>
                  <a:cxn ang="0">
                    <a:pos x="58" y="27"/>
                  </a:cxn>
                </a:cxnLst>
                <a:rect l="0" t="0" r="r" b="b"/>
                <a:pathLst>
                  <a:path w="373" h="434">
                    <a:moveTo>
                      <a:pt x="58" y="27"/>
                    </a:moveTo>
                    <a:lnTo>
                      <a:pt x="0" y="108"/>
                    </a:lnTo>
                    <a:lnTo>
                      <a:pt x="86" y="216"/>
                    </a:lnTo>
                    <a:lnTo>
                      <a:pt x="172" y="243"/>
                    </a:lnTo>
                    <a:lnTo>
                      <a:pt x="172" y="351"/>
                    </a:lnTo>
                    <a:lnTo>
                      <a:pt x="203" y="434"/>
                    </a:lnTo>
                    <a:lnTo>
                      <a:pt x="262" y="352"/>
                    </a:lnTo>
                    <a:lnTo>
                      <a:pt x="344" y="189"/>
                    </a:lnTo>
                    <a:lnTo>
                      <a:pt x="373" y="189"/>
                    </a:lnTo>
                    <a:lnTo>
                      <a:pt x="373" y="135"/>
                    </a:lnTo>
                    <a:lnTo>
                      <a:pt x="344" y="135"/>
                    </a:lnTo>
                    <a:lnTo>
                      <a:pt x="344" y="81"/>
                    </a:lnTo>
                    <a:lnTo>
                      <a:pt x="316" y="81"/>
                    </a:lnTo>
                    <a:lnTo>
                      <a:pt x="316" y="27"/>
                    </a:lnTo>
                    <a:lnTo>
                      <a:pt x="287" y="27"/>
                    </a:lnTo>
                    <a:lnTo>
                      <a:pt x="287" y="0"/>
                    </a:lnTo>
                    <a:lnTo>
                      <a:pt x="144" y="0"/>
                    </a:lnTo>
                    <a:lnTo>
                      <a:pt x="58" y="27"/>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59" name="Freeform 170">
                <a:extLst>
                  <a:ext uri="{FF2B5EF4-FFF2-40B4-BE49-F238E27FC236}">
                    <a16:creationId xmlns:a16="http://schemas.microsoft.com/office/drawing/2014/main" id="{7E7CFAEB-1CBE-EC07-6E85-E4B63455068C}"/>
                  </a:ext>
                </a:extLst>
              </p:cNvPr>
              <p:cNvSpPr>
                <a:spLocks/>
              </p:cNvSpPr>
              <p:nvPr/>
            </p:nvSpPr>
            <p:spPr bwMode="auto">
              <a:xfrm>
                <a:off x="2818" y="3209"/>
                <a:ext cx="373" cy="434"/>
              </a:xfrm>
              <a:custGeom>
                <a:avLst/>
                <a:gdLst/>
                <a:ahLst/>
                <a:cxnLst>
                  <a:cxn ang="0">
                    <a:pos x="58" y="27"/>
                  </a:cxn>
                  <a:cxn ang="0">
                    <a:pos x="0" y="108"/>
                  </a:cxn>
                  <a:cxn ang="0">
                    <a:pos x="86" y="216"/>
                  </a:cxn>
                  <a:cxn ang="0">
                    <a:pos x="172" y="243"/>
                  </a:cxn>
                  <a:cxn ang="0">
                    <a:pos x="172" y="351"/>
                  </a:cxn>
                  <a:cxn ang="0">
                    <a:pos x="203" y="434"/>
                  </a:cxn>
                  <a:cxn ang="0">
                    <a:pos x="262" y="352"/>
                  </a:cxn>
                  <a:cxn ang="0">
                    <a:pos x="344" y="189"/>
                  </a:cxn>
                  <a:cxn ang="0">
                    <a:pos x="373" y="189"/>
                  </a:cxn>
                  <a:cxn ang="0">
                    <a:pos x="373" y="135"/>
                  </a:cxn>
                  <a:cxn ang="0">
                    <a:pos x="344" y="135"/>
                  </a:cxn>
                  <a:cxn ang="0">
                    <a:pos x="344" y="81"/>
                  </a:cxn>
                  <a:cxn ang="0">
                    <a:pos x="316" y="81"/>
                  </a:cxn>
                  <a:cxn ang="0">
                    <a:pos x="316" y="27"/>
                  </a:cxn>
                  <a:cxn ang="0">
                    <a:pos x="287" y="27"/>
                  </a:cxn>
                  <a:cxn ang="0">
                    <a:pos x="287" y="0"/>
                  </a:cxn>
                  <a:cxn ang="0">
                    <a:pos x="144" y="0"/>
                  </a:cxn>
                  <a:cxn ang="0">
                    <a:pos x="58" y="27"/>
                  </a:cxn>
                </a:cxnLst>
                <a:rect l="0" t="0" r="r" b="b"/>
                <a:pathLst>
                  <a:path w="373" h="434">
                    <a:moveTo>
                      <a:pt x="58" y="27"/>
                    </a:moveTo>
                    <a:lnTo>
                      <a:pt x="0" y="108"/>
                    </a:lnTo>
                    <a:lnTo>
                      <a:pt x="86" y="216"/>
                    </a:lnTo>
                    <a:lnTo>
                      <a:pt x="172" y="243"/>
                    </a:lnTo>
                    <a:lnTo>
                      <a:pt x="172" y="351"/>
                    </a:lnTo>
                    <a:lnTo>
                      <a:pt x="203" y="434"/>
                    </a:lnTo>
                    <a:lnTo>
                      <a:pt x="262" y="352"/>
                    </a:lnTo>
                    <a:lnTo>
                      <a:pt x="344" y="189"/>
                    </a:lnTo>
                    <a:lnTo>
                      <a:pt x="373" y="189"/>
                    </a:lnTo>
                    <a:lnTo>
                      <a:pt x="373" y="135"/>
                    </a:lnTo>
                    <a:lnTo>
                      <a:pt x="344" y="135"/>
                    </a:lnTo>
                    <a:lnTo>
                      <a:pt x="344" y="81"/>
                    </a:lnTo>
                    <a:lnTo>
                      <a:pt x="316" y="81"/>
                    </a:lnTo>
                    <a:lnTo>
                      <a:pt x="316" y="27"/>
                    </a:lnTo>
                    <a:lnTo>
                      <a:pt x="287" y="27"/>
                    </a:lnTo>
                    <a:lnTo>
                      <a:pt x="287" y="0"/>
                    </a:lnTo>
                    <a:lnTo>
                      <a:pt x="144" y="0"/>
                    </a:lnTo>
                    <a:lnTo>
                      <a:pt x="58" y="27"/>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181" name="Freeform 197">
              <a:extLst>
                <a:ext uri="{FF2B5EF4-FFF2-40B4-BE49-F238E27FC236}">
                  <a16:creationId xmlns:a16="http://schemas.microsoft.com/office/drawing/2014/main" id="{B44CBB25-5A6C-5A01-5A63-665335BEFA87}"/>
                </a:ext>
              </a:extLst>
            </p:cNvPr>
            <p:cNvSpPr>
              <a:spLocks/>
            </p:cNvSpPr>
            <p:nvPr/>
          </p:nvSpPr>
          <p:spPr bwMode="auto">
            <a:xfrm>
              <a:off x="3155343" y="3943763"/>
              <a:ext cx="625776" cy="460130"/>
            </a:xfrm>
            <a:custGeom>
              <a:avLst/>
              <a:gdLst/>
              <a:ahLst/>
              <a:cxnLst>
                <a:cxn ang="0">
                  <a:pos x="136" y="24"/>
                </a:cxn>
                <a:cxn ang="0">
                  <a:pos x="111" y="53"/>
                </a:cxn>
                <a:cxn ang="0">
                  <a:pos x="29" y="0"/>
                </a:cxn>
                <a:cxn ang="0">
                  <a:pos x="0" y="27"/>
                </a:cxn>
                <a:cxn ang="0">
                  <a:pos x="57" y="54"/>
                </a:cxn>
                <a:cxn ang="0">
                  <a:pos x="115" y="190"/>
                </a:cxn>
                <a:cxn ang="0">
                  <a:pos x="201" y="218"/>
                </a:cxn>
                <a:cxn ang="0">
                  <a:pos x="201" y="163"/>
                </a:cxn>
                <a:cxn ang="0">
                  <a:pos x="143" y="136"/>
                </a:cxn>
                <a:cxn ang="0">
                  <a:pos x="229" y="136"/>
                </a:cxn>
                <a:cxn ang="0">
                  <a:pos x="229" y="218"/>
                </a:cxn>
                <a:cxn ang="0">
                  <a:pos x="172" y="300"/>
                </a:cxn>
                <a:cxn ang="0">
                  <a:pos x="373" y="300"/>
                </a:cxn>
                <a:cxn ang="0">
                  <a:pos x="423" y="400"/>
                </a:cxn>
                <a:cxn ang="0">
                  <a:pos x="430" y="354"/>
                </a:cxn>
                <a:cxn ang="0">
                  <a:pos x="487" y="245"/>
                </a:cxn>
                <a:cxn ang="0">
                  <a:pos x="544" y="27"/>
                </a:cxn>
                <a:cxn ang="0">
                  <a:pos x="143" y="27"/>
                </a:cxn>
              </a:cxnLst>
              <a:rect l="0" t="0" r="r" b="b"/>
              <a:pathLst>
                <a:path w="544" h="400">
                  <a:moveTo>
                    <a:pt x="136" y="24"/>
                  </a:moveTo>
                  <a:lnTo>
                    <a:pt x="111" y="53"/>
                  </a:lnTo>
                  <a:lnTo>
                    <a:pt x="29" y="0"/>
                  </a:lnTo>
                  <a:lnTo>
                    <a:pt x="0" y="27"/>
                  </a:lnTo>
                  <a:lnTo>
                    <a:pt x="57" y="54"/>
                  </a:lnTo>
                  <a:lnTo>
                    <a:pt x="115" y="190"/>
                  </a:lnTo>
                  <a:lnTo>
                    <a:pt x="201" y="218"/>
                  </a:lnTo>
                  <a:lnTo>
                    <a:pt x="201" y="163"/>
                  </a:lnTo>
                  <a:lnTo>
                    <a:pt x="143" y="136"/>
                  </a:lnTo>
                  <a:lnTo>
                    <a:pt x="229" y="136"/>
                  </a:lnTo>
                  <a:lnTo>
                    <a:pt x="229" y="218"/>
                  </a:lnTo>
                  <a:lnTo>
                    <a:pt x="172" y="300"/>
                  </a:lnTo>
                  <a:lnTo>
                    <a:pt x="373" y="300"/>
                  </a:lnTo>
                  <a:lnTo>
                    <a:pt x="423" y="400"/>
                  </a:lnTo>
                  <a:lnTo>
                    <a:pt x="430" y="354"/>
                  </a:lnTo>
                  <a:lnTo>
                    <a:pt x="487" y="245"/>
                  </a:lnTo>
                  <a:lnTo>
                    <a:pt x="544" y="27"/>
                  </a:lnTo>
                  <a:lnTo>
                    <a:pt x="143" y="27"/>
                  </a:lnTo>
                </a:path>
              </a:pathLst>
            </a:custGeom>
            <a:solidFill>
              <a:schemeClr val="bg1">
                <a:lumMod val="85000"/>
              </a:schemeClr>
            </a:solidFill>
            <a:ln w="6350" cap="rnd">
              <a:solidFill>
                <a:schemeClr val="bg1"/>
              </a:solidFill>
              <a:prstDash val="solid"/>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82" name="Rectangle 201">
              <a:extLst>
                <a:ext uri="{FF2B5EF4-FFF2-40B4-BE49-F238E27FC236}">
                  <a16:creationId xmlns:a16="http://schemas.microsoft.com/office/drawing/2014/main" id="{D6C5C05D-2163-EA45-CB55-0281ABE4379C}"/>
                </a:ext>
              </a:extLst>
            </p:cNvPr>
            <p:cNvSpPr>
              <a:spLocks noChangeArrowheads="1"/>
            </p:cNvSpPr>
            <p:nvPr/>
          </p:nvSpPr>
          <p:spPr bwMode="auto">
            <a:xfrm>
              <a:off x="700551" y="2131999"/>
              <a:ext cx="18723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CADDO</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83" name="Rectangle 202">
              <a:extLst>
                <a:ext uri="{FF2B5EF4-FFF2-40B4-BE49-F238E27FC236}">
                  <a16:creationId xmlns:a16="http://schemas.microsoft.com/office/drawing/2014/main" id="{29EC5F24-F6F2-00F5-E4AA-34A614460C67}"/>
                </a:ext>
              </a:extLst>
            </p:cNvPr>
            <p:cNvSpPr>
              <a:spLocks noChangeArrowheads="1"/>
            </p:cNvSpPr>
            <p:nvPr/>
          </p:nvSpPr>
          <p:spPr bwMode="auto">
            <a:xfrm>
              <a:off x="976629" y="1846719"/>
              <a:ext cx="21010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BOSSIER</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84" name="Rectangle 203">
              <a:extLst>
                <a:ext uri="{FF2B5EF4-FFF2-40B4-BE49-F238E27FC236}">
                  <a16:creationId xmlns:a16="http://schemas.microsoft.com/office/drawing/2014/main" id="{3D031148-7AE9-AE85-355F-5945A3C9A51A}"/>
                </a:ext>
              </a:extLst>
            </p:cNvPr>
            <p:cNvSpPr>
              <a:spLocks noChangeArrowheads="1"/>
            </p:cNvSpPr>
            <p:nvPr/>
          </p:nvSpPr>
          <p:spPr bwMode="auto">
            <a:xfrm>
              <a:off x="1616210" y="1799557"/>
              <a:ext cx="287290"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CLAIBORN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85" name="Rectangle 204">
              <a:extLst>
                <a:ext uri="{FF2B5EF4-FFF2-40B4-BE49-F238E27FC236}">
                  <a16:creationId xmlns:a16="http://schemas.microsoft.com/office/drawing/2014/main" id="{3348AF73-9B26-4F19-1490-7EAE3D20BB07}"/>
                </a:ext>
              </a:extLst>
            </p:cNvPr>
            <p:cNvSpPr>
              <a:spLocks noChangeArrowheads="1"/>
            </p:cNvSpPr>
            <p:nvPr/>
          </p:nvSpPr>
          <p:spPr bwMode="auto">
            <a:xfrm>
              <a:off x="2375426" y="1842119"/>
              <a:ext cx="17723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UNI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86" name="Rectangle 205">
              <a:extLst>
                <a:ext uri="{FF2B5EF4-FFF2-40B4-BE49-F238E27FC236}">
                  <a16:creationId xmlns:a16="http://schemas.microsoft.com/office/drawing/2014/main" id="{8D8FD47A-8115-3ED2-C39B-859C6376FDC8}"/>
                </a:ext>
              </a:extLst>
            </p:cNvPr>
            <p:cNvSpPr>
              <a:spLocks noChangeArrowheads="1"/>
            </p:cNvSpPr>
            <p:nvPr/>
          </p:nvSpPr>
          <p:spPr bwMode="auto">
            <a:xfrm>
              <a:off x="2846439" y="1778849"/>
              <a:ext cx="33588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MOREHOUS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87" name="Rectangle 206">
              <a:extLst>
                <a:ext uri="{FF2B5EF4-FFF2-40B4-BE49-F238E27FC236}">
                  <a16:creationId xmlns:a16="http://schemas.microsoft.com/office/drawing/2014/main" id="{843DBCD3-289C-3E68-66D9-51FD551CB181}"/>
                </a:ext>
              </a:extLst>
            </p:cNvPr>
            <p:cNvSpPr>
              <a:spLocks noChangeArrowheads="1"/>
            </p:cNvSpPr>
            <p:nvPr/>
          </p:nvSpPr>
          <p:spPr bwMode="auto">
            <a:xfrm>
              <a:off x="3332493" y="1806459"/>
              <a:ext cx="142930"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WES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88" name="Rectangle 207">
              <a:extLst>
                <a:ext uri="{FF2B5EF4-FFF2-40B4-BE49-F238E27FC236}">
                  <a16:creationId xmlns:a16="http://schemas.microsoft.com/office/drawing/2014/main" id="{55EE31B6-9426-09AD-C291-C56BED06F250}"/>
                </a:ext>
              </a:extLst>
            </p:cNvPr>
            <p:cNvSpPr>
              <a:spLocks noChangeArrowheads="1"/>
            </p:cNvSpPr>
            <p:nvPr/>
          </p:nvSpPr>
          <p:spPr bwMode="auto">
            <a:xfrm>
              <a:off x="3597068" y="1806459"/>
              <a:ext cx="124350"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EAS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89" name="Rectangle 208">
              <a:extLst>
                <a:ext uri="{FF2B5EF4-FFF2-40B4-BE49-F238E27FC236}">
                  <a16:creationId xmlns:a16="http://schemas.microsoft.com/office/drawing/2014/main" id="{7F154FBD-09DB-5C32-340E-6384176DAB55}"/>
                </a:ext>
              </a:extLst>
            </p:cNvPr>
            <p:cNvSpPr>
              <a:spLocks noChangeArrowheads="1"/>
            </p:cNvSpPr>
            <p:nvPr/>
          </p:nvSpPr>
          <p:spPr bwMode="auto">
            <a:xfrm>
              <a:off x="851246" y="2745122"/>
              <a:ext cx="21010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DESOTO</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0" name="Rectangle 209">
              <a:extLst>
                <a:ext uri="{FF2B5EF4-FFF2-40B4-BE49-F238E27FC236}">
                  <a16:creationId xmlns:a16="http://schemas.microsoft.com/office/drawing/2014/main" id="{EDE82001-0F9A-DE6E-7A15-C60FC93CC949}"/>
                </a:ext>
              </a:extLst>
            </p:cNvPr>
            <p:cNvSpPr>
              <a:spLocks noChangeArrowheads="1"/>
            </p:cNvSpPr>
            <p:nvPr/>
          </p:nvSpPr>
          <p:spPr bwMode="auto">
            <a:xfrm>
              <a:off x="1350485" y="2681855"/>
              <a:ext cx="101481"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RED</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1" name="Rectangle 210">
              <a:extLst>
                <a:ext uri="{FF2B5EF4-FFF2-40B4-BE49-F238E27FC236}">
                  <a16:creationId xmlns:a16="http://schemas.microsoft.com/office/drawing/2014/main" id="{801E0821-000C-1076-1473-A798F83BB6F6}"/>
                </a:ext>
              </a:extLst>
            </p:cNvPr>
            <p:cNvSpPr>
              <a:spLocks noChangeArrowheads="1"/>
            </p:cNvSpPr>
            <p:nvPr/>
          </p:nvSpPr>
          <p:spPr bwMode="auto">
            <a:xfrm>
              <a:off x="1349659" y="2749725"/>
              <a:ext cx="14721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RIVER</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2" name="Rectangle 211">
              <a:extLst>
                <a:ext uri="{FF2B5EF4-FFF2-40B4-BE49-F238E27FC236}">
                  <a16:creationId xmlns:a16="http://schemas.microsoft.com/office/drawing/2014/main" id="{3B0F5965-85E1-D0D7-48BC-172BFBF8B0B1}"/>
                </a:ext>
              </a:extLst>
            </p:cNvPr>
            <p:cNvSpPr>
              <a:spLocks noChangeArrowheads="1"/>
            </p:cNvSpPr>
            <p:nvPr/>
          </p:nvSpPr>
          <p:spPr bwMode="auto">
            <a:xfrm>
              <a:off x="1616210" y="2450639"/>
              <a:ext cx="251557"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BIENVILL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3" name="Rectangle 212">
              <a:extLst>
                <a:ext uri="{FF2B5EF4-FFF2-40B4-BE49-F238E27FC236}">
                  <a16:creationId xmlns:a16="http://schemas.microsoft.com/office/drawing/2014/main" id="{F8C47143-FF8C-BCF6-78C0-DE3452C9041D}"/>
                </a:ext>
              </a:extLst>
            </p:cNvPr>
            <p:cNvSpPr>
              <a:spLocks noChangeArrowheads="1"/>
            </p:cNvSpPr>
            <p:nvPr/>
          </p:nvSpPr>
          <p:spPr bwMode="auto">
            <a:xfrm>
              <a:off x="2084393" y="2400026"/>
              <a:ext cx="23011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JACKS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4" name="Rectangle 213">
              <a:extLst>
                <a:ext uri="{FF2B5EF4-FFF2-40B4-BE49-F238E27FC236}">
                  <a16:creationId xmlns:a16="http://schemas.microsoft.com/office/drawing/2014/main" id="{3F58C918-E71F-CD9A-A85D-6AEF5AF3D1F6}"/>
                </a:ext>
              </a:extLst>
            </p:cNvPr>
            <p:cNvSpPr>
              <a:spLocks noChangeArrowheads="1"/>
            </p:cNvSpPr>
            <p:nvPr/>
          </p:nvSpPr>
          <p:spPr bwMode="auto">
            <a:xfrm>
              <a:off x="1972765" y="2111294"/>
              <a:ext cx="22154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LINCOL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5" name="Rectangle 214">
              <a:extLst>
                <a:ext uri="{FF2B5EF4-FFF2-40B4-BE49-F238E27FC236}">
                  <a16:creationId xmlns:a16="http://schemas.microsoft.com/office/drawing/2014/main" id="{84DCA618-09EF-B87A-5032-2FF158F08598}"/>
                </a:ext>
              </a:extLst>
            </p:cNvPr>
            <p:cNvSpPr>
              <a:spLocks noChangeArrowheads="1"/>
            </p:cNvSpPr>
            <p:nvPr/>
          </p:nvSpPr>
          <p:spPr bwMode="auto">
            <a:xfrm>
              <a:off x="2473203" y="2322955"/>
              <a:ext cx="27013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OUACHIT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6" name="Rectangle 215">
              <a:extLst>
                <a:ext uri="{FF2B5EF4-FFF2-40B4-BE49-F238E27FC236}">
                  <a16:creationId xmlns:a16="http://schemas.microsoft.com/office/drawing/2014/main" id="{FE12A147-0DD3-CB19-7394-5DDE21111AC7}"/>
                </a:ext>
              </a:extLst>
            </p:cNvPr>
            <p:cNvSpPr>
              <a:spLocks noChangeArrowheads="1"/>
            </p:cNvSpPr>
            <p:nvPr/>
          </p:nvSpPr>
          <p:spPr bwMode="auto">
            <a:xfrm>
              <a:off x="2958640" y="2306849"/>
              <a:ext cx="26013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RICHLAND</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7" name="Rectangle 216">
              <a:extLst>
                <a:ext uri="{FF2B5EF4-FFF2-40B4-BE49-F238E27FC236}">
                  <a16:creationId xmlns:a16="http://schemas.microsoft.com/office/drawing/2014/main" id="{94A45052-36FA-6A2B-CBA3-E1DC304E56EC}"/>
                </a:ext>
              </a:extLst>
            </p:cNvPr>
            <p:cNvSpPr>
              <a:spLocks noChangeArrowheads="1"/>
            </p:cNvSpPr>
            <p:nvPr/>
          </p:nvSpPr>
          <p:spPr bwMode="auto">
            <a:xfrm>
              <a:off x="3530349" y="2354012"/>
              <a:ext cx="252987"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MADIS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8" name="Rectangle 217">
              <a:extLst>
                <a:ext uri="{FF2B5EF4-FFF2-40B4-BE49-F238E27FC236}">
                  <a16:creationId xmlns:a16="http://schemas.microsoft.com/office/drawing/2014/main" id="{247F0694-B139-F6D5-FBB1-C3B97D515F1C}"/>
                </a:ext>
              </a:extLst>
            </p:cNvPr>
            <p:cNvSpPr>
              <a:spLocks noChangeArrowheads="1"/>
            </p:cNvSpPr>
            <p:nvPr/>
          </p:nvSpPr>
          <p:spPr bwMode="auto">
            <a:xfrm>
              <a:off x="1072108" y="3253566"/>
              <a:ext cx="182950"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SABIN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199" name="Rectangle 218">
              <a:extLst>
                <a:ext uri="{FF2B5EF4-FFF2-40B4-BE49-F238E27FC236}">
                  <a16:creationId xmlns:a16="http://schemas.microsoft.com/office/drawing/2014/main" id="{3B0EDC56-1A1D-C0EA-7915-3AF44BE2C580}"/>
                </a:ext>
              </a:extLst>
            </p:cNvPr>
            <p:cNvSpPr>
              <a:spLocks noChangeArrowheads="1"/>
            </p:cNvSpPr>
            <p:nvPr/>
          </p:nvSpPr>
          <p:spPr bwMode="auto">
            <a:xfrm>
              <a:off x="1693085" y="2729017"/>
              <a:ext cx="40020"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0" name="Rectangle 219">
              <a:extLst>
                <a:ext uri="{FF2B5EF4-FFF2-40B4-BE49-F238E27FC236}">
                  <a16:creationId xmlns:a16="http://schemas.microsoft.com/office/drawing/2014/main" id="{E5E62B2D-1EF8-C7FF-FE5D-AA0B2A8F451B}"/>
                </a:ext>
              </a:extLst>
            </p:cNvPr>
            <p:cNvSpPr>
              <a:spLocks noChangeArrowheads="1"/>
            </p:cNvSpPr>
            <p:nvPr/>
          </p:nvSpPr>
          <p:spPr bwMode="auto">
            <a:xfrm>
              <a:off x="1694431" y="2796887"/>
              <a:ext cx="3573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1" name="Rectangle 220">
              <a:extLst>
                <a:ext uri="{FF2B5EF4-FFF2-40B4-BE49-F238E27FC236}">
                  <a16:creationId xmlns:a16="http://schemas.microsoft.com/office/drawing/2014/main" id="{48388E0E-AEFA-FF41-E32C-C49A92495590}"/>
                </a:ext>
              </a:extLst>
            </p:cNvPr>
            <p:cNvSpPr>
              <a:spLocks noChangeArrowheads="1"/>
            </p:cNvSpPr>
            <p:nvPr/>
          </p:nvSpPr>
          <p:spPr bwMode="auto">
            <a:xfrm>
              <a:off x="1696733" y="2863607"/>
              <a:ext cx="3001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2" name="Rectangle 221">
              <a:extLst>
                <a:ext uri="{FF2B5EF4-FFF2-40B4-BE49-F238E27FC236}">
                  <a16:creationId xmlns:a16="http://schemas.microsoft.com/office/drawing/2014/main" id="{5207A14D-6D05-E073-8329-A98ACE2F4398}"/>
                </a:ext>
              </a:extLst>
            </p:cNvPr>
            <p:cNvSpPr>
              <a:spLocks noChangeArrowheads="1"/>
            </p:cNvSpPr>
            <p:nvPr/>
          </p:nvSpPr>
          <p:spPr bwMode="auto">
            <a:xfrm>
              <a:off x="1693085" y="2930324"/>
              <a:ext cx="32875"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3" name="Rectangle 222">
              <a:extLst>
                <a:ext uri="{FF2B5EF4-FFF2-40B4-BE49-F238E27FC236}">
                  <a16:creationId xmlns:a16="http://schemas.microsoft.com/office/drawing/2014/main" id="{4B0F23F8-F907-AAC9-8179-A65F645D867A}"/>
                </a:ext>
              </a:extLst>
            </p:cNvPr>
            <p:cNvSpPr>
              <a:spLocks noChangeArrowheads="1"/>
            </p:cNvSpPr>
            <p:nvPr/>
          </p:nvSpPr>
          <p:spPr bwMode="auto">
            <a:xfrm>
              <a:off x="1693085" y="2998194"/>
              <a:ext cx="3859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H</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4" name="Rectangle 223">
              <a:extLst>
                <a:ext uri="{FF2B5EF4-FFF2-40B4-BE49-F238E27FC236}">
                  <a16:creationId xmlns:a16="http://schemas.microsoft.com/office/drawing/2014/main" id="{F5AD497A-F2AE-BB08-E95B-A492B9EE64E4}"/>
                </a:ext>
              </a:extLst>
            </p:cNvPr>
            <p:cNvSpPr>
              <a:spLocks noChangeArrowheads="1"/>
            </p:cNvSpPr>
            <p:nvPr/>
          </p:nvSpPr>
          <p:spPr bwMode="auto">
            <a:xfrm>
              <a:off x="1707011" y="3064911"/>
              <a:ext cx="1572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I</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5" name="Rectangle 224">
              <a:extLst>
                <a:ext uri="{FF2B5EF4-FFF2-40B4-BE49-F238E27FC236}">
                  <a16:creationId xmlns:a16="http://schemas.microsoft.com/office/drawing/2014/main" id="{4CD67727-647A-C91A-056C-8424C9C7F1B6}"/>
                </a:ext>
              </a:extLst>
            </p:cNvPr>
            <p:cNvSpPr>
              <a:spLocks noChangeArrowheads="1"/>
            </p:cNvSpPr>
            <p:nvPr/>
          </p:nvSpPr>
          <p:spPr bwMode="auto">
            <a:xfrm>
              <a:off x="1696733" y="3132782"/>
              <a:ext cx="3001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6" name="Rectangle 225">
              <a:extLst>
                <a:ext uri="{FF2B5EF4-FFF2-40B4-BE49-F238E27FC236}">
                  <a16:creationId xmlns:a16="http://schemas.microsoft.com/office/drawing/2014/main" id="{ADE64E4F-3985-5631-8E8C-5AB766FF24AC}"/>
                </a:ext>
              </a:extLst>
            </p:cNvPr>
            <p:cNvSpPr>
              <a:spLocks noChangeArrowheads="1"/>
            </p:cNvSpPr>
            <p:nvPr/>
          </p:nvSpPr>
          <p:spPr bwMode="auto">
            <a:xfrm>
              <a:off x="1692131" y="3199502"/>
              <a:ext cx="41451"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O</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7" name="Rectangle 226">
              <a:extLst>
                <a:ext uri="{FF2B5EF4-FFF2-40B4-BE49-F238E27FC236}">
                  <a16:creationId xmlns:a16="http://schemas.microsoft.com/office/drawing/2014/main" id="{14CFDFDB-8B2F-49BE-FB0F-6EDFFF7F62A3}"/>
                </a:ext>
              </a:extLst>
            </p:cNvPr>
            <p:cNvSpPr>
              <a:spLocks noChangeArrowheads="1"/>
            </p:cNvSpPr>
            <p:nvPr/>
          </p:nvSpPr>
          <p:spPr bwMode="auto">
            <a:xfrm>
              <a:off x="1693085" y="3266220"/>
              <a:ext cx="32875"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8" name="Rectangle 227">
              <a:extLst>
                <a:ext uri="{FF2B5EF4-FFF2-40B4-BE49-F238E27FC236}">
                  <a16:creationId xmlns:a16="http://schemas.microsoft.com/office/drawing/2014/main" id="{8751B8EB-E042-ABD8-B243-D31B0FF701A4}"/>
                </a:ext>
              </a:extLst>
            </p:cNvPr>
            <p:cNvSpPr>
              <a:spLocks noChangeArrowheads="1"/>
            </p:cNvSpPr>
            <p:nvPr/>
          </p:nvSpPr>
          <p:spPr bwMode="auto">
            <a:xfrm>
              <a:off x="1693085" y="3334090"/>
              <a:ext cx="3859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H</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09" name="Rectangle 228">
              <a:extLst>
                <a:ext uri="{FF2B5EF4-FFF2-40B4-BE49-F238E27FC236}">
                  <a16:creationId xmlns:a16="http://schemas.microsoft.com/office/drawing/2014/main" id="{C352286B-B21D-6B3B-4D8B-E3FBE2128FDD}"/>
                </a:ext>
              </a:extLst>
            </p:cNvPr>
            <p:cNvSpPr>
              <a:spLocks noChangeArrowheads="1"/>
            </p:cNvSpPr>
            <p:nvPr/>
          </p:nvSpPr>
          <p:spPr bwMode="auto">
            <a:xfrm>
              <a:off x="1695582" y="3401958"/>
              <a:ext cx="3001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0" name="Rectangle 229">
              <a:extLst>
                <a:ext uri="{FF2B5EF4-FFF2-40B4-BE49-F238E27FC236}">
                  <a16:creationId xmlns:a16="http://schemas.microsoft.com/office/drawing/2014/main" id="{929CA25A-6725-AF4D-8AB4-0A97AB8367B6}"/>
                </a:ext>
              </a:extLst>
            </p:cNvPr>
            <p:cNvSpPr>
              <a:spLocks noChangeArrowheads="1"/>
            </p:cNvSpPr>
            <p:nvPr/>
          </p:nvSpPr>
          <p:spPr bwMode="auto">
            <a:xfrm>
              <a:off x="1695582" y="3469828"/>
              <a:ext cx="2858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1" name="Rectangle 230">
              <a:extLst>
                <a:ext uri="{FF2B5EF4-FFF2-40B4-BE49-F238E27FC236}">
                  <a16:creationId xmlns:a16="http://schemas.microsoft.com/office/drawing/2014/main" id="{16455A88-35BB-F891-2647-0AF690AE6F21}"/>
                </a:ext>
              </a:extLst>
            </p:cNvPr>
            <p:cNvSpPr>
              <a:spLocks noChangeArrowheads="1"/>
            </p:cNvSpPr>
            <p:nvPr/>
          </p:nvSpPr>
          <p:spPr bwMode="auto">
            <a:xfrm>
              <a:off x="1390746" y="1716734"/>
              <a:ext cx="5431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W</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2" name="Rectangle 231">
              <a:extLst>
                <a:ext uri="{FF2B5EF4-FFF2-40B4-BE49-F238E27FC236}">
                  <a16:creationId xmlns:a16="http://schemas.microsoft.com/office/drawing/2014/main" id="{740B724B-2674-B035-8329-58CCC8B66A8E}"/>
                </a:ext>
              </a:extLst>
            </p:cNvPr>
            <p:cNvSpPr>
              <a:spLocks noChangeArrowheads="1"/>
            </p:cNvSpPr>
            <p:nvPr/>
          </p:nvSpPr>
          <p:spPr bwMode="auto">
            <a:xfrm>
              <a:off x="1394196" y="1783451"/>
              <a:ext cx="3001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3" name="Rectangle 232">
              <a:extLst>
                <a:ext uri="{FF2B5EF4-FFF2-40B4-BE49-F238E27FC236}">
                  <a16:creationId xmlns:a16="http://schemas.microsoft.com/office/drawing/2014/main" id="{757266F4-82F3-1920-1870-CE30F913DC7F}"/>
                </a:ext>
              </a:extLst>
            </p:cNvPr>
            <p:cNvSpPr>
              <a:spLocks noChangeArrowheads="1"/>
            </p:cNvSpPr>
            <p:nvPr/>
          </p:nvSpPr>
          <p:spPr bwMode="auto">
            <a:xfrm>
              <a:off x="1393047" y="1851322"/>
              <a:ext cx="32875"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B</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4" name="Rectangle 233">
              <a:extLst>
                <a:ext uri="{FF2B5EF4-FFF2-40B4-BE49-F238E27FC236}">
                  <a16:creationId xmlns:a16="http://schemas.microsoft.com/office/drawing/2014/main" id="{839B825D-1F40-4F6C-DB9F-AED7568B3B59}"/>
                </a:ext>
              </a:extLst>
            </p:cNvPr>
            <p:cNvSpPr>
              <a:spLocks noChangeArrowheads="1"/>
            </p:cNvSpPr>
            <p:nvPr/>
          </p:nvSpPr>
          <p:spPr bwMode="auto">
            <a:xfrm>
              <a:off x="1394196" y="1918039"/>
              <a:ext cx="2858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5" name="Rectangle 234">
              <a:extLst>
                <a:ext uri="{FF2B5EF4-FFF2-40B4-BE49-F238E27FC236}">
                  <a16:creationId xmlns:a16="http://schemas.microsoft.com/office/drawing/2014/main" id="{966FD6AC-BBA1-19DE-EB5D-DE21AE0B1BA0}"/>
                </a:ext>
              </a:extLst>
            </p:cNvPr>
            <p:cNvSpPr>
              <a:spLocks noChangeArrowheads="1"/>
            </p:cNvSpPr>
            <p:nvPr/>
          </p:nvSpPr>
          <p:spPr bwMode="auto">
            <a:xfrm>
              <a:off x="1395347" y="1985909"/>
              <a:ext cx="3001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6" name="Rectangle 235">
              <a:extLst>
                <a:ext uri="{FF2B5EF4-FFF2-40B4-BE49-F238E27FC236}">
                  <a16:creationId xmlns:a16="http://schemas.microsoft.com/office/drawing/2014/main" id="{373B5BF8-E9F3-FA5C-6242-2A69C820ACB4}"/>
                </a:ext>
              </a:extLst>
            </p:cNvPr>
            <p:cNvSpPr>
              <a:spLocks noChangeArrowheads="1"/>
            </p:cNvSpPr>
            <p:nvPr/>
          </p:nvSpPr>
          <p:spPr bwMode="auto">
            <a:xfrm>
              <a:off x="1394196" y="2053780"/>
              <a:ext cx="3001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7" name="Rectangle 236">
              <a:extLst>
                <a:ext uri="{FF2B5EF4-FFF2-40B4-BE49-F238E27FC236}">
                  <a16:creationId xmlns:a16="http://schemas.microsoft.com/office/drawing/2014/main" id="{28C72450-7F07-A664-6BD9-17C7C4797E63}"/>
                </a:ext>
              </a:extLst>
            </p:cNvPr>
            <p:cNvSpPr>
              <a:spLocks noChangeArrowheads="1"/>
            </p:cNvSpPr>
            <p:nvPr/>
          </p:nvSpPr>
          <p:spPr bwMode="auto">
            <a:xfrm>
              <a:off x="1393047" y="2120497"/>
              <a:ext cx="32875"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R</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8" name="Rectangle 237">
              <a:extLst>
                <a:ext uri="{FF2B5EF4-FFF2-40B4-BE49-F238E27FC236}">
                  <a16:creationId xmlns:a16="http://schemas.microsoft.com/office/drawing/2014/main" id="{5AF7304C-B251-909E-4FBF-905020C51684}"/>
                </a:ext>
              </a:extLst>
            </p:cNvPr>
            <p:cNvSpPr>
              <a:spLocks noChangeArrowheads="1"/>
            </p:cNvSpPr>
            <p:nvPr/>
          </p:nvSpPr>
          <p:spPr bwMode="auto">
            <a:xfrm>
              <a:off x="3399211" y="1930694"/>
              <a:ext cx="22725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CARROLL</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19" name="Rectangle 238">
              <a:extLst>
                <a:ext uri="{FF2B5EF4-FFF2-40B4-BE49-F238E27FC236}">
                  <a16:creationId xmlns:a16="http://schemas.microsoft.com/office/drawing/2014/main" id="{50047141-3DB7-61D2-3DFC-BD3321ECA672}"/>
                </a:ext>
              </a:extLst>
            </p:cNvPr>
            <p:cNvSpPr>
              <a:spLocks noChangeArrowheads="1"/>
            </p:cNvSpPr>
            <p:nvPr/>
          </p:nvSpPr>
          <p:spPr bwMode="auto">
            <a:xfrm>
              <a:off x="2143058" y="2876260"/>
              <a:ext cx="150077"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WIN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0" name="Rectangle 239">
              <a:extLst>
                <a:ext uri="{FF2B5EF4-FFF2-40B4-BE49-F238E27FC236}">
                  <a16:creationId xmlns:a16="http://schemas.microsoft.com/office/drawing/2014/main" id="{A8B2E7C8-4E60-6B13-1DA4-89CFD206798D}"/>
                </a:ext>
              </a:extLst>
            </p:cNvPr>
            <p:cNvSpPr>
              <a:spLocks noChangeArrowheads="1"/>
            </p:cNvSpPr>
            <p:nvPr/>
          </p:nvSpPr>
          <p:spPr bwMode="auto">
            <a:xfrm>
              <a:off x="2570620" y="2681855"/>
              <a:ext cx="26870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CALDWELL</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1" name="Rectangle 240">
              <a:extLst>
                <a:ext uri="{FF2B5EF4-FFF2-40B4-BE49-F238E27FC236}">
                  <a16:creationId xmlns:a16="http://schemas.microsoft.com/office/drawing/2014/main" id="{3579A6B9-DABF-7FF3-111C-CED37C3A2014}"/>
                </a:ext>
              </a:extLst>
            </p:cNvPr>
            <p:cNvSpPr>
              <a:spLocks noChangeArrowheads="1"/>
            </p:cNvSpPr>
            <p:nvPr/>
          </p:nvSpPr>
          <p:spPr bwMode="auto">
            <a:xfrm>
              <a:off x="3016154" y="2673802"/>
              <a:ext cx="250128"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FRANKLI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2" name="Rectangle 241">
              <a:extLst>
                <a:ext uri="{FF2B5EF4-FFF2-40B4-BE49-F238E27FC236}">
                  <a16:creationId xmlns:a16="http://schemas.microsoft.com/office/drawing/2014/main" id="{0E5EC487-E57A-911B-CCFF-C3FA4FA7F818}"/>
                </a:ext>
              </a:extLst>
            </p:cNvPr>
            <p:cNvSpPr>
              <a:spLocks noChangeArrowheads="1"/>
            </p:cNvSpPr>
            <p:nvPr/>
          </p:nvSpPr>
          <p:spPr bwMode="auto">
            <a:xfrm>
              <a:off x="3465932" y="2681855"/>
              <a:ext cx="19295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TENSA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3" name="Rectangle 242">
              <a:extLst>
                <a:ext uri="{FF2B5EF4-FFF2-40B4-BE49-F238E27FC236}">
                  <a16:creationId xmlns:a16="http://schemas.microsoft.com/office/drawing/2014/main" id="{224F14F3-7090-580C-A3BD-B4D5E0C7346B}"/>
                </a:ext>
              </a:extLst>
            </p:cNvPr>
            <p:cNvSpPr>
              <a:spLocks noChangeArrowheads="1"/>
            </p:cNvSpPr>
            <p:nvPr/>
          </p:nvSpPr>
          <p:spPr bwMode="auto">
            <a:xfrm>
              <a:off x="2150151" y="3292677"/>
              <a:ext cx="177233"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GRAN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4" name="Rectangle 243">
              <a:extLst>
                <a:ext uri="{FF2B5EF4-FFF2-40B4-BE49-F238E27FC236}">
                  <a16:creationId xmlns:a16="http://schemas.microsoft.com/office/drawing/2014/main" id="{951D904E-A6B1-DE4C-637A-E4796E6A0A60}"/>
                </a:ext>
              </a:extLst>
            </p:cNvPr>
            <p:cNvSpPr>
              <a:spLocks noChangeArrowheads="1"/>
            </p:cNvSpPr>
            <p:nvPr/>
          </p:nvSpPr>
          <p:spPr bwMode="auto">
            <a:xfrm>
              <a:off x="2508770" y="3197199"/>
              <a:ext cx="207249"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LASALL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5" name="Rectangle 244">
              <a:extLst>
                <a:ext uri="{FF2B5EF4-FFF2-40B4-BE49-F238E27FC236}">
                  <a16:creationId xmlns:a16="http://schemas.microsoft.com/office/drawing/2014/main" id="{61A80C0C-45EB-8883-8808-DF091A23FEF8}"/>
                </a:ext>
              </a:extLst>
            </p:cNvPr>
            <p:cNvSpPr>
              <a:spLocks noChangeArrowheads="1"/>
            </p:cNvSpPr>
            <p:nvPr/>
          </p:nvSpPr>
          <p:spPr bwMode="auto">
            <a:xfrm>
              <a:off x="2893070" y="3018900"/>
              <a:ext cx="31587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TAHOUL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6" name="Rectangle 245">
              <a:extLst>
                <a:ext uri="{FF2B5EF4-FFF2-40B4-BE49-F238E27FC236}">
                  <a16:creationId xmlns:a16="http://schemas.microsoft.com/office/drawing/2014/main" id="{4AD0E36C-C61B-380F-4A3C-17DDAE7E2DE4}"/>
                </a:ext>
              </a:extLst>
            </p:cNvPr>
            <p:cNvSpPr>
              <a:spLocks noChangeArrowheads="1"/>
            </p:cNvSpPr>
            <p:nvPr/>
          </p:nvSpPr>
          <p:spPr bwMode="auto">
            <a:xfrm>
              <a:off x="3212860" y="3182246"/>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7" name="Rectangle 246">
              <a:extLst>
                <a:ext uri="{FF2B5EF4-FFF2-40B4-BE49-F238E27FC236}">
                  <a16:creationId xmlns:a16="http://schemas.microsoft.com/office/drawing/2014/main" id="{FD524713-1472-0C18-ED3A-CA8784A06A32}"/>
                </a:ext>
              </a:extLst>
            </p:cNvPr>
            <p:cNvSpPr>
              <a:spLocks noChangeArrowheads="1"/>
            </p:cNvSpPr>
            <p:nvPr/>
          </p:nvSpPr>
          <p:spPr bwMode="auto">
            <a:xfrm>
              <a:off x="3212860" y="3250114"/>
              <a:ext cx="4145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O</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8" name="Rectangle 247">
              <a:extLst>
                <a:ext uri="{FF2B5EF4-FFF2-40B4-BE49-F238E27FC236}">
                  <a16:creationId xmlns:a16="http://schemas.microsoft.com/office/drawing/2014/main" id="{3D262A20-A1D8-D0FE-FF60-B82D2B014336}"/>
                </a:ext>
              </a:extLst>
            </p:cNvPr>
            <p:cNvSpPr>
              <a:spLocks noChangeArrowheads="1"/>
            </p:cNvSpPr>
            <p:nvPr/>
          </p:nvSpPr>
          <p:spPr bwMode="auto">
            <a:xfrm>
              <a:off x="3212860" y="3316835"/>
              <a:ext cx="4002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29" name="Rectangle 248">
              <a:extLst>
                <a:ext uri="{FF2B5EF4-FFF2-40B4-BE49-F238E27FC236}">
                  <a16:creationId xmlns:a16="http://schemas.microsoft.com/office/drawing/2014/main" id="{35A85FC3-363C-34F4-D14E-36A233F1EB24}"/>
                </a:ext>
              </a:extLst>
            </p:cNvPr>
            <p:cNvSpPr>
              <a:spLocks noChangeArrowheads="1"/>
            </p:cNvSpPr>
            <p:nvPr/>
          </p:nvSpPr>
          <p:spPr bwMode="auto">
            <a:xfrm>
              <a:off x="3212860" y="3384703"/>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0" name="Rectangle 249">
              <a:extLst>
                <a:ext uri="{FF2B5EF4-FFF2-40B4-BE49-F238E27FC236}">
                  <a16:creationId xmlns:a16="http://schemas.microsoft.com/office/drawing/2014/main" id="{F23C7710-DE14-A73F-636D-7C224B7F0B43}"/>
                </a:ext>
              </a:extLst>
            </p:cNvPr>
            <p:cNvSpPr>
              <a:spLocks noChangeArrowheads="1"/>
            </p:cNvSpPr>
            <p:nvPr/>
          </p:nvSpPr>
          <p:spPr bwMode="auto">
            <a:xfrm>
              <a:off x="3212860" y="3451423"/>
              <a:ext cx="4145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O</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1" name="Rectangle 250">
              <a:extLst>
                <a:ext uri="{FF2B5EF4-FFF2-40B4-BE49-F238E27FC236}">
                  <a16:creationId xmlns:a16="http://schemas.microsoft.com/office/drawing/2014/main" id="{CAE93222-0A24-47B6-3222-247A399A9B32}"/>
                </a:ext>
              </a:extLst>
            </p:cNvPr>
            <p:cNvSpPr>
              <a:spLocks noChangeArrowheads="1"/>
            </p:cNvSpPr>
            <p:nvPr/>
          </p:nvSpPr>
          <p:spPr bwMode="auto">
            <a:xfrm>
              <a:off x="3212860" y="3518140"/>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R</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2" name="Rectangle 251">
              <a:extLst>
                <a:ext uri="{FF2B5EF4-FFF2-40B4-BE49-F238E27FC236}">
                  <a16:creationId xmlns:a16="http://schemas.microsoft.com/office/drawing/2014/main" id="{79706362-0F91-213F-AB8C-CDAABEACA3BC}"/>
                </a:ext>
              </a:extLst>
            </p:cNvPr>
            <p:cNvSpPr>
              <a:spLocks noChangeArrowheads="1"/>
            </p:cNvSpPr>
            <p:nvPr/>
          </p:nvSpPr>
          <p:spPr bwMode="auto">
            <a:xfrm>
              <a:off x="3212860" y="3586011"/>
              <a:ext cx="3859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D</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3" name="Rectangle 252">
              <a:extLst>
                <a:ext uri="{FF2B5EF4-FFF2-40B4-BE49-F238E27FC236}">
                  <a16:creationId xmlns:a16="http://schemas.microsoft.com/office/drawing/2014/main" id="{631887AB-FF82-06D0-768D-92106429CA98}"/>
                </a:ext>
              </a:extLst>
            </p:cNvPr>
            <p:cNvSpPr>
              <a:spLocks noChangeArrowheads="1"/>
            </p:cNvSpPr>
            <p:nvPr/>
          </p:nvSpPr>
          <p:spPr bwMode="auto">
            <a:xfrm>
              <a:off x="3228963" y="3652729"/>
              <a:ext cx="1572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I</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4" name="Rectangle 253">
              <a:extLst>
                <a:ext uri="{FF2B5EF4-FFF2-40B4-BE49-F238E27FC236}">
                  <a16:creationId xmlns:a16="http://schemas.microsoft.com/office/drawing/2014/main" id="{2FE77842-3C09-525D-FB48-0FBE28548BB5}"/>
                </a:ext>
              </a:extLst>
            </p:cNvPr>
            <p:cNvSpPr>
              <a:spLocks noChangeArrowheads="1"/>
            </p:cNvSpPr>
            <p:nvPr/>
          </p:nvSpPr>
          <p:spPr bwMode="auto">
            <a:xfrm>
              <a:off x="3212860" y="3721747"/>
              <a:ext cx="357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5" name="Rectangle 254">
              <a:extLst>
                <a:ext uri="{FF2B5EF4-FFF2-40B4-BE49-F238E27FC236}">
                  <a16:creationId xmlns:a16="http://schemas.microsoft.com/office/drawing/2014/main" id="{EC94CB1B-EA96-EDA1-C6F0-2ED2C31FBE4A}"/>
                </a:ext>
              </a:extLst>
            </p:cNvPr>
            <p:cNvSpPr>
              <a:spLocks noChangeArrowheads="1"/>
            </p:cNvSpPr>
            <p:nvPr/>
          </p:nvSpPr>
          <p:spPr bwMode="auto">
            <a:xfrm>
              <a:off x="1458617" y="3856335"/>
              <a:ext cx="22011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VERN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6" name="Rectangle 255">
              <a:extLst>
                <a:ext uri="{FF2B5EF4-FFF2-40B4-BE49-F238E27FC236}">
                  <a16:creationId xmlns:a16="http://schemas.microsoft.com/office/drawing/2014/main" id="{131E0A24-A5DC-63DB-103F-299509C4A6A3}"/>
                </a:ext>
              </a:extLst>
            </p:cNvPr>
            <p:cNvSpPr>
              <a:spLocks noChangeArrowheads="1"/>
            </p:cNvSpPr>
            <p:nvPr/>
          </p:nvSpPr>
          <p:spPr bwMode="auto">
            <a:xfrm>
              <a:off x="2160314" y="3806873"/>
              <a:ext cx="212966"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RAPIDE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7" name="Rectangle 256">
              <a:extLst>
                <a:ext uri="{FF2B5EF4-FFF2-40B4-BE49-F238E27FC236}">
                  <a16:creationId xmlns:a16="http://schemas.microsoft.com/office/drawing/2014/main" id="{F754709B-12F3-F887-FCCD-052CAEE5ACCE}"/>
                </a:ext>
              </a:extLst>
            </p:cNvPr>
            <p:cNvSpPr>
              <a:spLocks noChangeArrowheads="1"/>
            </p:cNvSpPr>
            <p:nvPr/>
          </p:nvSpPr>
          <p:spPr bwMode="auto">
            <a:xfrm>
              <a:off x="2732024" y="3887396"/>
              <a:ext cx="283002"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AVOYELLE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8" name="Rectangle 262">
              <a:extLst>
                <a:ext uri="{FF2B5EF4-FFF2-40B4-BE49-F238E27FC236}">
                  <a16:creationId xmlns:a16="http://schemas.microsoft.com/office/drawing/2014/main" id="{0C24E239-96BB-9926-DAB4-CE0D0D29C2B2}"/>
                </a:ext>
              </a:extLst>
            </p:cNvPr>
            <p:cNvSpPr>
              <a:spLocks noChangeArrowheads="1"/>
            </p:cNvSpPr>
            <p:nvPr/>
          </p:nvSpPr>
          <p:spPr bwMode="auto">
            <a:xfrm>
              <a:off x="3240468" y="4361328"/>
              <a:ext cx="188667"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POINT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39" name="Rectangle 263">
              <a:extLst>
                <a:ext uri="{FF2B5EF4-FFF2-40B4-BE49-F238E27FC236}">
                  <a16:creationId xmlns:a16="http://schemas.microsoft.com/office/drawing/2014/main" id="{2571ACFD-52C8-4B48-9F76-4D3A87086D18}"/>
                </a:ext>
              </a:extLst>
            </p:cNvPr>
            <p:cNvSpPr>
              <a:spLocks noChangeArrowheads="1"/>
            </p:cNvSpPr>
            <p:nvPr/>
          </p:nvSpPr>
          <p:spPr bwMode="auto">
            <a:xfrm>
              <a:off x="3240466" y="4429198"/>
              <a:ext cx="205819"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OUPE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40" name="Rectangle 264">
              <a:extLst>
                <a:ext uri="{FF2B5EF4-FFF2-40B4-BE49-F238E27FC236}">
                  <a16:creationId xmlns:a16="http://schemas.microsoft.com/office/drawing/2014/main" id="{3ADCA02B-F840-612C-5DC6-CCECAFD0B89D}"/>
                </a:ext>
              </a:extLst>
            </p:cNvPr>
            <p:cNvSpPr>
              <a:spLocks noChangeArrowheads="1"/>
            </p:cNvSpPr>
            <p:nvPr/>
          </p:nvSpPr>
          <p:spPr bwMode="auto">
            <a:xfrm>
              <a:off x="3456728" y="4035826"/>
              <a:ext cx="14293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WEST</a:t>
              </a: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Rectangle 266">
              <a:extLst>
                <a:ext uri="{FF2B5EF4-FFF2-40B4-BE49-F238E27FC236}">
                  <a16:creationId xmlns:a16="http://schemas.microsoft.com/office/drawing/2014/main" id="{43DB9F3E-4314-B9D4-36DA-1ADBE5EE721D}"/>
                </a:ext>
              </a:extLst>
            </p:cNvPr>
            <p:cNvSpPr>
              <a:spLocks noChangeArrowheads="1"/>
            </p:cNvSpPr>
            <p:nvPr/>
          </p:nvSpPr>
          <p:spPr bwMode="auto">
            <a:xfrm>
              <a:off x="3858452" y="4035826"/>
              <a:ext cx="12435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EAST</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42" name="Rectangle 267">
              <a:extLst>
                <a:ext uri="{FF2B5EF4-FFF2-40B4-BE49-F238E27FC236}">
                  <a16:creationId xmlns:a16="http://schemas.microsoft.com/office/drawing/2014/main" id="{5A958AB5-FC61-91A2-C030-30F9E9183698}"/>
                </a:ext>
              </a:extLst>
            </p:cNvPr>
            <p:cNvSpPr>
              <a:spLocks noChangeArrowheads="1"/>
            </p:cNvSpPr>
            <p:nvPr/>
          </p:nvSpPr>
          <p:spPr bwMode="auto">
            <a:xfrm>
              <a:off x="3798453" y="4129324"/>
              <a:ext cx="2601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FELICIANA</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43" name="Rectangle 270">
              <a:extLst>
                <a:ext uri="{FF2B5EF4-FFF2-40B4-BE49-F238E27FC236}">
                  <a16:creationId xmlns:a16="http://schemas.microsoft.com/office/drawing/2014/main" id="{DDB63612-2F36-E1B5-3998-90A4450A5AC9}"/>
                </a:ext>
              </a:extLst>
            </p:cNvPr>
            <p:cNvSpPr>
              <a:spLocks noChangeArrowheads="1"/>
            </p:cNvSpPr>
            <p:nvPr/>
          </p:nvSpPr>
          <p:spPr bwMode="auto">
            <a:xfrm>
              <a:off x="4593248" y="4063396"/>
              <a:ext cx="357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A</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44" name="Rectangle 271">
              <a:extLst>
                <a:ext uri="{FF2B5EF4-FFF2-40B4-BE49-F238E27FC236}">
                  <a16:creationId xmlns:a16="http://schemas.microsoft.com/office/drawing/2014/main" id="{E2E6F6AC-F3AF-B63D-D943-92E7DA571E19}"/>
                </a:ext>
              </a:extLst>
            </p:cNvPr>
            <p:cNvSpPr>
              <a:spLocks noChangeArrowheads="1"/>
            </p:cNvSpPr>
            <p:nvPr/>
          </p:nvSpPr>
          <p:spPr bwMode="auto">
            <a:xfrm>
              <a:off x="4593249" y="4130113"/>
              <a:ext cx="4002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45" name="Rectangle 272">
              <a:extLst>
                <a:ext uri="{FF2B5EF4-FFF2-40B4-BE49-F238E27FC236}">
                  <a16:creationId xmlns:a16="http://schemas.microsoft.com/office/drawing/2014/main" id="{57727ADC-76A1-C22D-D71D-6393E4484D0F}"/>
                </a:ext>
              </a:extLst>
            </p:cNvPr>
            <p:cNvSpPr>
              <a:spLocks noChangeArrowheads="1"/>
            </p:cNvSpPr>
            <p:nvPr/>
          </p:nvSpPr>
          <p:spPr bwMode="auto">
            <a:xfrm>
              <a:off x="4591891" y="4197983"/>
              <a:ext cx="3859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G</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46" name="Rectangle 273">
              <a:extLst>
                <a:ext uri="{FF2B5EF4-FFF2-40B4-BE49-F238E27FC236}">
                  <a16:creationId xmlns:a16="http://schemas.microsoft.com/office/drawing/2014/main" id="{BC066811-E2E5-0EDD-A045-B8B947E8085C}"/>
                </a:ext>
              </a:extLst>
            </p:cNvPr>
            <p:cNvSpPr>
              <a:spLocks noChangeArrowheads="1"/>
            </p:cNvSpPr>
            <p:nvPr/>
          </p:nvSpPr>
          <p:spPr bwMode="auto">
            <a:xfrm>
              <a:off x="4605830" y="4264700"/>
              <a:ext cx="1572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I</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47" name="Rectangle 274">
              <a:extLst>
                <a:ext uri="{FF2B5EF4-FFF2-40B4-BE49-F238E27FC236}">
                  <a16:creationId xmlns:a16="http://schemas.microsoft.com/office/drawing/2014/main" id="{CF6AE812-DF0C-F4CA-8EE5-272C856ADF51}"/>
                </a:ext>
              </a:extLst>
            </p:cNvPr>
            <p:cNvSpPr>
              <a:spLocks noChangeArrowheads="1"/>
            </p:cNvSpPr>
            <p:nvPr/>
          </p:nvSpPr>
          <p:spPr bwMode="auto">
            <a:xfrm>
              <a:off x="4594400" y="4332571"/>
              <a:ext cx="3144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P</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48" name="Rectangle 275">
              <a:extLst>
                <a:ext uri="{FF2B5EF4-FFF2-40B4-BE49-F238E27FC236}">
                  <a16:creationId xmlns:a16="http://schemas.microsoft.com/office/drawing/2014/main" id="{3862002E-502F-2EC1-40B8-05B73C4A7834}"/>
                </a:ext>
              </a:extLst>
            </p:cNvPr>
            <p:cNvSpPr>
              <a:spLocks noChangeArrowheads="1"/>
            </p:cNvSpPr>
            <p:nvPr/>
          </p:nvSpPr>
          <p:spPr bwMode="auto">
            <a:xfrm>
              <a:off x="4593248" y="4399288"/>
              <a:ext cx="357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A</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49" name="Rectangle 276">
              <a:extLst>
                <a:ext uri="{FF2B5EF4-FFF2-40B4-BE49-F238E27FC236}">
                  <a16:creationId xmlns:a16="http://schemas.microsoft.com/office/drawing/2014/main" id="{862F5B29-B8F3-6168-1CEA-2ADF2BE982C7}"/>
                </a:ext>
              </a:extLst>
            </p:cNvPr>
            <p:cNvSpPr>
              <a:spLocks noChangeArrowheads="1"/>
            </p:cNvSpPr>
            <p:nvPr/>
          </p:nvSpPr>
          <p:spPr bwMode="auto">
            <a:xfrm>
              <a:off x="4593248" y="4467158"/>
              <a:ext cx="3859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H</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50" name="Rectangle 277">
              <a:extLst>
                <a:ext uri="{FF2B5EF4-FFF2-40B4-BE49-F238E27FC236}">
                  <a16:creationId xmlns:a16="http://schemas.microsoft.com/office/drawing/2014/main" id="{C8A67C13-3774-82F0-EE33-47A4C2ED313B}"/>
                </a:ext>
              </a:extLst>
            </p:cNvPr>
            <p:cNvSpPr>
              <a:spLocks noChangeArrowheads="1"/>
            </p:cNvSpPr>
            <p:nvPr/>
          </p:nvSpPr>
          <p:spPr bwMode="auto">
            <a:xfrm>
              <a:off x="4591891" y="4541950"/>
              <a:ext cx="4145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O</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51" name="Rectangle 278">
              <a:extLst>
                <a:ext uri="{FF2B5EF4-FFF2-40B4-BE49-F238E27FC236}">
                  <a16:creationId xmlns:a16="http://schemas.microsoft.com/office/drawing/2014/main" id="{E18F720A-903C-9D6E-48F5-AE55252736FD}"/>
                </a:ext>
              </a:extLst>
            </p:cNvPr>
            <p:cNvSpPr>
              <a:spLocks noChangeArrowheads="1"/>
            </p:cNvSpPr>
            <p:nvPr/>
          </p:nvSpPr>
          <p:spPr bwMode="auto">
            <a:xfrm>
              <a:off x="4593248" y="4622513"/>
              <a:ext cx="357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A</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grpSp>
          <p:nvGrpSpPr>
            <p:cNvPr id="252" name="Group 251">
              <a:extLst>
                <a:ext uri="{FF2B5EF4-FFF2-40B4-BE49-F238E27FC236}">
                  <a16:creationId xmlns:a16="http://schemas.microsoft.com/office/drawing/2014/main" id="{0F90EBFC-738C-B8D3-0223-D6BA7183007E}"/>
                </a:ext>
              </a:extLst>
            </p:cNvPr>
            <p:cNvGrpSpPr/>
            <p:nvPr/>
          </p:nvGrpSpPr>
          <p:grpSpPr>
            <a:xfrm>
              <a:off x="2123501" y="4036936"/>
              <a:ext cx="1815209" cy="1780702"/>
              <a:chOff x="3756078" y="3915983"/>
              <a:chExt cx="2262015" cy="2219012"/>
            </a:xfrm>
            <a:solidFill>
              <a:schemeClr val="bg1">
                <a:lumMod val="85000"/>
              </a:schemeClr>
            </a:solidFill>
          </p:grpSpPr>
          <p:grpSp>
            <p:nvGrpSpPr>
              <p:cNvPr id="516" name="Group 515">
                <a:extLst>
                  <a:ext uri="{FF2B5EF4-FFF2-40B4-BE49-F238E27FC236}">
                    <a16:creationId xmlns:a16="http://schemas.microsoft.com/office/drawing/2014/main" id="{8D91B8D7-1E81-664A-52A6-89E7B15E37D2}"/>
                  </a:ext>
                </a:extLst>
              </p:cNvPr>
              <p:cNvGrpSpPr/>
              <p:nvPr/>
            </p:nvGrpSpPr>
            <p:grpSpPr>
              <a:xfrm>
                <a:off x="3756078" y="3915983"/>
                <a:ext cx="2262015" cy="2219012"/>
                <a:chOff x="3756078" y="3915983"/>
                <a:chExt cx="2262015" cy="2219012"/>
              </a:xfrm>
              <a:grpFill/>
            </p:grpSpPr>
            <p:grpSp>
              <p:nvGrpSpPr>
                <p:cNvPr id="518" name="Group 96">
                  <a:extLst>
                    <a:ext uri="{FF2B5EF4-FFF2-40B4-BE49-F238E27FC236}">
                      <a16:creationId xmlns:a16="http://schemas.microsoft.com/office/drawing/2014/main" id="{16966CF0-96AD-FE8E-3BC2-E07ADAD5E8B1}"/>
                    </a:ext>
                  </a:extLst>
                </p:cNvPr>
                <p:cNvGrpSpPr>
                  <a:grpSpLocks/>
                </p:cNvGrpSpPr>
                <p:nvPr/>
              </p:nvGrpSpPr>
              <p:grpSpPr bwMode="auto">
                <a:xfrm>
                  <a:off x="3882223" y="3915983"/>
                  <a:ext cx="616393" cy="739671"/>
                  <a:chOff x="1529" y="2285"/>
                  <a:chExt cx="430" cy="516"/>
                </a:xfrm>
                <a:grpFill/>
              </p:grpSpPr>
              <p:sp>
                <p:nvSpPr>
                  <p:cNvPr id="556" name="Freeform 97">
                    <a:extLst>
                      <a:ext uri="{FF2B5EF4-FFF2-40B4-BE49-F238E27FC236}">
                        <a16:creationId xmlns:a16="http://schemas.microsoft.com/office/drawing/2014/main" id="{FC2EE0D1-EE18-AF53-D7F6-4691CE241795}"/>
                      </a:ext>
                    </a:extLst>
                  </p:cNvPr>
                  <p:cNvSpPr>
                    <a:spLocks/>
                  </p:cNvSpPr>
                  <p:nvPr/>
                </p:nvSpPr>
                <p:spPr bwMode="auto">
                  <a:xfrm>
                    <a:off x="1529" y="2285"/>
                    <a:ext cx="430" cy="516"/>
                  </a:xfrm>
                  <a:custGeom>
                    <a:avLst/>
                    <a:gdLst/>
                    <a:ahLst/>
                    <a:cxnLst>
                      <a:cxn ang="0">
                        <a:pos x="28" y="82"/>
                      </a:cxn>
                      <a:cxn ang="0">
                        <a:pos x="28" y="434"/>
                      </a:cxn>
                      <a:cxn ang="0">
                        <a:pos x="0" y="516"/>
                      </a:cxn>
                      <a:cxn ang="0">
                        <a:pos x="143" y="516"/>
                      </a:cxn>
                      <a:cxn ang="0">
                        <a:pos x="172" y="461"/>
                      </a:cxn>
                      <a:cxn ang="0">
                        <a:pos x="345" y="461"/>
                      </a:cxn>
                      <a:cxn ang="0">
                        <a:pos x="345" y="407"/>
                      </a:cxn>
                      <a:cxn ang="0">
                        <a:pos x="402" y="407"/>
                      </a:cxn>
                      <a:cxn ang="0">
                        <a:pos x="402" y="354"/>
                      </a:cxn>
                      <a:cxn ang="0">
                        <a:pos x="430" y="299"/>
                      </a:cxn>
                      <a:cxn ang="0">
                        <a:pos x="430" y="218"/>
                      </a:cxn>
                      <a:cxn ang="0">
                        <a:pos x="402" y="164"/>
                      </a:cxn>
                      <a:cxn ang="0">
                        <a:pos x="402" y="136"/>
                      </a:cxn>
                      <a:cxn ang="0">
                        <a:pos x="345" y="136"/>
                      </a:cxn>
                      <a:cxn ang="0">
                        <a:pos x="345" y="109"/>
                      </a:cxn>
                      <a:cxn ang="0">
                        <a:pos x="287" y="55"/>
                      </a:cxn>
                      <a:cxn ang="0">
                        <a:pos x="287" y="28"/>
                      </a:cxn>
                      <a:cxn ang="0">
                        <a:pos x="201" y="0"/>
                      </a:cxn>
                      <a:cxn ang="0">
                        <a:pos x="86" y="82"/>
                      </a:cxn>
                      <a:cxn ang="0">
                        <a:pos x="28" y="82"/>
                      </a:cxn>
                    </a:cxnLst>
                    <a:rect l="0" t="0" r="r" b="b"/>
                    <a:pathLst>
                      <a:path w="430" h="516">
                        <a:moveTo>
                          <a:pt x="28" y="82"/>
                        </a:moveTo>
                        <a:lnTo>
                          <a:pt x="28" y="434"/>
                        </a:lnTo>
                        <a:lnTo>
                          <a:pt x="0" y="516"/>
                        </a:lnTo>
                        <a:lnTo>
                          <a:pt x="143" y="516"/>
                        </a:lnTo>
                        <a:lnTo>
                          <a:pt x="172" y="461"/>
                        </a:lnTo>
                        <a:lnTo>
                          <a:pt x="345" y="461"/>
                        </a:lnTo>
                        <a:lnTo>
                          <a:pt x="345" y="407"/>
                        </a:lnTo>
                        <a:lnTo>
                          <a:pt x="402" y="407"/>
                        </a:lnTo>
                        <a:lnTo>
                          <a:pt x="402" y="354"/>
                        </a:lnTo>
                        <a:lnTo>
                          <a:pt x="430" y="299"/>
                        </a:lnTo>
                        <a:lnTo>
                          <a:pt x="430" y="218"/>
                        </a:lnTo>
                        <a:lnTo>
                          <a:pt x="402" y="164"/>
                        </a:lnTo>
                        <a:lnTo>
                          <a:pt x="402" y="136"/>
                        </a:lnTo>
                        <a:lnTo>
                          <a:pt x="345" y="136"/>
                        </a:lnTo>
                        <a:lnTo>
                          <a:pt x="345" y="109"/>
                        </a:lnTo>
                        <a:lnTo>
                          <a:pt x="287" y="55"/>
                        </a:lnTo>
                        <a:lnTo>
                          <a:pt x="287" y="28"/>
                        </a:lnTo>
                        <a:lnTo>
                          <a:pt x="201" y="0"/>
                        </a:lnTo>
                        <a:lnTo>
                          <a:pt x="86" y="82"/>
                        </a:lnTo>
                        <a:lnTo>
                          <a:pt x="28" y="8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57" name="Freeform 98">
                    <a:extLst>
                      <a:ext uri="{FF2B5EF4-FFF2-40B4-BE49-F238E27FC236}">
                        <a16:creationId xmlns:a16="http://schemas.microsoft.com/office/drawing/2014/main" id="{B662FE54-FD75-D640-11FD-A66C1FE6B9EA}"/>
                      </a:ext>
                    </a:extLst>
                  </p:cNvPr>
                  <p:cNvSpPr>
                    <a:spLocks/>
                  </p:cNvSpPr>
                  <p:nvPr/>
                </p:nvSpPr>
                <p:spPr bwMode="auto">
                  <a:xfrm>
                    <a:off x="1529" y="2285"/>
                    <a:ext cx="430" cy="516"/>
                  </a:xfrm>
                  <a:custGeom>
                    <a:avLst/>
                    <a:gdLst/>
                    <a:ahLst/>
                    <a:cxnLst>
                      <a:cxn ang="0">
                        <a:pos x="28" y="82"/>
                      </a:cxn>
                      <a:cxn ang="0">
                        <a:pos x="28" y="434"/>
                      </a:cxn>
                      <a:cxn ang="0">
                        <a:pos x="0" y="516"/>
                      </a:cxn>
                      <a:cxn ang="0">
                        <a:pos x="143" y="516"/>
                      </a:cxn>
                      <a:cxn ang="0">
                        <a:pos x="172" y="461"/>
                      </a:cxn>
                      <a:cxn ang="0">
                        <a:pos x="345" y="461"/>
                      </a:cxn>
                      <a:cxn ang="0">
                        <a:pos x="345" y="407"/>
                      </a:cxn>
                      <a:cxn ang="0">
                        <a:pos x="402" y="407"/>
                      </a:cxn>
                      <a:cxn ang="0">
                        <a:pos x="402" y="354"/>
                      </a:cxn>
                      <a:cxn ang="0">
                        <a:pos x="430" y="299"/>
                      </a:cxn>
                      <a:cxn ang="0">
                        <a:pos x="430" y="218"/>
                      </a:cxn>
                      <a:cxn ang="0">
                        <a:pos x="402" y="164"/>
                      </a:cxn>
                      <a:cxn ang="0">
                        <a:pos x="402" y="136"/>
                      </a:cxn>
                      <a:cxn ang="0">
                        <a:pos x="345" y="136"/>
                      </a:cxn>
                      <a:cxn ang="0">
                        <a:pos x="345" y="109"/>
                      </a:cxn>
                      <a:cxn ang="0">
                        <a:pos x="287" y="55"/>
                      </a:cxn>
                      <a:cxn ang="0">
                        <a:pos x="287" y="28"/>
                      </a:cxn>
                      <a:cxn ang="0">
                        <a:pos x="201" y="0"/>
                      </a:cxn>
                      <a:cxn ang="0">
                        <a:pos x="86" y="82"/>
                      </a:cxn>
                      <a:cxn ang="0">
                        <a:pos x="28" y="82"/>
                      </a:cxn>
                    </a:cxnLst>
                    <a:rect l="0" t="0" r="r" b="b"/>
                    <a:pathLst>
                      <a:path w="430" h="516">
                        <a:moveTo>
                          <a:pt x="28" y="82"/>
                        </a:moveTo>
                        <a:lnTo>
                          <a:pt x="28" y="434"/>
                        </a:lnTo>
                        <a:lnTo>
                          <a:pt x="0" y="516"/>
                        </a:lnTo>
                        <a:lnTo>
                          <a:pt x="143" y="516"/>
                        </a:lnTo>
                        <a:lnTo>
                          <a:pt x="172" y="461"/>
                        </a:lnTo>
                        <a:lnTo>
                          <a:pt x="345" y="461"/>
                        </a:lnTo>
                        <a:lnTo>
                          <a:pt x="345" y="407"/>
                        </a:lnTo>
                        <a:lnTo>
                          <a:pt x="402" y="407"/>
                        </a:lnTo>
                        <a:lnTo>
                          <a:pt x="402" y="354"/>
                        </a:lnTo>
                        <a:lnTo>
                          <a:pt x="430" y="299"/>
                        </a:lnTo>
                        <a:lnTo>
                          <a:pt x="430" y="218"/>
                        </a:lnTo>
                        <a:lnTo>
                          <a:pt x="402" y="164"/>
                        </a:lnTo>
                        <a:lnTo>
                          <a:pt x="402" y="136"/>
                        </a:lnTo>
                        <a:lnTo>
                          <a:pt x="345" y="136"/>
                        </a:lnTo>
                        <a:lnTo>
                          <a:pt x="345" y="109"/>
                        </a:lnTo>
                        <a:lnTo>
                          <a:pt x="287" y="55"/>
                        </a:lnTo>
                        <a:lnTo>
                          <a:pt x="287" y="28"/>
                        </a:lnTo>
                        <a:lnTo>
                          <a:pt x="201" y="0"/>
                        </a:lnTo>
                        <a:lnTo>
                          <a:pt x="86" y="82"/>
                        </a:lnTo>
                        <a:lnTo>
                          <a:pt x="28" y="82"/>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519" name="Group 126">
                  <a:extLst>
                    <a:ext uri="{FF2B5EF4-FFF2-40B4-BE49-F238E27FC236}">
                      <a16:creationId xmlns:a16="http://schemas.microsoft.com/office/drawing/2014/main" id="{B7E53CE4-30AB-8061-91B9-2DDD6FB1C23E}"/>
                    </a:ext>
                  </a:extLst>
                </p:cNvPr>
                <p:cNvGrpSpPr>
                  <a:grpSpLocks/>
                </p:cNvGrpSpPr>
                <p:nvPr/>
              </p:nvGrpSpPr>
              <p:grpSpPr bwMode="auto">
                <a:xfrm>
                  <a:off x="3882223" y="4655654"/>
                  <a:ext cx="655096" cy="623560"/>
                  <a:chOff x="1529" y="2801"/>
                  <a:chExt cx="457" cy="435"/>
                </a:xfrm>
                <a:grpFill/>
              </p:grpSpPr>
              <p:sp>
                <p:nvSpPr>
                  <p:cNvPr id="554" name="Freeform 127">
                    <a:extLst>
                      <a:ext uri="{FF2B5EF4-FFF2-40B4-BE49-F238E27FC236}">
                        <a16:creationId xmlns:a16="http://schemas.microsoft.com/office/drawing/2014/main" id="{532A8B0A-006A-4C76-E5EF-332BC3D123C1}"/>
                      </a:ext>
                    </a:extLst>
                  </p:cNvPr>
                  <p:cNvSpPr>
                    <a:spLocks/>
                  </p:cNvSpPr>
                  <p:nvPr/>
                </p:nvSpPr>
                <p:spPr bwMode="auto">
                  <a:xfrm>
                    <a:off x="1529" y="2801"/>
                    <a:ext cx="457" cy="435"/>
                  </a:xfrm>
                  <a:custGeom>
                    <a:avLst/>
                    <a:gdLst/>
                    <a:ahLst/>
                    <a:cxnLst>
                      <a:cxn ang="0">
                        <a:pos x="0" y="0"/>
                      </a:cxn>
                      <a:cxn ang="0">
                        <a:pos x="28" y="54"/>
                      </a:cxn>
                      <a:cxn ang="0">
                        <a:pos x="0" y="109"/>
                      </a:cxn>
                      <a:cxn ang="0">
                        <a:pos x="0" y="272"/>
                      </a:cxn>
                      <a:cxn ang="0">
                        <a:pos x="57" y="299"/>
                      </a:cxn>
                      <a:cxn ang="0">
                        <a:pos x="28" y="408"/>
                      </a:cxn>
                      <a:cxn ang="0">
                        <a:pos x="86" y="380"/>
                      </a:cxn>
                      <a:cxn ang="0">
                        <a:pos x="229" y="435"/>
                      </a:cxn>
                      <a:cxn ang="0">
                        <a:pos x="343" y="353"/>
                      </a:cxn>
                      <a:cxn ang="0">
                        <a:pos x="457" y="190"/>
                      </a:cxn>
                      <a:cxn ang="0">
                        <a:pos x="428" y="136"/>
                      </a:cxn>
                      <a:cxn ang="0">
                        <a:pos x="428" y="54"/>
                      </a:cxn>
                      <a:cxn ang="0">
                        <a:pos x="372" y="54"/>
                      </a:cxn>
                      <a:cxn ang="0">
                        <a:pos x="372" y="0"/>
                      </a:cxn>
                      <a:cxn ang="0">
                        <a:pos x="0" y="0"/>
                      </a:cxn>
                    </a:cxnLst>
                    <a:rect l="0" t="0" r="r" b="b"/>
                    <a:pathLst>
                      <a:path w="457" h="435">
                        <a:moveTo>
                          <a:pt x="0" y="0"/>
                        </a:moveTo>
                        <a:lnTo>
                          <a:pt x="28" y="54"/>
                        </a:lnTo>
                        <a:lnTo>
                          <a:pt x="0" y="109"/>
                        </a:lnTo>
                        <a:lnTo>
                          <a:pt x="0" y="272"/>
                        </a:lnTo>
                        <a:lnTo>
                          <a:pt x="57" y="299"/>
                        </a:lnTo>
                        <a:lnTo>
                          <a:pt x="28" y="408"/>
                        </a:lnTo>
                        <a:lnTo>
                          <a:pt x="86" y="380"/>
                        </a:lnTo>
                        <a:lnTo>
                          <a:pt x="229" y="435"/>
                        </a:lnTo>
                        <a:lnTo>
                          <a:pt x="343" y="353"/>
                        </a:lnTo>
                        <a:lnTo>
                          <a:pt x="457" y="190"/>
                        </a:lnTo>
                        <a:lnTo>
                          <a:pt x="428" y="136"/>
                        </a:lnTo>
                        <a:lnTo>
                          <a:pt x="428" y="54"/>
                        </a:lnTo>
                        <a:lnTo>
                          <a:pt x="372" y="54"/>
                        </a:lnTo>
                        <a:lnTo>
                          <a:pt x="372"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55" name="Freeform 128">
                    <a:extLst>
                      <a:ext uri="{FF2B5EF4-FFF2-40B4-BE49-F238E27FC236}">
                        <a16:creationId xmlns:a16="http://schemas.microsoft.com/office/drawing/2014/main" id="{8BB6C5F1-505C-A843-C25F-9C1F64B4E757}"/>
                      </a:ext>
                    </a:extLst>
                  </p:cNvPr>
                  <p:cNvSpPr>
                    <a:spLocks/>
                  </p:cNvSpPr>
                  <p:nvPr/>
                </p:nvSpPr>
                <p:spPr bwMode="auto">
                  <a:xfrm>
                    <a:off x="1529" y="2801"/>
                    <a:ext cx="457" cy="435"/>
                  </a:xfrm>
                  <a:custGeom>
                    <a:avLst/>
                    <a:gdLst/>
                    <a:ahLst/>
                    <a:cxnLst>
                      <a:cxn ang="0">
                        <a:pos x="0" y="0"/>
                      </a:cxn>
                      <a:cxn ang="0">
                        <a:pos x="28" y="54"/>
                      </a:cxn>
                      <a:cxn ang="0">
                        <a:pos x="0" y="109"/>
                      </a:cxn>
                      <a:cxn ang="0">
                        <a:pos x="0" y="272"/>
                      </a:cxn>
                      <a:cxn ang="0">
                        <a:pos x="57" y="299"/>
                      </a:cxn>
                      <a:cxn ang="0">
                        <a:pos x="28" y="408"/>
                      </a:cxn>
                      <a:cxn ang="0">
                        <a:pos x="86" y="380"/>
                      </a:cxn>
                      <a:cxn ang="0">
                        <a:pos x="229" y="435"/>
                      </a:cxn>
                      <a:cxn ang="0">
                        <a:pos x="343" y="353"/>
                      </a:cxn>
                      <a:cxn ang="0">
                        <a:pos x="457" y="190"/>
                      </a:cxn>
                      <a:cxn ang="0">
                        <a:pos x="428" y="136"/>
                      </a:cxn>
                      <a:cxn ang="0">
                        <a:pos x="428" y="54"/>
                      </a:cxn>
                      <a:cxn ang="0">
                        <a:pos x="372" y="54"/>
                      </a:cxn>
                      <a:cxn ang="0">
                        <a:pos x="372" y="0"/>
                      </a:cxn>
                      <a:cxn ang="0">
                        <a:pos x="0" y="0"/>
                      </a:cxn>
                    </a:cxnLst>
                    <a:rect l="0" t="0" r="r" b="b"/>
                    <a:pathLst>
                      <a:path w="457" h="435">
                        <a:moveTo>
                          <a:pt x="0" y="0"/>
                        </a:moveTo>
                        <a:lnTo>
                          <a:pt x="28" y="54"/>
                        </a:lnTo>
                        <a:lnTo>
                          <a:pt x="0" y="109"/>
                        </a:lnTo>
                        <a:lnTo>
                          <a:pt x="0" y="272"/>
                        </a:lnTo>
                        <a:lnTo>
                          <a:pt x="57" y="299"/>
                        </a:lnTo>
                        <a:lnTo>
                          <a:pt x="28" y="408"/>
                        </a:lnTo>
                        <a:lnTo>
                          <a:pt x="86" y="380"/>
                        </a:lnTo>
                        <a:lnTo>
                          <a:pt x="229" y="435"/>
                        </a:lnTo>
                        <a:lnTo>
                          <a:pt x="343" y="353"/>
                        </a:lnTo>
                        <a:lnTo>
                          <a:pt x="457" y="190"/>
                        </a:lnTo>
                        <a:lnTo>
                          <a:pt x="428" y="136"/>
                        </a:lnTo>
                        <a:lnTo>
                          <a:pt x="428" y="54"/>
                        </a:lnTo>
                        <a:lnTo>
                          <a:pt x="372" y="54"/>
                        </a:lnTo>
                        <a:lnTo>
                          <a:pt x="372" y="0"/>
                        </a:lnTo>
                        <a:lnTo>
                          <a:pt x="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520" name="Freeform 131">
                  <a:extLst>
                    <a:ext uri="{FF2B5EF4-FFF2-40B4-BE49-F238E27FC236}">
                      <a16:creationId xmlns:a16="http://schemas.microsoft.com/office/drawing/2014/main" id="{D412D208-8143-41BF-CCF7-A5C584CED9E4}"/>
                    </a:ext>
                  </a:extLst>
                </p:cNvPr>
                <p:cNvSpPr>
                  <a:spLocks/>
                </p:cNvSpPr>
                <p:nvPr/>
              </p:nvSpPr>
              <p:spPr bwMode="auto">
                <a:xfrm>
                  <a:off x="4373903" y="4771764"/>
                  <a:ext cx="494548" cy="507449"/>
                </a:xfrm>
                <a:custGeom>
                  <a:avLst/>
                  <a:gdLst/>
                  <a:ahLst/>
                  <a:cxnLst>
                    <a:cxn ang="0">
                      <a:pos x="114" y="109"/>
                    </a:cxn>
                    <a:cxn ang="0">
                      <a:pos x="0" y="272"/>
                    </a:cxn>
                    <a:cxn ang="0">
                      <a:pos x="172" y="272"/>
                    </a:cxn>
                    <a:cxn ang="0">
                      <a:pos x="201" y="326"/>
                    </a:cxn>
                    <a:cxn ang="0">
                      <a:pos x="287" y="354"/>
                    </a:cxn>
                    <a:cxn ang="0">
                      <a:pos x="316" y="326"/>
                    </a:cxn>
                    <a:cxn ang="0">
                      <a:pos x="345" y="245"/>
                    </a:cxn>
                    <a:cxn ang="0">
                      <a:pos x="258" y="217"/>
                    </a:cxn>
                    <a:cxn ang="0">
                      <a:pos x="287" y="54"/>
                    </a:cxn>
                    <a:cxn ang="0">
                      <a:pos x="258" y="27"/>
                    </a:cxn>
                    <a:cxn ang="0">
                      <a:pos x="201" y="0"/>
                    </a:cxn>
                    <a:cxn ang="0">
                      <a:pos x="114" y="109"/>
                    </a:cxn>
                  </a:cxnLst>
                  <a:rect l="0" t="0" r="r" b="b"/>
                  <a:pathLst>
                    <a:path w="345" h="354">
                      <a:moveTo>
                        <a:pt x="114" y="109"/>
                      </a:moveTo>
                      <a:lnTo>
                        <a:pt x="0" y="272"/>
                      </a:lnTo>
                      <a:lnTo>
                        <a:pt x="172" y="272"/>
                      </a:lnTo>
                      <a:lnTo>
                        <a:pt x="201" y="326"/>
                      </a:lnTo>
                      <a:lnTo>
                        <a:pt x="287" y="354"/>
                      </a:lnTo>
                      <a:lnTo>
                        <a:pt x="316" y="326"/>
                      </a:lnTo>
                      <a:lnTo>
                        <a:pt x="345" y="245"/>
                      </a:lnTo>
                      <a:lnTo>
                        <a:pt x="258" y="217"/>
                      </a:lnTo>
                      <a:lnTo>
                        <a:pt x="287" y="54"/>
                      </a:lnTo>
                      <a:lnTo>
                        <a:pt x="258" y="27"/>
                      </a:lnTo>
                      <a:lnTo>
                        <a:pt x="201" y="0"/>
                      </a:lnTo>
                      <a:lnTo>
                        <a:pt x="114" y="109"/>
                      </a:lnTo>
                    </a:path>
                  </a:pathLst>
                </a:custGeom>
                <a:solidFill>
                  <a:srgbClr val="002060"/>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521" name="Freeform 158">
                  <a:extLst>
                    <a:ext uri="{FF2B5EF4-FFF2-40B4-BE49-F238E27FC236}">
                      <a16:creationId xmlns:a16="http://schemas.microsoft.com/office/drawing/2014/main" id="{7DE09126-8815-53BB-C1C6-41EB118A4BED}"/>
                    </a:ext>
                  </a:extLst>
                </p:cNvPr>
                <p:cNvSpPr>
                  <a:spLocks/>
                </p:cNvSpPr>
                <p:nvPr/>
              </p:nvSpPr>
              <p:spPr bwMode="auto">
                <a:xfrm>
                  <a:off x="3756078" y="5161668"/>
                  <a:ext cx="1027798" cy="893053"/>
                </a:xfrm>
                <a:custGeom>
                  <a:avLst/>
                  <a:gdLst/>
                  <a:ahLst/>
                  <a:cxnLst>
                    <a:cxn ang="0">
                      <a:pos x="0" y="109"/>
                    </a:cxn>
                    <a:cxn ang="0">
                      <a:pos x="115" y="109"/>
                    </a:cxn>
                    <a:cxn ang="0">
                      <a:pos x="115" y="569"/>
                    </a:cxn>
                    <a:cxn ang="0">
                      <a:pos x="431" y="623"/>
                    </a:cxn>
                    <a:cxn ang="0">
                      <a:pos x="545" y="569"/>
                    </a:cxn>
                    <a:cxn ang="0">
                      <a:pos x="660" y="569"/>
                    </a:cxn>
                    <a:cxn ang="0">
                      <a:pos x="689" y="515"/>
                    </a:cxn>
                    <a:cxn ang="0">
                      <a:pos x="602" y="515"/>
                    </a:cxn>
                    <a:cxn ang="0">
                      <a:pos x="488" y="406"/>
                    </a:cxn>
                    <a:cxn ang="0">
                      <a:pos x="717" y="352"/>
                    </a:cxn>
                    <a:cxn ang="0">
                      <a:pos x="717" y="298"/>
                    </a:cxn>
                    <a:cxn ang="0">
                      <a:pos x="689" y="136"/>
                    </a:cxn>
                    <a:cxn ang="0">
                      <a:pos x="717" y="82"/>
                    </a:cxn>
                    <a:cxn ang="0">
                      <a:pos x="631" y="54"/>
                    </a:cxn>
                    <a:cxn ang="0">
                      <a:pos x="602" y="0"/>
                    </a:cxn>
                    <a:cxn ang="0">
                      <a:pos x="431" y="0"/>
                    </a:cxn>
                    <a:cxn ang="0">
                      <a:pos x="316" y="82"/>
                    </a:cxn>
                    <a:cxn ang="0">
                      <a:pos x="172" y="27"/>
                    </a:cxn>
                    <a:cxn ang="0">
                      <a:pos x="115" y="54"/>
                    </a:cxn>
                    <a:cxn ang="0">
                      <a:pos x="0" y="109"/>
                    </a:cxn>
                  </a:cxnLst>
                  <a:rect l="0" t="0" r="r" b="b"/>
                  <a:pathLst>
                    <a:path w="717" h="623">
                      <a:moveTo>
                        <a:pt x="0" y="109"/>
                      </a:moveTo>
                      <a:lnTo>
                        <a:pt x="115" y="109"/>
                      </a:lnTo>
                      <a:lnTo>
                        <a:pt x="115" y="569"/>
                      </a:lnTo>
                      <a:lnTo>
                        <a:pt x="431" y="623"/>
                      </a:lnTo>
                      <a:lnTo>
                        <a:pt x="545" y="569"/>
                      </a:lnTo>
                      <a:lnTo>
                        <a:pt x="660" y="569"/>
                      </a:lnTo>
                      <a:lnTo>
                        <a:pt x="689" y="515"/>
                      </a:lnTo>
                      <a:lnTo>
                        <a:pt x="602" y="515"/>
                      </a:lnTo>
                      <a:lnTo>
                        <a:pt x="488" y="406"/>
                      </a:lnTo>
                      <a:lnTo>
                        <a:pt x="717" y="352"/>
                      </a:lnTo>
                      <a:lnTo>
                        <a:pt x="717" y="298"/>
                      </a:lnTo>
                      <a:lnTo>
                        <a:pt x="689" y="136"/>
                      </a:lnTo>
                      <a:lnTo>
                        <a:pt x="717" y="82"/>
                      </a:lnTo>
                      <a:lnTo>
                        <a:pt x="631" y="54"/>
                      </a:lnTo>
                      <a:lnTo>
                        <a:pt x="602" y="0"/>
                      </a:lnTo>
                      <a:lnTo>
                        <a:pt x="431" y="0"/>
                      </a:lnTo>
                      <a:lnTo>
                        <a:pt x="316" y="82"/>
                      </a:lnTo>
                      <a:lnTo>
                        <a:pt x="172" y="27"/>
                      </a:lnTo>
                      <a:lnTo>
                        <a:pt x="115" y="54"/>
                      </a:lnTo>
                      <a:lnTo>
                        <a:pt x="0" y="109"/>
                      </a:lnTo>
                    </a:path>
                  </a:pathLst>
                </a:custGeom>
                <a:solidFill>
                  <a:schemeClr val="bg1">
                    <a:lumMod val="85000"/>
                  </a:schemeClr>
                </a:solidFill>
                <a:ln w="6350" cap="rnd">
                  <a:no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22" name="Freeform 161">
                  <a:extLst>
                    <a:ext uri="{FF2B5EF4-FFF2-40B4-BE49-F238E27FC236}">
                      <a16:creationId xmlns:a16="http://schemas.microsoft.com/office/drawing/2014/main" id="{6239BF55-33FC-3BDC-F759-0B69892992C1}"/>
                    </a:ext>
                  </a:extLst>
                </p:cNvPr>
                <p:cNvSpPr>
                  <a:spLocks/>
                </p:cNvSpPr>
                <p:nvPr/>
              </p:nvSpPr>
              <p:spPr bwMode="auto">
                <a:xfrm>
                  <a:off x="4742305" y="5198938"/>
                  <a:ext cx="1072236" cy="544719"/>
                </a:xfrm>
                <a:custGeom>
                  <a:avLst/>
                  <a:gdLst/>
                  <a:ahLst/>
                  <a:cxnLst>
                    <a:cxn ang="0">
                      <a:pos x="58" y="28"/>
                    </a:cxn>
                    <a:cxn ang="0">
                      <a:pos x="29" y="55"/>
                    </a:cxn>
                    <a:cxn ang="0">
                      <a:pos x="0" y="109"/>
                    </a:cxn>
                    <a:cxn ang="0">
                      <a:pos x="29" y="271"/>
                    </a:cxn>
                    <a:cxn ang="0">
                      <a:pos x="173" y="271"/>
                    </a:cxn>
                    <a:cxn ang="0">
                      <a:pos x="115" y="380"/>
                    </a:cxn>
                    <a:cxn ang="0">
                      <a:pos x="288" y="271"/>
                    </a:cxn>
                    <a:cxn ang="0">
                      <a:pos x="346" y="164"/>
                    </a:cxn>
                    <a:cxn ang="0">
                      <a:pos x="490" y="137"/>
                    </a:cxn>
                    <a:cxn ang="0">
                      <a:pos x="690" y="137"/>
                    </a:cxn>
                    <a:cxn ang="0">
                      <a:pos x="748" y="55"/>
                    </a:cxn>
                    <a:cxn ang="0">
                      <a:pos x="690" y="28"/>
                    </a:cxn>
                    <a:cxn ang="0">
                      <a:pos x="490" y="28"/>
                    </a:cxn>
                    <a:cxn ang="0">
                      <a:pos x="461" y="82"/>
                    </a:cxn>
                    <a:cxn ang="0">
                      <a:pos x="374" y="55"/>
                    </a:cxn>
                    <a:cxn ang="0">
                      <a:pos x="317" y="0"/>
                    </a:cxn>
                    <a:cxn ang="0">
                      <a:pos x="230" y="0"/>
                    </a:cxn>
                    <a:cxn ang="0">
                      <a:pos x="173" y="55"/>
                    </a:cxn>
                    <a:cxn ang="0">
                      <a:pos x="58" y="28"/>
                    </a:cxn>
                  </a:cxnLst>
                  <a:rect l="0" t="0" r="r" b="b"/>
                  <a:pathLst>
                    <a:path w="748" h="380">
                      <a:moveTo>
                        <a:pt x="58" y="28"/>
                      </a:moveTo>
                      <a:lnTo>
                        <a:pt x="29" y="55"/>
                      </a:lnTo>
                      <a:lnTo>
                        <a:pt x="0" y="109"/>
                      </a:lnTo>
                      <a:lnTo>
                        <a:pt x="29" y="271"/>
                      </a:lnTo>
                      <a:lnTo>
                        <a:pt x="173" y="271"/>
                      </a:lnTo>
                      <a:lnTo>
                        <a:pt x="115" y="380"/>
                      </a:lnTo>
                      <a:lnTo>
                        <a:pt x="288" y="271"/>
                      </a:lnTo>
                      <a:lnTo>
                        <a:pt x="346" y="164"/>
                      </a:lnTo>
                      <a:lnTo>
                        <a:pt x="490" y="137"/>
                      </a:lnTo>
                      <a:lnTo>
                        <a:pt x="690" y="137"/>
                      </a:lnTo>
                      <a:lnTo>
                        <a:pt x="748" y="55"/>
                      </a:lnTo>
                      <a:lnTo>
                        <a:pt x="690" y="28"/>
                      </a:lnTo>
                      <a:lnTo>
                        <a:pt x="490" y="28"/>
                      </a:lnTo>
                      <a:lnTo>
                        <a:pt x="461" y="82"/>
                      </a:lnTo>
                      <a:lnTo>
                        <a:pt x="374" y="55"/>
                      </a:lnTo>
                      <a:lnTo>
                        <a:pt x="317" y="0"/>
                      </a:lnTo>
                      <a:lnTo>
                        <a:pt x="230" y="0"/>
                      </a:lnTo>
                      <a:lnTo>
                        <a:pt x="173" y="55"/>
                      </a:lnTo>
                      <a:lnTo>
                        <a:pt x="58" y="28"/>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23" name="Freeform 167">
                  <a:extLst>
                    <a:ext uri="{FF2B5EF4-FFF2-40B4-BE49-F238E27FC236}">
                      <a16:creationId xmlns:a16="http://schemas.microsoft.com/office/drawing/2014/main" id="{5008F234-A15D-11BB-DCD3-1BF0B2A8AF4D}"/>
                    </a:ext>
                  </a:extLst>
                </p:cNvPr>
                <p:cNvSpPr>
                  <a:spLocks/>
                </p:cNvSpPr>
                <p:nvPr/>
              </p:nvSpPr>
              <p:spPr bwMode="auto">
                <a:xfrm>
                  <a:off x="4742305" y="4616949"/>
                  <a:ext cx="865816" cy="700968"/>
                </a:xfrm>
                <a:custGeom>
                  <a:avLst/>
                  <a:gdLst/>
                  <a:ahLst/>
                  <a:cxnLst>
                    <a:cxn ang="0">
                      <a:pos x="0" y="136"/>
                    </a:cxn>
                    <a:cxn ang="0">
                      <a:pos x="29" y="163"/>
                    </a:cxn>
                    <a:cxn ang="0">
                      <a:pos x="0" y="326"/>
                    </a:cxn>
                    <a:cxn ang="0">
                      <a:pos x="86" y="353"/>
                    </a:cxn>
                    <a:cxn ang="0">
                      <a:pos x="58" y="435"/>
                    </a:cxn>
                    <a:cxn ang="0">
                      <a:pos x="172" y="462"/>
                    </a:cxn>
                    <a:cxn ang="0">
                      <a:pos x="230" y="407"/>
                    </a:cxn>
                    <a:cxn ang="0">
                      <a:pos x="316" y="407"/>
                    </a:cxn>
                    <a:cxn ang="0">
                      <a:pos x="374" y="462"/>
                    </a:cxn>
                    <a:cxn ang="0">
                      <a:pos x="460" y="489"/>
                    </a:cxn>
                    <a:cxn ang="0">
                      <a:pos x="489" y="435"/>
                    </a:cxn>
                    <a:cxn ang="0">
                      <a:pos x="604" y="435"/>
                    </a:cxn>
                    <a:cxn ang="0">
                      <a:pos x="604" y="407"/>
                    </a:cxn>
                    <a:cxn ang="0">
                      <a:pos x="517" y="407"/>
                    </a:cxn>
                    <a:cxn ang="0">
                      <a:pos x="489" y="271"/>
                    </a:cxn>
                    <a:cxn ang="0">
                      <a:pos x="402" y="271"/>
                    </a:cxn>
                    <a:cxn ang="0">
                      <a:pos x="345" y="54"/>
                    </a:cxn>
                    <a:cxn ang="0">
                      <a:pos x="287" y="0"/>
                    </a:cxn>
                    <a:cxn ang="0">
                      <a:pos x="230" y="0"/>
                    </a:cxn>
                    <a:cxn ang="0">
                      <a:pos x="316" y="108"/>
                    </a:cxn>
                    <a:cxn ang="0">
                      <a:pos x="172" y="108"/>
                    </a:cxn>
                    <a:cxn ang="0">
                      <a:pos x="115" y="81"/>
                    </a:cxn>
                    <a:cxn ang="0">
                      <a:pos x="29" y="81"/>
                    </a:cxn>
                    <a:cxn ang="0">
                      <a:pos x="0" y="136"/>
                    </a:cxn>
                  </a:cxnLst>
                  <a:rect l="0" t="0" r="r" b="b"/>
                  <a:pathLst>
                    <a:path w="604" h="489">
                      <a:moveTo>
                        <a:pt x="0" y="136"/>
                      </a:moveTo>
                      <a:lnTo>
                        <a:pt x="29" y="163"/>
                      </a:lnTo>
                      <a:lnTo>
                        <a:pt x="0" y="326"/>
                      </a:lnTo>
                      <a:lnTo>
                        <a:pt x="86" y="353"/>
                      </a:lnTo>
                      <a:lnTo>
                        <a:pt x="58" y="435"/>
                      </a:lnTo>
                      <a:lnTo>
                        <a:pt x="172" y="462"/>
                      </a:lnTo>
                      <a:lnTo>
                        <a:pt x="230" y="407"/>
                      </a:lnTo>
                      <a:lnTo>
                        <a:pt x="316" y="407"/>
                      </a:lnTo>
                      <a:lnTo>
                        <a:pt x="374" y="462"/>
                      </a:lnTo>
                      <a:lnTo>
                        <a:pt x="460" y="489"/>
                      </a:lnTo>
                      <a:lnTo>
                        <a:pt x="489" y="435"/>
                      </a:lnTo>
                      <a:lnTo>
                        <a:pt x="604" y="435"/>
                      </a:lnTo>
                      <a:lnTo>
                        <a:pt x="604" y="407"/>
                      </a:lnTo>
                      <a:lnTo>
                        <a:pt x="517" y="407"/>
                      </a:lnTo>
                      <a:lnTo>
                        <a:pt x="489" y="271"/>
                      </a:lnTo>
                      <a:lnTo>
                        <a:pt x="402" y="271"/>
                      </a:lnTo>
                      <a:lnTo>
                        <a:pt x="345" y="54"/>
                      </a:lnTo>
                      <a:lnTo>
                        <a:pt x="287" y="0"/>
                      </a:lnTo>
                      <a:lnTo>
                        <a:pt x="230" y="0"/>
                      </a:lnTo>
                      <a:lnTo>
                        <a:pt x="316" y="108"/>
                      </a:lnTo>
                      <a:lnTo>
                        <a:pt x="172" y="108"/>
                      </a:lnTo>
                      <a:lnTo>
                        <a:pt x="115" y="81"/>
                      </a:lnTo>
                      <a:lnTo>
                        <a:pt x="29" y="81"/>
                      </a:lnTo>
                      <a:lnTo>
                        <a:pt x="0" y="136"/>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24" name="Freeform 173">
                  <a:extLst>
                    <a:ext uri="{FF2B5EF4-FFF2-40B4-BE49-F238E27FC236}">
                      <a16:creationId xmlns:a16="http://schemas.microsoft.com/office/drawing/2014/main" id="{55164972-D879-8F55-7688-0FAA07DDB299}"/>
                    </a:ext>
                  </a:extLst>
                </p:cNvPr>
                <p:cNvSpPr>
                  <a:spLocks/>
                </p:cNvSpPr>
                <p:nvPr/>
              </p:nvSpPr>
              <p:spPr bwMode="auto">
                <a:xfrm>
                  <a:off x="5443272" y="5395324"/>
                  <a:ext cx="536118" cy="348332"/>
                </a:xfrm>
                <a:custGeom>
                  <a:avLst/>
                  <a:gdLst/>
                  <a:ahLst/>
                  <a:cxnLst>
                    <a:cxn ang="0">
                      <a:pos x="0" y="0"/>
                    </a:cxn>
                    <a:cxn ang="0">
                      <a:pos x="115" y="108"/>
                    </a:cxn>
                    <a:cxn ang="0">
                      <a:pos x="115" y="216"/>
                    </a:cxn>
                    <a:cxn ang="0">
                      <a:pos x="374" y="243"/>
                    </a:cxn>
                    <a:cxn ang="0">
                      <a:pos x="374" y="135"/>
                    </a:cxn>
                    <a:cxn ang="0">
                      <a:pos x="287" y="108"/>
                    </a:cxn>
                    <a:cxn ang="0">
                      <a:pos x="200" y="0"/>
                    </a:cxn>
                    <a:cxn ang="0">
                      <a:pos x="29" y="0"/>
                    </a:cxn>
                    <a:cxn ang="0">
                      <a:pos x="0" y="0"/>
                    </a:cxn>
                  </a:cxnLst>
                  <a:rect l="0" t="0" r="r" b="b"/>
                  <a:pathLst>
                    <a:path w="374" h="243">
                      <a:moveTo>
                        <a:pt x="0" y="0"/>
                      </a:moveTo>
                      <a:lnTo>
                        <a:pt x="115" y="108"/>
                      </a:lnTo>
                      <a:lnTo>
                        <a:pt x="115" y="216"/>
                      </a:lnTo>
                      <a:lnTo>
                        <a:pt x="374" y="243"/>
                      </a:lnTo>
                      <a:lnTo>
                        <a:pt x="374" y="135"/>
                      </a:lnTo>
                      <a:lnTo>
                        <a:pt x="287" y="108"/>
                      </a:lnTo>
                      <a:lnTo>
                        <a:pt x="200" y="0"/>
                      </a:lnTo>
                      <a:lnTo>
                        <a:pt x="29"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25" name="Freeform 175">
                  <a:extLst>
                    <a:ext uri="{FF2B5EF4-FFF2-40B4-BE49-F238E27FC236}">
                      <a16:creationId xmlns:a16="http://schemas.microsoft.com/office/drawing/2014/main" id="{C3775DA1-0605-B022-BA8F-0ACC50F0F4F4}"/>
                    </a:ext>
                  </a:extLst>
                </p:cNvPr>
                <p:cNvSpPr>
                  <a:spLocks/>
                </p:cNvSpPr>
                <p:nvPr/>
              </p:nvSpPr>
              <p:spPr bwMode="auto">
                <a:xfrm>
                  <a:off x="4908587" y="5395324"/>
                  <a:ext cx="1109506" cy="739671"/>
                </a:xfrm>
                <a:custGeom>
                  <a:avLst/>
                  <a:gdLst/>
                  <a:ahLst/>
                  <a:cxnLst>
                    <a:cxn ang="0">
                      <a:pos x="230" y="28"/>
                    </a:cxn>
                    <a:cxn ang="0">
                      <a:pos x="172" y="135"/>
                    </a:cxn>
                    <a:cxn ang="0">
                      <a:pos x="0" y="244"/>
                    </a:cxn>
                    <a:cxn ang="0">
                      <a:pos x="258" y="244"/>
                    </a:cxn>
                    <a:cxn ang="0">
                      <a:pos x="230" y="353"/>
                    </a:cxn>
                    <a:cxn ang="0">
                      <a:pos x="316" y="353"/>
                    </a:cxn>
                    <a:cxn ang="0">
                      <a:pos x="344" y="461"/>
                    </a:cxn>
                    <a:cxn ang="0">
                      <a:pos x="459" y="434"/>
                    </a:cxn>
                    <a:cxn ang="0">
                      <a:pos x="573" y="516"/>
                    </a:cxn>
                    <a:cxn ang="0">
                      <a:pos x="659" y="353"/>
                    </a:cxn>
                    <a:cxn ang="0">
                      <a:pos x="774" y="326"/>
                    </a:cxn>
                    <a:cxn ang="0">
                      <a:pos x="745" y="244"/>
                    </a:cxn>
                    <a:cxn ang="0">
                      <a:pos x="488" y="217"/>
                    </a:cxn>
                    <a:cxn ang="0">
                      <a:pos x="488" y="108"/>
                    </a:cxn>
                    <a:cxn ang="0">
                      <a:pos x="373" y="0"/>
                    </a:cxn>
                    <a:cxn ang="0">
                      <a:pos x="230" y="28"/>
                    </a:cxn>
                  </a:cxnLst>
                  <a:rect l="0" t="0" r="r" b="b"/>
                  <a:pathLst>
                    <a:path w="774" h="516">
                      <a:moveTo>
                        <a:pt x="230" y="28"/>
                      </a:moveTo>
                      <a:lnTo>
                        <a:pt x="172" y="135"/>
                      </a:lnTo>
                      <a:lnTo>
                        <a:pt x="0" y="244"/>
                      </a:lnTo>
                      <a:lnTo>
                        <a:pt x="258" y="244"/>
                      </a:lnTo>
                      <a:lnTo>
                        <a:pt x="230" y="353"/>
                      </a:lnTo>
                      <a:lnTo>
                        <a:pt x="316" y="353"/>
                      </a:lnTo>
                      <a:lnTo>
                        <a:pt x="344" y="461"/>
                      </a:lnTo>
                      <a:lnTo>
                        <a:pt x="459" y="434"/>
                      </a:lnTo>
                      <a:lnTo>
                        <a:pt x="573" y="516"/>
                      </a:lnTo>
                      <a:lnTo>
                        <a:pt x="659" y="353"/>
                      </a:lnTo>
                      <a:lnTo>
                        <a:pt x="774" y="326"/>
                      </a:lnTo>
                      <a:lnTo>
                        <a:pt x="745" y="244"/>
                      </a:lnTo>
                      <a:lnTo>
                        <a:pt x="488" y="217"/>
                      </a:lnTo>
                      <a:lnTo>
                        <a:pt x="488" y="108"/>
                      </a:lnTo>
                      <a:lnTo>
                        <a:pt x="373" y="0"/>
                      </a:lnTo>
                      <a:lnTo>
                        <a:pt x="230" y="28"/>
                      </a:lnTo>
                      <a:close/>
                    </a:path>
                  </a:pathLst>
                </a:custGeom>
                <a:grpFill/>
                <a:ln w="6350">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26" name="Rectangle 259">
                  <a:extLst>
                    <a:ext uri="{FF2B5EF4-FFF2-40B4-BE49-F238E27FC236}">
                      <a16:creationId xmlns:a16="http://schemas.microsoft.com/office/drawing/2014/main" id="{FB3327B6-BD99-62FE-21E7-479A49E2CDBC}"/>
                    </a:ext>
                  </a:extLst>
                </p:cNvPr>
                <p:cNvSpPr>
                  <a:spLocks noChangeArrowheads="1"/>
                </p:cNvSpPr>
                <p:nvPr/>
              </p:nvSpPr>
              <p:spPr bwMode="auto">
                <a:xfrm>
                  <a:off x="3946728" y="4194076"/>
                  <a:ext cx="400751"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EVANGELIN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27" name="Rectangle 260">
                  <a:extLst>
                    <a:ext uri="{FF2B5EF4-FFF2-40B4-BE49-F238E27FC236}">
                      <a16:creationId xmlns:a16="http://schemas.microsoft.com/office/drawing/2014/main" id="{9B0A04DF-F582-D3F6-679D-74E3217DB384}"/>
                    </a:ext>
                  </a:extLst>
                </p:cNvPr>
                <p:cNvSpPr>
                  <a:spLocks noChangeArrowheads="1"/>
                </p:cNvSpPr>
                <p:nvPr/>
              </p:nvSpPr>
              <p:spPr bwMode="auto">
                <a:xfrm>
                  <a:off x="4581756" y="4330255"/>
                  <a:ext cx="187018"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SAIN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28" name="Rectangle 261">
                  <a:extLst>
                    <a:ext uri="{FF2B5EF4-FFF2-40B4-BE49-F238E27FC236}">
                      <a16:creationId xmlns:a16="http://schemas.microsoft.com/office/drawing/2014/main" id="{9E4B5B5F-34ED-CE9B-03F7-1D7FEEDBF0DE}"/>
                    </a:ext>
                  </a:extLst>
                </p:cNvPr>
                <p:cNvSpPr>
                  <a:spLocks noChangeArrowheads="1"/>
                </p:cNvSpPr>
                <p:nvPr/>
              </p:nvSpPr>
              <p:spPr bwMode="auto">
                <a:xfrm>
                  <a:off x="4560254" y="4413396"/>
                  <a:ext cx="252918"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LANDRY</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29" name="Rectangle 282">
                  <a:extLst>
                    <a:ext uri="{FF2B5EF4-FFF2-40B4-BE49-F238E27FC236}">
                      <a16:creationId xmlns:a16="http://schemas.microsoft.com/office/drawing/2014/main" id="{47B39695-4D8F-90C1-D4DB-20AB8A79AEAA}"/>
                    </a:ext>
                  </a:extLst>
                </p:cNvPr>
                <p:cNvSpPr>
                  <a:spLocks noChangeArrowheads="1"/>
                </p:cNvSpPr>
                <p:nvPr/>
              </p:nvSpPr>
              <p:spPr bwMode="auto">
                <a:xfrm>
                  <a:off x="4027003" y="4846305"/>
                  <a:ext cx="242231"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ACADI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30" name="Rectangle 285">
                  <a:extLst>
                    <a:ext uri="{FF2B5EF4-FFF2-40B4-BE49-F238E27FC236}">
                      <a16:creationId xmlns:a16="http://schemas.microsoft.com/office/drawing/2014/main" id="{2316CE34-5295-B385-5C52-982BB5F26D41}"/>
                    </a:ext>
                  </a:extLst>
                </p:cNvPr>
                <p:cNvSpPr>
                  <a:spLocks noChangeArrowheads="1"/>
                </p:cNvSpPr>
                <p:nvPr/>
              </p:nvSpPr>
              <p:spPr bwMode="auto">
                <a:xfrm>
                  <a:off x="4882204" y="5977313"/>
                  <a:ext cx="103304" cy="76944"/>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000000"/>
                      </a:solidFill>
                      <a:effectLst/>
                      <a:uLnTx/>
                      <a:uFillTx/>
                      <a:latin typeface="Calibri"/>
                      <a:ea typeface="+mn-ea"/>
                      <a:cs typeface="+mn-cs"/>
                    </a:rPr>
                    <a:t>VER</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31" name="Rectangle 286">
                  <a:extLst>
                    <a:ext uri="{FF2B5EF4-FFF2-40B4-BE49-F238E27FC236}">
                      <a16:creationId xmlns:a16="http://schemas.microsoft.com/office/drawing/2014/main" id="{9A060BB1-7E15-4CF3-60E7-E58E1048AECF}"/>
                    </a:ext>
                  </a:extLst>
                </p:cNvPr>
                <p:cNvSpPr>
                  <a:spLocks noChangeArrowheads="1"/>
                </p:cNvSpPr>
                <p:nvPr/>
              </p:nvSpPr>
              <p:spPr bwMode="auto">
                <a:xfrm rot="18420000">
                  <a:off x="4439864" y="4928827"/>
                  <a:ext cx="315318" cy="9154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chemeClr val="bg1"/>
                      </a:solidFill>
                      <a:effectLst/>
                      <a:uLnTx/>
                      <a:uFillTx/>
                      <a:latin typeface="Calibri"/>
                      <a:ea typeface="+mn-ea"/>
                      <a:cs typeface="+mn-cs"/>
                    </a:rPr>
                    <a:t>LAFAYETTE</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532" name="Rectangle 289">
                  <a:extLst>
                    <a:ext uri="{FF2B5EF4-FFF2-40B4-BE49-F238E27FC236}">
                      <a16:creationId xmlns:a16="http://schemas.microsoft.com/office/drawing/2014/main" id="{06116614-16CE-CE3D-2D2D-9EE63D03C598}"/>
                    </a:ext>
                  </a:extLst>
                </p:cNvPr>
                <p:cNvSpPr>
                  <a:spLocks noChangeArrowheads="1"/>
                </p:cNvSpPr>
                <p:nvPr/>
              </p:nvSpPr>
              <p:spPr bwMode="auto">
                <a:xfrm>
                  <a:off x="4895685" y="5366705"/>
                  <a:ext cx="203047" cy="92333"/>
                </a:xfrm>
                <a:prstGeom prst="rect">
                  <a:avLst/>
                </a:prstGeom>
                <a:grp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IBERI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33" name="Rectangle 292">
                  <a:extLst>
                    <a:ext uri="{FF2B5EF4-FFF2-40B4-BE49-F238E27FC236}">
                      <a16:creationId xmlns:a16="http://schemas.microsoft.com/office/drawing/2014/main" id="{ADB879A0-62D5-7A31-00B4-0F09E8853EE7}"/>
                    </a:ext>
                  </a:extLst>
                </p:cNvPr>
                <p:cNvSpPr>
                  <a:spLocks noChangeArrowheads="1"/>
                </p:cNvSpPr>
                <p:nvPr/>
              </p:nvSpPr>
              <p:spPr bwMode="auto">
                <a:xfrm>
                  <a:off x="5674061" y="5501402"/>
                  <a:ext cx="92618" cy="92333"/>
                </a:xfrm>
                <a:prstGeom prst="rect">
                  <a:avLst/>
                </a:prstGeom>
                <a:grp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S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34" name="Rectangle 293">
                  <a:extLst>
                    <a:ext uri="{FF2B5EF4-FFF2-40B4-BE49-F238E27FC236}">
                      <a16:creationId xmlns:a16="http://schemas.microsoft.com/office/drawing/2014/main" id="{C797F47B-8F00-126B-7B3D-335AD5CC96E4}"/>
                    </a:ext>
                  </a:extLst>
                </p:cNvPr>
                <p:cNvSpPr>
                  <a:spLocks noChangeArrowheads="1"/>
                </p:cNvSpPr>
                <p:nvPr/>
              </p:nvSpPr>
              <p:spPr bwMode="auto">
                <a:xfrm>
                  <a:off x="5638248" y="5593169"/>
                  <a:ext cx="258262" cy="92333"/>
                </a:xfrm>
                <a:prstGeom prst="rect">
                  <a:avLst/>
                </a:prstGeom>
                <a:grp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MARTI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nvGrpSpPr>
                <p:cNvPr id="535" name="Group 438">
                  <a:extLst>
                    <a:ext uri="{FF2B5EF4-FFF2-40B4-BE49-F238E27FC236}">
                      <a16:creationId xmlns:a16="http://schemas.microsoft.com/office/drawing/2014/main" id="{EEF8D96F-A48C-DAB9-3FCB-1975E1C44A03}"/>
                    </a:ext>
                  </a:extLst>
                </p:cNvPr>
                <p:cNvGrpSpPr>
                  <a:grpSpLocks/>
                </p:cNvGrpSpPr>
                <p:nvPr/>
              </p:nvGrpSpPr>
              <p:grpSpPr bwMode="auto">
                <a:xfrm>
                  <a:off x="3882223" y="3915983"/>
                  <a:ext cx="616393" cy="739671"/>
                  <a:chOff x="1529" y="2285"/>
                  <a:chExt cx="430" cy="516"/>
                </a:xfrm>
                <a:grpFill/>
              </p:grpSpPr>
              <p:sp>
                <p:nvSpPr>
                  <p:cNvPr id="552" name="Freeform 439">
                    <a:extLst>
                      <a:ext uri="{FF2B5EF4-FFF2-40B4-BE49-F238E27FC236}">
                        <a16:creationId xmlns:a16="http://schemas.microsoft.com/office/drawing/2014/main" id="{0E6DE80D-E192-1258-7D7F-4C44AE03F3A0}"/>
                      </a:ext>
                    </a:extLst>
                  </p:cNvPr>
                  <p:cNvSpPr>
                    <a:spLocks/>
                  </p:cNvSpPr>
                  <p:nvPr/>
                </p:nvSpPr>
                <p:spPr bwMode="auto">
                  <a:xfrm>
                    <a:off x="1529" y="2285"/>
                    <a:ext cx="430" cy="516"/>
                  </a:xfrm>
                  <a:custGeom>
                    <a:avLst/>
                    <a:gdLst/>
                    <a:ahLst/>
                    <a:cxnLst>
                      <a:cxn ang="0">
                        <a:pos x="28" y="82"/>
                      </a:cxn>
                      <a:cxn ang="0">
                        <a:pos x="28" y="434"/>
                      </a:cxn>
                      <a:cxn ang="0">
                        <a:pos x="0" y="516"/>
                      </a:cxn>
                      <a:cxn ang="0">
                        <a:pos x="143" y="516"/>
                      </a:cxn>
                      <a:cxn ang="0">
                        <a:pos x="172" y="461"/>
                      </a:cxn>
                      <a:cxn ang="0">
                        <a:pos x="345" y="461"/>
                      </a:cxn>
                      <a:cxn ang="0">
                        <a:pos x="345" y="407"/>
                      </a:cxn>
                      <a:cxn ang="0">
                        <a:pos x="402" y="407"/>
                      </a:cxn>
                      <a:cxn ang="0">
                        <a:pos x="402" y="354"/>
                      </a:cxn>
                      <a:cxn ang="0">
                        <a:pos x="430" y="299"/>
                      </a:cxn>
                      <a:cxn ang="0">
                        <a:pos x="430" y="218"/>
                      </a:cxn>
                      <a:cxn ang="0">
                        <a:pos x="402" y="164"/>
                      </a:cxn>
                      <a:cxn ang="0">
                        <a:pos x="402" y="136"/>
                      </a:cxn>
                      <a:cxn ang="0">
                        <a:pos x="345" y="136"/>
                      </a:cxn>
                      <a:cxn ang="0">
                        <a:pos x="345" y="109"/>
                      </a:cxn>
                      <a:cxn ang="0">
                        <a:pos x="287" y="55"/>
                      </a:cxn>
                      <a:cxn ang="0">
                        <a:pos x="287" y="28"/>
                      </a:cxn>
                      <a:cxn ang="0">
                        <a:pos x="201" y="0"/>
                      </a:cxn>
                      <a:cxn ang="0">
                        <a:pos x="86" y="82"/>
                      </a:cxn>
                      <a:cxn ang="0">
                        <a:pos x="28" y="82"/>
                      </a:cxn>
                    </a:cxnLst>
                    <a:rect l="0" t="0" r="r" b="b"/>
                    <a:pathLst>
                      <a:path w="430" h="516">
                        <a:moveTo>
                          <a:pt x="28" y="82"/>
                        </a:moveTo>
                        <a:lnTo>
                          <a:pt x="28" y="434"/>
                        </a:lnTo>
                        <a:lnTo>
                          <a:pt x="0" y="516"/>
                        </a:lnTo>
                        <a:lnTo>
                          <a:pt x="143" y="516"/>
                        </a:lnTo>
                        <a:lnTo>
                          <a:pt x="172" y="461"/>
                        </a:lnTo>
                        <a:lnTo>
                          <a:pt x="345" y="461"/>
                        </a:lnTo>
                        <a:lnTo>
                          <a:pt x="345" y="407"/>
                        </a:lnTo>
                        <a:lnTo>
                          <a:pt x="402" y="407"/>
                        </a:lnTo>
                        <a:lnTo>
                          <a:pt x="402" y="354"/>
                        </a:lnTo>
                        <a:lnTo>
                          <a:pt x="430" y="299"/>
                        </a:lnTo>
                        <a:lnTo>
                          <a:pt x="430" y="218"/>
                        </a:lnTo>
                        <a:lnTo>
                          <a:pt x="402" y="164"/>
                        </a:lnTo>
                        <a:lnTo>
                          <a:pt x="402" y="136"/>
                        </a:lnTo>
                        <a:lnTo>
                          <a:pt x="345" y="136"/>
                        </a:lnTo>
                        <a:lnTo>
                          <a:pt x="345" y="109"/>
                        </a:lnTo>
                        <a:lnTo>
                          <a:pt x="287" y="55"/>
                        </a:lnTo>
                        <a:lnTo>
                          <a:pt x="287" y="28"/>
                        </a:lnTo>
                        <a:lnTo>
                          <a:pt x="201" y="0"/>
                        </a:lnTo>
                        <a:lnTo>
                          <a:pt x="86" y="82"/>
                        </a:lnTo>
                        <a:lnTo>
                          <a:pt x="28" y="8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53" name="Freeform 440">
                    <a:extLst>
                      <a:ext uri="{FF2B5EF4-FFF2-40B4-BE49-F238E27FC236}">
                        <a16:creationId xmlns:a16="http://schemas.microsoft.com/office/drawing/2014/main" id="{3A912778-0755-7741-A157-F4B0FA83D93E}"/>
                      </a:ext>
                    </a:extLst>
                  </p:cNvPr>
                  <p:cNvSpPr>
                    <a:spLocks/>
                  </p:cNvSpPr>
                  <p:nvPr/>
                </p:nvSpPr>
                <p:spPr bwMode="auto">
                  <a:xfrm>
                    <a:off x="1529" y="2285"/>
                    <a:ext cx="430" cy="516"/>
                  </a:xfrm>
                  <a:custGeom>
                    <a:avLst/>
                    <a:gdLst/>
                    <a:ahLst/>
                    <a:cxnLst>
                      <a:cxn ang="0">
                        <a:pos x="28" y="82"/>
                      </a:cxn>
                      <a:cxn ang="0">
                        <a:pos x="28" y="434"/>
                      </a:cxn>
                      <a:cxn ang="0">
                        <a:pos x="0" y="516"/>
                      </a:cxn>
                      <a:cxn ang="0">
                        <a:pos x="143" y="516"/>
                      </a:cxn>
                      <a:cxn ang="0">
                        <a:pos x="172" y="461"/>
                      </a:cxn>
                      <a:cxn ang="0">
                        <a:pos x="345" y="461"/>
                      </a:cxn>
                      <a:cxn ang="0">
                        <a:pos x="345" y="407"/>
                      </a:cxn>
                      <a:cxn ang="0">
                        <a:pos x="402" y="407"/>
                      </a:cxn>
                      <a:cxn ang="0">
                        <a:pos x="402" y="354"/>
                      </a:cxn>
                      <a:cxn ang="0">
                        <a:pos x="430" y="299"/>
                      </a:cxn>
                      <a:cxn ang="0">
                        <a:pos x="430" y="218"/>
                      </a:cxn>
                      <a:cxn ang="0">
                        <a:pos x="402" y="164"/>
                      </a:cxn>
                      <a:cxn ang="0">
                        <a:pos x="402" y="136"/>
                      </a:cxn>
                      <a:cxn ang="0">
                        <a:pos x="345" y="136"/>
                      </a:cxn>
                      <a:cxn ang="0">
                        <a:pos x="345" y="109"/>
                      </a:cxn>
                      <a:cxn ang="0">
                        <a:pos x="287" y="55"/>
                      </a:cxn>
                      <a:cxn ang="0">
                        <a:pos x="287" y="28"/>
                      </a:cxn>
                      <a:cxn ang="0">
                        <a:pos x="201" y="0"/>
                      </a:cxn>
                      <a:cxn ang="0">
                        <a:pos x="86" y="82"/>
                      </a:cxn>
                      <a:cxn ang="0">
                        <a:pos x="28" y="82"/>
                      </a:cxn>
                    </a:cxnLst>
                    <a:rect l="0" t="0" r="r" b="b"/>
                    <a:pathLst>
                      <a:path w="430" h="516">
                        <a:moveTo>
                          <a:pt x="28" y="82"/>
                        </a:moveTo>
                        <a:lnTo>
                          <a:pt x="28" y="434"/>
                        </a:lnTo>
                        <a:lnTo>
                          <a:pt x="0" y="516"/>
                        </a:lnTo>
                        <a:lnTo>
                          <a:pt x="143" y="516"/>
                        </a:lnTo>
                        <a:lnTo>
                          <a:pt x="172" y="461"/>
                        </a:lnTo>
                        <a:lnTo>
                          <a:pt x="345" y="461"/>
                        </a:lnTo>
                        <a:lnTo>
                          <a:pt x="345" y="407"/>
                        </a:lnTo>
                        <a:lnTo>
                          <a:pt x="402" y="407"/>
                        </a:lnTo>
                        <a:lnTo>
                          <a:pt x="402" y="354"/>
                        </a:lnTo>
                        <a:lnTo>
                          <a:pt x="430" y="299"/>
                        </a:lnTo>
                        <a:lnTo>
                          <a:pt x="430" y="218"/>
                        </a:lnTo>
                        <a:lnTo>
                          <a:pt x="402" y="164"/>
                        </a:lnTo>
                        <a:lnTo>
                          <a:pt x="402" y="136"/>
                        </a:lnTo>
                        <a:lnTo>
                          <a:pt x="345" y="136"/>
                        </a:lnTo>
                        <a:lnTo>
                          <a:pt x="345" y="109"/>
                        </a:lnTo>
                        <a:lnTo>
                          <a:pt x="287" y="55"/>
                        </a:lnTo>
                        <a:lnTo>
                          <a:pt x="287" y="28"/>
                        </a:lnTo>
                        <a:lnTo>
                          <a:pt x="201" y="0"/>
                        </a:lnTo>
                        <a:lnTo>
                          <a:pt x="86" y="82"/>
                        </a:lnTo>
                        <a:lnTo>
                          <a:pt x="28" y="82"/>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536" name="Group 441">
                  <a:extLst>
                    <a:ext uri="{FF2B5EF4-FFF2-40B4-BE49-F238E27FC236}">
                      <a16:creationId xmlns:a16="http://schemas.microsoft.com/office/drawing/2014/main" id="{840A9DE6-0520-1C6E-FB9D-D0AE453260AB}"/>
                    </a:ext>
                  </a:extLst>
                </p:cNvPr>
                <p:cNvGrpSpPr>
                  <a:grpSpLocks/>
                </p:cNvGrpSpPr>
                <p:nvPr/>
              </p:nvGrpSpPr>
              <p:grpSpPr bwMode="auto">
                <a:xfrm>
                  <a:off x="4088643" y="4110935"/>
                  <a:ext cx="1106639" cy="818511"/>
                  <a:chOff x="1673" y="2421"/>
                  <a:chExt cx="772" cy="571"/>
                </a:xfrm>
                <a:grpFill/>
              </p:grpSpPr>
              <p:sp>
                <p:nvSpPr>
                  <p:cNvPr id="550" name="Freeform 442">
                    <a:extLst>
                      <a:ext uri="{FF2B5EF4-FFF2-40B4-BE49-F238E27FC236}">
                        <a16:creationId xmlns:a16="http://schemas.microsoft.com/office/drawing/2014/main" id="{AA87D099-87B8-1C43-5652-D773892BE4EC}"/>
                      </a:ext>
                    </a:extLst>
                  </p:cNvPr>
                  <p:cNvSpPr>
                    <a:spLocks/>
                  </p:cNvSpPr>
                  <p:nvPr/>
                </p:nvSpPr>
                <p:spPr bwMode="auto">
                  <a:xfrm>
                    <a:off x="1673" y="2421"/>
                    <a:ext cx="772" cy="571"/>
                  </a:xfrm>
                  <a:custGeom>
                    <a:avLst/>
                    <a:gdLst/>
                    <a:ahLst/>
                    <a:cxnLst>
                      <a:cxn ang="0">
                        <a:pos x="258" y="0"/>
                      </a:cxn>
                      <a:cxn ang="0">
                        <a:pos x="258" y="27"/>
                      </a:cxn>
                      <a:cxn ang="0">
                        <a:pos x="285" y="81"/>
                      </a:cxn>
                      <a:cxn ang="0">
                        <a:pos x="285" y="163"/>
                      </a:cxn>
                      <a:cxn ang="0">
                        <a:pos x="258" y="217"/>
                      </a:cxn>
                      <a:cxn ang="0">
                        <a:pos x="258" y="270"/>
                      </a:cxn>
                      <a:cxn ang="0">
                        <a:pos x="200" y="270"/>
                      </a:cxn>
                      <a:cxn ang="0">
                        <a:pos x="200" y="325"/>
                      </a:cxn>
                      <a:cxn ang="0">
                        <a:pos x="28" y="325"/>
                      </a:cxn>
                      <a:cxn ang="0">
                        <a:pos x="0" y="379"/>
                      </a:cxn>
                      <a:cxn ang="0">
                        <a:pos x="229" y="379"/>
                      </a:cxn>
                      <a:cxn ang="0">
                        <a:pos x="229" y="434"/>
                      </a:cxn>
                      <a:cxn ang="0">
                        <a:pos x="285" y="434"/>
                      </a:cxn>
                      <a:cxn ang="0">
                        <a:pos x="285" y="515"/>
                      </a:cxn>
                      <a:cxn ang="0">
                        <a:pos x="312" y="571"/>
                      </a:cxn>
                      <a:cxn ang="0">
                        <a:pos x="400" y="461"/>
                      </a:cxn>
                      <a:cxn ang="0">
                        <a:pos x="457" y="488"/>
                      </a:cxn>
                      <a:cxn ang="0">
                        <a:pos x="486" y="434"/>
                      </a:cxn>
                      <a:cxn ang="0">
                        <a:pos x="572" y="434"/>
                      </a:cxn>
                      <a:cxn ang="0">
                        <a:pos x="629" y="461"/>
                      </a:cxn>
                      <a:cxn ang="0">
                        <a:pos x="772" y="461"/>
                      </a:cxn>
                      <a:cxn ang="0">
                        <a:pos x="687" y="352"/>
                      </a:cxn>
                      <a:cxn ang="0">
                        <a:pos x="687" y="163"/>
                      </a:cxn>
                      <a:cxn ang="0">
                        <a:pos x="658" y="54"/>
                      </a:cxn>
                      <a:cxn ang="0">
                        <a:pos x="572" y="0"/>
                      </a:cxn>
                      <a:cxn ang="0">
                        <a:pos x="258" y="0"/>
                      </a:cxn>
                    </a:cxnLst>
                    <a:rect l="0" t="0" r="r" b="b"/>
                    <a:pathLst>
                      <a:path w="772" h="571">
                        <a:moveTo>
                          <a:pt x="258" y="0"/>
                        </a:moveTo>
                        <a:lnTo>
                          <a:pt x="258" y="27"/>
                        </a:lnTo>
                        <a:lnTo>
                          <a:pt x="285" y="81"/>
                        </a:lnTo>
                        <a:lnTo>
                          <a:pt x="285" y="163"/>
                        </a:lnTo>
                        <a:lnTo>
                          <a:pt x="258" y="217"/>
                        </a:lnTo>
                        <a:lnTo>
                          <a:pt x="258" y="270"/>
                        </a:lnTo>
                        <a:lnTo>
                          <a:pt x="200" y="270"/>
                        </a:lnTo>
                        <a:lnTo>
                          <a:pt x="200" y="325"/>
                        </a:lnTo>
                        <a:lnTo>
                          <a:pt x="28" y="325"/>
                        </a:lnTo>
                        <a:lnTo>
                          <a:pt x="0" y="379"/>
                        </a:lnTo>
                        <a:lnTo>
                          <a:pt x="229" y="379"/>
                        </a:lnTo>
                        <a:lnTo>
                          <a:pt x="229" y="434"/>
                        </a:lnTo>
                        <a:lnTo>
                          <a:pt x="285" y="434"/>
                        </a:lnTo>
                        <a:lnTo>
                          <a:pt x="285" y="515"/>
                        </a:lnTo>
                        <a:lnTo>
                          <a:pt x="312" y="571"/>
                        </a:lnTo>
                        <a:lnTo>
                          <a:pt x="400" y="461"/>
                        </a:lnTo>
                        <a:lnTo>
                          <a:pt x="457" y="488"/>
                        </a:lnTo>
                        <a:lnTo>
                          <a:pt x="486" y="434"/>
                        </a:lnTo>
                        <a:lnTo>
                          <a:pt x="572" y="434"/>
                        </a:lnTo>
                        <a:lnTo>
                          <a:pt x="629" y="461"/>
                        </a:lnTo>
                        <a:lnTo>
                          <a:pt x="772" y="461"/>
                        </a:lnTo>
                        <a:lnTo>
                          <a:pt x="687" y="352"/>
                        </a:lnTo>
                        <a:lnTo>
                          <a:pt x="687" y="163"/>
                        </a:lnTo>
                        <a:lnTo>
                          <a:pt x="658" y="54"/>
                        </a:lnTo>
                        <a:lnTo>
                          <a:pt x="572" y="0"/>
                        </a:lnTo>
                        <a:lnTo>
                          <a:pt x="258"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51" name="Freeform 443">
                    <a:extLst>
                      <a:ext uri="{FF2B5EF4-FFF2-40B4-BE49-F238E27FC236}">
                        <a16:creationId xmlns:a16="http://schemas.microsoft.com/office/drawing/2014/main" id="{7EC10FA5-DE63-31FD-316D-890E00A0F229}"/>
                      </a:ext>
                    </a:extLst>
                  </p:cNvPr>
                  <p:cNvSpPr>
                    <a:spLocks/>
                  </p:cNvSpPr>
                  <p:nvPr/>
                </p:nvSpPr>
                <p:spPr bwMode="auto">
                  <a:xfrm>
                    <a:off x="1673" y="2421"/>
                    <a:ext cx="772" cy="571"/>
                  </a:xfrm>
                  <a:custGeom>
                    <a:avLst/>
                    <a:gdLst/>
                    <a:ahLst/>
                    <a:cxnLst>
                      <a:cxn ang="0">
                        <a:pos x="258" y="0"/>
                      </a:cxn>
                      <a:cxn ang="0">
                        <a:pos x="258" y="27"/>
                      </a:cxn>
                      <a:cxn ang="0">
                        <a:pos x="285" y="81"/>
                      </a:cxn>
                      <a:cxn ang="0">
                        <a:pos x="285" y="163"/>
                      </a:cxn>
                      <a:cxn ang="0">
                        <a:pos x="258" y="217"/>
                      </a:cxn>
                      <a:cxn ang="0">
                        <a:pos x="258" y="270"/>
                      </a:cxn>
                      <a:cxn ang="0">
                        <a:pos x="200" y="270"/>
                      </a:cxn>
                      <a:cxn ang="0">
                        <a:pos x="200" y="325"/>
                      </a:cxn>
                      <a:cxn ang="0">
                        <a:pos x="28" y="325"/>
                      </a:cxn>
                      <a:cxn ang="0">
                        <a:pos x="0" y="379"/>
                      </a:cxn>
                      <a:cxn ang="0">
                        <a:pos x="229" y="379"/>
                      </a:cxn>
                      <a:cxn ang="0">
                        <a:pos x="229" y="434"/>
                      </a:cxn>
                      <a:cxn ang="0">
                        <a:pos x="285" y="434"/>
                      </a:cxn>
                      <a:cxn ang="0">
                        <a:pos x="285" y="515"/>
                      </a:cxn>
                      <a:cxn ang="0">
                        <a:pos x="312" y="571"/>
                      </a:cxn>
                      <a:cxn ang="0">
                        <a:pos x="400" y="461"/>
                      </a:cxn>
                      <a:cxn ang="0">
                        <a:pos x="457" y="488"/>
                      </a:cxn>
                      <a:cxn ang="0">
                        <a:pos x="486" y="434"/>
                      </a:cxn>
                      <a:cxn ang="0">
                        <a:pos x="572" y="434"/>
                      </a:cxn>
                      <a:cxn ang="0">
                        <a:pos x="629" y="461"/>
                      </a:cxn>
                      <a:cxn ang="0">
                        <a:pos x="772" y="461"/>
                      </a:cxn>
                      <a:cxn ang="0">
                        <a:pos x="687" y="352"/>
                      </a:cxn>
                      <a:cxn ang="0">
                        <a:pos x="687" y="163"/>
                      </a:cxn>
                      <a:cxn ang="0">
                        <a:pos x="658" y="54"/>
                      </a:cxn>
                      <a:cxn ang="0">
                        <a:pos x="572" y="0"/>
                      </a:cxn>
                      <a:cxn ang="0">
                        <a:pos x="258" y="0"/>
                      </a:cxn>
                    </a:cxnLst>
                    <a:rect l="0" t="0" r="r" b="b"/>
                    <a:pathLst>
                      <a:path w="772" h="571">
                        <a:moveTo>
                          <a:pt x="258" y="0"/>
                        </a:moveTo>
                        <a:lnTo>
                          <a:pt x="258" y="27"/>
                        </a:lnTo>
                        <a:lnTo>
                          <a:pt x="285" y="81"/>
                        </a:lnTo>
                        <a:lnTo>
                          <a:pt x="285" y="163"/>
                        </a:lnTo>
                        <a:lnTo>
                          <a:pt x="258" y="217"/>
                        </a:lnTo>
                        <a:lnTo>
                          <a:pt x="258" y="270"/>
                        </a:lnTo>
                        <a:lnTo>
                          <a:pt x="200" y="270"/>
                        </a:lnTo>
                        <a:lnTo>
                          <a:pt x="200" y="325"/>
                        </a:lnTo>
                        <a:lnTo>
                          <a:pt x="28" y="325"/>
                        </a:lnTo>
                        <a:lnTo>
                          <a:pt x="0" y="379"/>
                        </a:lnTo>
                        <a:lnTo>
                          <a:pt x="229" y="379"/>
                        </a:lnTo>
                        <a:lnTo>
                          <a:pt x="229" y="434"/>
                        </a:lnTo>
                        <a:lnTo>
                          <a:pt x="285" y="434"/>
                        </a:lnTo>
                        <a:lnTo>
                          <a:pt x="285" y="515"/>
                        </a:lnTo>
                        <a:lnTo>
                          <a:pt x="312" y="571"/>
                        </a:lnTo>
                        <a:lnTo>
                          <a:pt x="400" y="461"/>
                        </a:lnTo>
                        <a:lnTo>
                          <a:pt x="457" y="488"/>
                        </a:lnTo>
                        <a:lnTo>
                          <a:pt x="486" y="434"/>
                        </a:lnTo>
                        <a:lnTo>
                          <a:pt x="572" y="434"/>
                        </a:lnTo>
                        <a:lnTo>
                          <a:pt x="629" y="461"/>
                        </a:lnTo>
                        <a:lnTo>
                          <a:pt x="772" y="461"/>
                        </a:lnTo>
                        <a:lnTo>
                          <a:pt x="687" y="352"/>
                        </a:lnTo>
                        <a:lnTo>
                          <a:pt x="687" y="163"/>
                        </a:lnTo>
                        <a:lnTo>
                          <a:pt x="658" y="54"/>
                        </a:lnTo>
                        <a:lnTo>
                          <a:pt x="572" y="0"/>
                        </a:lnTo>
                        <a:lnTo>
                          <a:pt x="258"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537" name="Group 468">
                  <a:extLst>
                    <a:ext uri="{FF2B5EF4-FFF2-40B4-BE49-F238E27FC236}">
                      <a16:creationId xmlns:a16="http://schemas.microsoft.com/office/drawing/2014/main" id="{C9A6B9E8-9582-8A36-83CF-244E05B0CC37}"/>
                    </a:ext>
                  </a:extLst>
                </p:cNvPr>
                <p:cNvGrpSpPr>
                  <a:grpSpLocks/>
                </p:cNvGrpSpPr>
                <p:nvPr/>
              </p:nvGrpSpPr>
              <p:grpSpPr bwMode="auto">
                <a:xfrm>
                  <a:off x="3882223" y="4655654"/>
                  <a:ext cx="655096" cy="623560"/>
                  <a:chOff x="1529" y="2801"/>
                  <a:chExt cx="457" cy="435"/>
                </a:xfrm>
                <a:grpFill/>
              </p:grpSpPr>
              <p:sp>
                <p:nvSpPr>
                  <p:cNvPr id="548" name="Freeform 469">
                    <a:extLst>
                      <a:ext uri="{FF2B5EF4-FFF2-40B4-BE49-F238E27FC236}">
                        <a16:creationId xmlns:a16="http://schemas.microsoft.com/office/drawing/2014/main" id="{E834D109-BC01-F1DD-D17C-23CDE92F0F93}"/>
                      </a:ext>
                    </a:extLst>
                  </p:cNvPr>
                  <p:cNvSpPr>
                    <a:spLocks/>
                  </p:cNvSpPr>
                  <p:nvPr/>
                </p:nvSpPr>
                <p:spPr bwMode="auto">
                  <a:xfrm>
                    <a:off x="1529" y="2801"/>
                    <a:ext cx="457" cy="435"/>
                  </a:xfrm>
                  <a:custGeom>
                    <a:avLst/>
                    <a:gdLst/>
                    <a:ahLst/>
                    <a:cxnLst>
                      <a:cxn ang="0">
                        <a:pos x="0" y="0"/>
                      </a:cxn>
                      <a:cxn ang="0">
                        <a:pos x="28" y="54"/>
                      </a:cxn>
                      <a:cxn ang="0">
                        <a:pos x="0" y="109"/>
                      </a:cxn>
                      <a:cxn ang="0">
                        <a:pos x="0" y="272"/>
                      </a:cxn>
                      <a:cxn ang="0">
                        <a:pos x="57" y="299"/>
                      </a:cxn>
                      <a:cxn ang="0">
                        <a:pos x="28" y="408"/>
                      </a:cxn>
                      <a:cxn ang="0">
                        <a:pos x="86" y="380"/>
                      </a:cxn>
                      <a:cxn ang="0">
                        <a:pos x="229" y="435"/>
                      </a:cxn>
                      <a:cxn ang="0">
                        <a:pos x="343" y="353"/>
                      </a:cxn>
                      <a:cxn ang="0">
                        <a:pos x="457" y="190"/>
                      </a:cxn>
                      <a:cxn ang="0">
                        <a:pos x="428" y="136"/>
                      </a:cxn>
                      <a:cxn ang="0">
                        <a:pos x="428" y="54"/>
                      </a:cxn>
                      <a:cxn ang="0">
                        <a:pos x="372" y="54"/>
                      </a:cxn>
                      <a:cxn ang="0">
                        <a:pos x="372" y="0"/>
                      </a:cxn>
                      <a:cxn ang="0">
                        <a:pos x="0" y="0"/>
                      </a:cxn>
                    </a:cxnLst>
                    <a:rect l="0" t="0" r="r" b="b"/>
                    <a:pathLst>
                      <a:path w="457" h="435">
                        <a:moveTo>
                          <a:pt x="0" y="0"/>
                        </a:moveTo>
                        <a:lnTo>
                          <a:pt x="28" y="54"/>
                        </a:lnTo>
                        <a:lnTo>
                          <a:pt x="0" y="109"/>
                        </a:lnTo>
                        <a:lnTo>
                          <a:pt x="0" y="272"/>
                        </a:lnTo>
                        <a:lnTo>
                          <a:pt x="57" y="299"/>
                        </a:lnTo>
                        <a:lnTo>
                          <a:pt x="28" y="408"/>
                        </a:lnTo>
                        <a:lnTo>
                          <a:pt x="86" y="380"/>
                        </a:lnTo>
                        <a:lnTo>
                          <a:pt x="229" y="435"/>
                        </a:lnTo>
                        <a:lnTo>
                          <a:pt x="343" y="353"/>
                        </a:lnTo>
                        <a:lnTo>
                          <a:pt x="457" y="190"/>
                        </a:lnTo>
                        <a:lnTo>
                          <a:pt x="428" y="136"/>
                        </a:lnTo>
                        <a:lnTo>
                          <a:pt x="428" y="54"/>
                        </a:lnTo>
                        <a:lnTo>
                          <a:pt x="372" y="54"/>
                        </a:lnTo>
                        <a:lnTo>
                          <a:pt x="372"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49" name="Freeform 470">
                    <a:extLst>
                      <a:ext uri="{FF2B5EF4-FFF2-40B4-BE49-F238E27FC236}">
                        <a16:creationId xmlns:a16="http://schemas.microsoft.com/office/drawing/2014/main" id="{A0143748-41F4-27FE-29AA-CC737B34A0D8}"/>
                      </a:ext>
                    </a:extLst>
                  </p:cNvPr>
                  <p:cNvSpPr>
                    <a:spLocks/>
                  </p:cNvSpPr>
                  <p:nvPr/>
                </p:nvSpPr>
                <p:spPr bwMode="auto">
                  <a:xfrm>
                    <a:off x="1529" y="2801"/>
                    <a:ext cx="457" cy="435"/>
                  </a:xfrm>
                  <a:custGeom>
                    <a:avLst/>
                    <a:gdLst/>
                    <a:ahLst/>
                    <a:cxnLst>
                      <a:cxn ang="0">
                        <a:pos x="0" y="0"/>
                      </a:cxn>
                      <a:cxn ang="0">
                        <a:pos x="28" y="54"/>
                      </a:cxn>
                      <a:cxn ang="0">
                        <a:pos x="0" y="109"/>
                      </a:cxn>
                      <a:cxn ang="0">
                        <a:pos x="0" y="272"/>
                      </a:cxn>
                      <a:cxn ang="0">
                        <a:pos x="57" y="299"/>
                      </a:cxn>
                      <a:cxn ang="0">
                        <a:pos x="28" y="408"/>
                      </a:cxn>
                      <a:cxn ang="0">
                        <a:pos x="86" y="380"/>
                      </a:cxn>
                      <a:cxn ang="0">
                        <a:pos x="229" y="435"/>
                      </a:cxn>
                      <a:cxn ang="0">
                        <a:pos x="343" y="353"/>
                      </a:cxn>
                      <a:cxn ang="0">
                        <a:pos x="457" y="190"/>
                      </a:cxn>
                      <a:cxn ang="0">
                        <a:pos x="428" y="136"/>
                      </a:cxn>
                      <a:cxn ang="0">
                        <a:pos x="428" y="54"/>
                      </a:cxn>
                      <a:cxn ang="0">
                        <a:pos x="372" y="54"/>
                      </a:cxn>
                      <a:cxn ang="0">
                        <a:pos x="372" y="0"/>
                      </a:cxn>
                      <a:cxn ang="0">
                        <a:pos x="0" y="0"/>
                      </a:cxn>
                    </a:cxnLst>
                    <a:rect l="0" t="0" r="r" b="b"/>
                    <a:pathLst>
                      <a:path w="457" h="435">
                        <a:moveTo>
                          <a:pt x="0" y="0"/>
                        </a:moveTo>
                        <a:lnTo>
                          <a:pt x="28" y="54"/>
                        </a:lnTo>
                        <a:lnTo>
                          <a:pt x="0" y="109"/>
                        </a:lnTo>
                        <a:lnTo>
                          <a:pt x="0" y="272"/>
                        </a:lnTo>
                        <a:lnTo>
                          <a:pt x="57" y="299"/>
                        </a:lnTo>
                        <a:lnTo>
                          <a:pt x="28" y="408"/>
                        </a:lnTo>
                        <a:lnTo>
                          <a:pt x="86" y="380"/>
                        </a:lnTo>
                        <a:lnTo>
                          <a:pt x="229" y="435"/>
                        </a:lnTo>
                        <a:lnTo>
                          <a:pt x="343" y="353"/>
                        </a:lnTo>
                        <a:lnTo>
                          <a:pt x="457" y="190"/>
                        </a:lnTo>
                        <a:lnTo>
                          <a:pt x="428" y="136"/>
                        </a:lnTo>
                        <a:lnTo>
                          <a:pt x="428" y="54"/>
                        </a:lnTo>
                        <a:lnTo>
                          <a:pt x="372" y="54"/>
                        </a:lnTo>
                        <a:lnTo>
                          <a:pt x="372"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538" name="Freeform 505">
                  <a:extLst>
                    <a:ext uri="{FF2B5EF4-FFF2-40B4-BE49-F238E27FC236}">
                      <a16:creationId xmlns:a16="http://schemas.microsoft.com/office/drawing/2014/main" id="{C3FC3FE0-B3BF-7EE2-B8F1-F7B19A3E91C6}"/>
                    </a:ext>
                  </a:extLst>
                </p:cNvPr>
                <p:cNvSpPr>
                  <a:spLocks/>
                </p:cNvSpPr>
                <p:nvPr/>
              </p:nvSpPr>
              <p:spPr bwMode="auto">
                <a:xfrm>
                  <a:off x="4742305" y="5899906"/>
                  <a:ext cx="412839" cy="235089"/>
                </a:xfrm>
                <a:custGeom>
                  <a:avLst/>
                  <a:gdLst/>
                  <a:ahLst/>
                  <a:cxnLst>
                    <a:cxn ang="0">
                      <a:pos x="29" y="0"/>
                    </a:cxn>
                    <a:cxn ang="0">
                      <a:pos x="0" y="54"/>
                    </a:cxn>
                    <a:cxn ang="0">
                      <a:pos x="202" y="164"/>
                    </a:cxn>
                    <a:cxn ang="0">
                      <a:pos x="288" y="54"/>
                    </a:cxn>
                    <a:cxn ang="0">
                      <a:pos x="87" y="0"/>
                    </a:cxn>
                    <a:cxn ang="0">
                      <a:pos x="29" y="0"/>
                    </a:cxn>
                  </a:cxnLst>
                  <a:rect l="0" t="0" r="r" b="b"/>
                  <a:pathLst>
                    <a:path w="288" h="164">
                      <a:moveTo>
                        <a:pt x="29" y="0"/>
                      </a:moveTo>
                      <a:lnTo>
                        <a:pt x="0" y="54"/>
                      </a:lnTo>
                      <a:lnTo>
                        <a:pt x="202" y="164"/>
                      </a:lnTo>
                      <a:lnTo>
                        <a:pt x="288" y="54"/>
                      </a:lnTo>
                      <a:lnTo>
                        <a:pt x="87" y="0"/>
                      </a:lnTo>
                      <a:lnTo>
                        <a:pt x="29" y="0"/>
                      </a:lnTo>
                      <a:close/>
                    </a:path>
                  </a:pathLst>
                </a:custGeom>
                <a:grpFill/>
                <a:ln w="6350">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39" name="Rectangle 601">
                  <a:extLst>
                    <a:ext uri="{FF2B5EF4-FFF2-40B4-BE49-F238E27FC236}">
                      <a16:creationId xmlns:a16="http://schemas.microsoft.com/office/drawing/2014/main" id="{72E2BBE3-2EB1-0BFC-039E-E30E83E2921B}"/>
                    </a:ext>
                  </a:extLst>
                </p:cNvPr>
                <p:cNvSpPr>
                  <a:spLocks noChangeArrowheads="1"/>
                </p:cNvSpPr>
                <p:nvPr/>
              </p:nvSpPr>
              <p:spPr bwMode="auto">
                <a:xfrm>
                  <a:off x="3972531" y="4271483"/>
                  <a:ext cx="400751" cy="92333"/>
                </a:xfrm>
                <a:prstGeom prst="rect">
                  <a:avLst/>
                </a:prstGeom>
                <a:grp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EVANGELIN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40" name="Rectangle 602">
                  <a:extLst>
                    <a:ext uri="{FF2B5EF4-FFF2-40B4-BE49-F238E27FC236}">
                      <a16:creationId xmlns:a16="http://schemas.microsoft.com/office/drawing/2014/main" id="{836CEAF3-E714-E4E5-F78D-FE954F085E1F}"/>
                    </a:ext>
                  </a:extLst>
                </p:cNvPr>
                <p:cNvSpPr>
                  <a:spLocks noChangeArrowheads="1"/>
                </p:cNvSpPr>
                <p:nvPr/>
              </p:nvSpPr>
              <p:spPr bwMode="auto">
                <a:xfrm>
                  <a:off x="4726017" y="4323729"/>
                  <a:ext cx="92618" cy="92333"/>
                </a:xfrm>
                <a:prstGeom prst="rect">
                  <a:avLst/>
                </a:prstGeom>
                <a:grp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S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41" name="Rectangle 603">
                  <a:extLst>
                    <a:ext uri="{FF2B5EF4-FFF2-40B4-BE49-F238E27FC236}">
                      <a16:creationId xmlns:a16="http://schemas.microsoft.com/office/drawing/2014/main" id="{156F7879-CE8C-2DE8-5578-16905F564B2D}"/>
                    </a:ext>
                  </a:extLst>
                </p:cNvPr>
                <p:cNvSpPr>
                  <a:spLocks noChangeArrowheads="1"/>
                </p:cNvSpPr>
                <p:nvPr/>
              </p:nvSpPr>
              <p:spPr bwMode="auto">
                <a:xfrm>
                  <a:off x="4611859" y="4413396"/>
                  <a:ext cx="252918" cy="92333"/>
                </a:xfrm>
                <a:prstGeom prst="rect">
                  <a:avLst/>
                </a:prstGeom>
                <a:grp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LANDRY</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42" name="Rectangle 624">
                  <a:extLst>
                    <a:ext uri="{FF2B5EF4-FFF2-40B4-BE49-F238E27FC236}">
                      <a16:creationId xmlns:a16="http://schemas.microsoft.com/office/drawing/2014/main" id="{0BBCD14F-1E2C-58F6-E76F-0E8CD3ABB9A4}"/>
                    </a:ext>
                  </a:extLst>
                </p:cNvPr>
                <p:cNvSpPr>
                  <a:spLocks noChangeArrowheads="1"/>
                </p:cNvSpPr>
                <p:nvPr/>
              </p:nvSpPr>
              <p:spPr bwMode="auto">
                <a:xfrm>
                  <a:off x="4027003" y="4897910"/>
                  <a:ext cx="242231" cy="92333"/>
                </a:xfrm>
                <a:prstGeom prst="rect">
                  <a:avLst/>
                </a:prstGeom>
                <a:grp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ACADI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43" name="Rectangle 626">
                  <a:extLst>
                    <a:ext uri="{FF2B5EF4-FFF2-40B4-BE49-F238E27FC236}">
                      <a16:creationId xmlns:a16="http://schemas.microsoft.com/office/drawing/2014/main" id="{1AF92966-CEC0-8E73-CC42-8DA5370E53D2}"/>
                    </a:ext>
                  </a:extLst>
                </p:cNvPr>
                <p:cNvSpPr>
                  <a:spLocks noChangeArrowheads="1"/>
                </p:cNvSpPr>
                <p:nvPr/>
              </p:nvSpPr>
              <p:spPr bwMode="auto">
                <a:xfrm>
                  <a:off x="4114446" y="5512870"/>
                  <a:ext cx="430172" cy="99672"/>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VERMILI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44" name="Rectangle 628">
                  <a:extLst>
                    <a:ext uri="{FF2B5EF4-FFF2-40B4-BE49-F238E27FC236}">
                      <a16:creationId xmlns:a16="http://schemas.microsoft.com/office/drawing/2014/main" id="{B94C175B-025B-B964-CC33-FC0430CE707F}"/>
                    </a:ext>
                  </a:extLst>
                </p:cNvPr>
                <p:cNvSpPr>
                  <a:spLocks noChangeArrowheads="1"/>
                </p:cNvSpPr>
                <p:nvPr/>
              </p:nvSpPr>
              <p:spPr bwMode="auto">
                <a:xfrm>
                  <a:off x="5002678" y="4877841"/>
                  <a:ext cx="92618" cy="92333"/>
                </a:xfrm>
                <a:prstGeom prst="rect">
                  <a:avLst/>
                </a:prstGeom>
                <a:grp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S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45" name="Rectangle 631">
                  <a:extLst>
                    <a:ext uri="{FF2B5EF4-FFF2-40B4-BE49-F238E27FC236}">
                      <a16:creationId xmlns:a16="http://schemas.microsoft.com/office/drawing/2014/main" id="{40CE03D8-1DFB-BF2E-C0CF-6CD275F158D3}"/>
                    </a:ext>
                  </a:extLst>
                </p:cNvPr>
                <p:cNvSpPr>
                  <a:spLocks noChangeArrowheads="1"/>
                </p:cNvSpPr>
                <p:nvPr/>
              </p:nvSpPr>
              <p:spPr bwMode="auto">
                <a:xfrm>
                  <a:off x="5427731" y="5689185"/>
                  <a:ext cx="92618" cy="92333"/>
                </a:xfrm>
                <a:prstGeom prst="rect">
                  <a:avLst/>
                </a:prstGeom>
                <a:grp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S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46" name="Rectangle 632">
                  <a:extLst>
                    <a:ext uri="{FF2B5EF4-FFF2-40B4-BE49-F238E27FC236}">
                      <a16:creationId xmlns:a16="http://schemas.microsoft.com/office/drawing/2014/main" id="{27983F05-5517-1D27-9DC5-1519B38DC176}"/>
                    </a:ext>
                  </a:extLst>
                </p:cNvPr>
                <p:cNvSpPr>
                  <a:spLocks noChangeArrowheads="1"/>
                </p:cNvSpPr>
                <p:nvPr/>
              </p:nvSpPr>
              <p:spPr bwMode="auto">
                <a:xfrm>
                  <a:off x="5384498" y="5781634"/>
                  <a:ext cx="188798" cy="92333"/>
                </a:xfrm>
                <a:prstGeom prst="rect">
                  <a:avLst/>
                </a:prstGeom>
                <a:grp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MARY</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47" name="Rectangle 699">
                  <a:extLst>
                    <a:ext uri="{FF2B5EF4-FFF2-40B4-BE49-F238E27FC236}">
                      <a16:creationId xmlns:a16="http://schemas.microsoft.com/office/drawing/2014/main" id="{53011577-3512-CF39-7CA5-5034DD292D90}"/>
                    </a:ext>
                  </a:extLst>
                </p:cNvPr>
                <p:cNvSpPr>
                  <a:spLocks noChangeArrowheads="1"/>
                </p:cNvSpPr>
                <p:nvPr/>
              </p:nvSpPr>
              <p:spPr bwMode="auto">
                <a:xfrm rot="1444544">
                  <a:off x="4870301" y="5961799"/>
                  <a:ext cx="172769" cy="76944"/>
                </a:xfrm>
                <a:prstGeom prst="rect">
                  <a:avLst/>
                </a:prstGeom>
                <a:grpFill/>
                <a:ln w="9525">
                  <a:solidFill>
                    <a:schemeClr val="bg1">
                      <a:lumMod val="85000"/>
                    </a:schemeClr>
                  </a:solidFill>
                  <a:miter lim="800000"/>
                  <a:headEnd/>
                  <a:tailEnd/>
                </a:ln>
                <a:effec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prstClr val="black"/>
                      </a:solidFill>
                      <a:effectLst/>
                      <a:uLnTx/>
                      <a:uFillTx/>
                      <a:latin typeface="Calibri"/>
                      <a:ea typeface="+mn-ea"/>
                      <a:cs typeface="+mn-cs"/>
                    </a:rPr>
                    <a:t>IBERIA</a:t>
                  </a:r>
                  <a:endParaRPr kumimoji="0" lang="en-US" sz="2160" b="0" i="0" u="none" strike="noStrike" kern="1200" cap="none" spc="0" normalizeH="0" baseline="0" noProof="0">
                    <a:ln>
                      <a:noFill/>
                    </a:ln>
                    <a:solidFill>
                      <a:prstClr val="black"/>
                    </a:solidFill>
                    <a:effectLst/>
                    <a:uLnTx/>
                    <a:uFillTx/>
                    <a:latin typeface="Calibri"/>
                    <a:ea typeface="+mn-ea"/>
                    <a:cs typeface="+mn-cs"/>
                  </a:endParaRPr>
                </a:p>
              </p:txBody>
            </p:sp>
          </p:grpSp>
          <p:sp>
            <p:nvSpPr>
              <p:cNvPr id="517" name="Rectangle 288">
                <a:extLst>
                  <a:ext uri="{FF2B5EF4-FFF2-40B4-BE49-F238E27FC236}">
                    <a16:creationId xmlns:a16="http://schemas.microsoft.com/office/drawing/2014/main" id="{4DF149C9-ED86-E4A5-A798-5365AFEC3F16}"/>
                  </a:ext>
                </a:extLst>
              </p:cNvPr>
              <p:cNvSpPr>
                <a:spLocks noChangeArrowheads="1"/>
              </p:cNvSpPr>
              <p:nvPr/>
            </p:nvSpPr>
            <p:spPr bwMode="auto">
              <a:xfrm>
                <a:off x="4932957" y="4960982"/>
                <a:ext cx="258262" cy="92333"/>
              </a:xfrm>
              <a:prstGeom prst="rect">
                <a:avLst/>
              </a:prstGeom>
              <a:grp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MARTI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253" name="Rectangle 294">
              <a:extLst>
                <a:ext uri="{FF2B5EF4-FFF2-40B4-BE49-F238E27FC236}">
                  <a16:creationId xmlns:a16="http://schemas.microsoft.com/office/drawing/2014/main" id="{864D14B1-55BA-865D-7F30-86705A29DF6B}"/>
                </a:ext>
              </a:extLst>
            </p:cNvPr>
            <p:cNvSpPr>
              <a:spLocks noChangeArrowheads="1"/>
            </p:cNvSpPr>
            <p:nvPr/>
          </p:nvSpPr>
          <p:spPr bwMode="auto">
            <a:xfrm>
              <a:off x="4811613" y="4080650"/>
              <a:ext cx="36304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WASHINGT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54" name="Rectangle 295">
              <a:extLst>
                <a:ext uri="{FF2B5EF4-FFF2-40B4-BE49-F238E27FC236}">
                  <a16:creationId xmlns:a16="http://schemas.microsoft.com/office/drawing/2014/main" id="{DFD31AD2-6DE0-EB34-01E6-A6BE8A5E6A60}"/>
                </a:ext>
              </a:extLst>
            </p:cNvPr>
            <p:cNvSpPr>
              <a:spLocks noChangeArrowheads="1"/>
            </p:cNvSpPr>
            <p:nvPr/>
          </p:nvSpPr>
          <p:spPr bwMode="auto">
            <a:xfrm>
              <a:off x="3786270" y="4454505"/>
              <a:ext cx="105768"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EAST</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55" name="Rectangle 296">
              <a:extLst>
                <a:ext uri="{FF2B5EF4-FFF2-40B4-BE49-F238E27FC236}">
                  <a16:creationId xmlns:a16="http://schemas.microsoft.com/office/drawing/2014/main" id="{29AB28C9-61B2-AB84-B23E-EC188668FBE9}"/>
                </a:ext>
              </a:extLst>
            </p:cNvPr>
            <p:cNvSpPr>
              <a:spLocks noChangeArrowheads="1"/>
            </p:cNvSpPr>
            <p:nvPr/>
          </p:nvSpPr>
          <p:spPr bwMode="auto">
            <a:xfrm>
              <a:off x="3800677" y="4509719"/>
              <a:ext cx="151506"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BAT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56" name="Rectangle 297">
              <a:extLst>
                <a:ext uri="{FF2B5EF4-FFF2-40B4-BE49-F238E27FC236}">
                  <a16:creationId xmlns:a16="http://schemas.microsoft.com/office/drawing/2014/main" id="{331751DE-22A5-0778-74B1-F19FA0F20306}"/>
                </a:ext>
              </a:extLst>
            </p:cNvPr>
            <p:cNvSpPr>
              <a:spLocks noChangeArrowheads="1"/>
            </p:cNvSpPr>
            <p:nvPr/>
          </p:nvSpPr>
          <p:spPr bwMode="auto">
            <a:xfrm>
              <a:off x="3813654" y="4566086"/>
              <a:ext cx="154364"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ROUG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57" name="Rectangle 298">
              <a:extLst>
                <a:ext uri="{FF2B5EF4-FFF2-40B4-BE49-F238E27FC236}">
                  <a16:creationId xmlns:a16="http://schemas.microsoft.com/office/drawing/2014/main" id="{D28CA2D8-6169-78FE-DD75-81138CCFBEE0}"/>
                </a:ext>
              </a:extLst>
            </p:cNvPr>
            <p:cNvSpPr>
              <a:spLocks noChangeArrowheads="1"/>
            </p:cNvSpPr>
            <p:nvPr/>
          </p:nvSpPr>
          <p:spPr bwMode="auto">
            <a:xfrm>
              <a:off x="4097461" y="4599631"/>
              <a:ext cx="311588"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LIVINGST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58" name="Rectangle 301">
              <a:extLst>
                <a:ext uri="{FF2B5EF4-FFF2-40B4-BE49-F238E27FC236}">
                  <a16:creationId xmlns:a16="http://schemas.microsoft.com/office/drawing/2014/main" id="{6B3E969E-34B1-2556-FD8B-6F857097BCDF}"/>
                </a:ext>
              </a:extLst>
            </p:cNvPr>
            <p:cNvSpPr>
              <a:spLocks noChangeArrowheads="1"/>
            </p:cNvSpPr>
            <p:nvPr/>
          </p:nvSpPr>
          <p:spPr bwMode="auto">
            <a:xfrm>
              <a:off x="3538403" y="4918087"/>
              <a:ext cx="244411" cy="74095"/>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IBERVILL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59" name="Rectangle 302">
              <a:extLst>
                <a:ext uri="{FF2B5EF4-FFF2-40B4-BE49-F238E27FC236}">
                  <a16:creationId xmlns:a16="http://schemas.microsoft.com/office/drawing/2014/main" id="{9CB4A51C-312D-C2D4-E5BC-2D96E45A9880}"/>
                </a:ext>
              </a:extLst>
            </p:cNvPr>
            <p:cNvSpPr>
              <a:spLocks noChangeArrowheads="1"/>
            </p:cNvSpPr>
            <p:nvPr/>
          </p:nvSpPr>
          <p:spPr bwMode="auto">
            <a:xfrm>
              <a:off x="3562558" y="4540779"/>
              <a:ext cx="121491"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WEST</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60" name="Rectangle 303">
              <a:extLst>
                <a:ext uri="{FF2B5EF4-FFF2-40B4-BE49-F238E27FC236}">
                  <a16:creationId xmlns:a16="http://schemas.microsoft.com/office/drawing/2014/main" id="{F43B56D0-27AE-703F-0C04-3F12C5EB9470}"/>
                </a:ext>
              </a:extLst>
            </p:cNvPr>
            <p:cNvSpPr>
              <a:spLocks noChangeArrowheads="1"/>
            </p:cNvSpPr>
            <p:nvPr/>
          </p:nvSpPr>
          <p:spPr bwMode="auto">
            <a:xfrm>
              <a:off x="3570612" y="4598295"/>
              <a:ext cx="151506"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BAT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61" name="Rectangle 304">
              <a:extLst>
                <a:ext uri="{FF2B5EF4-FFF2-40B4-BE49-F238E27FC236}">
                  <a16:creationId xmlns:a16="http://schemas.microsoft.com/office/drawing/2014/main" id="{B692060B-4337-084D-F28D-5B9ACA5A6E85}"/>
                </a:ext>
              </a:extLst>
            </p:cNvPr>
            <p:cNvSpPr>
              <a:spLocks noChangeArrowheads="1"/>
            </p:cNvSpPr>
            <p:nvPr/>
          </p:nvSpPr>
          <p:spPr bwMode="auto">
            <a:xfrm>
              <a:off x="3583590" y="4653511"/>
              <a:ext cx="154364"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ROUG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62" name="Rectangle 305">
              <a:extLst>
                <a:ext uri="{FF2B5EF4-FFF2-40B4-BE49-F238E27FC236}">
                  <a16:creationId xmlns:a16="http://schemas.microsoft.com/office/drawing/2014/main" id="{F885C66A-A363-8576-2529-1D7C2C5D59AF}"/>
                </a:ext>
              </a:extLst>
            </p:cNvPr>
            <p:cNvSpPr>
              <a:spLocks noChangeArrowheads="1"/>
            </p:cNvSpPr>
            <p:nvPr/>
          </p:nvSpPr>
          <p:spPr bwMode="auto">
            <a:xfrm>
              <a:off x="3988181" y="4912334"/>
              <a:ext cx="244411" cy="61746"/>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ASCENSI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263" name="Rectangle 342">
              <a:extLst>
                <a:ext uri="{FF2B5EF4-FFF2-40B4-BE49-F238E27FC236}">
                  <a16:creationId xmlns:a16="http://schemas.microsoft.com/office/drawing/2014/main" id="{5DA3BC55-4A30-9486-89F0-238BF4AA6BAE}"/>
                </a:ext>
              </a:extLst>
            </p:cNvPr>
            <p:cNvSpPr>
              <a:spLocks noChangeArrowheads="1"/>
            </p:cNvSpPr>
            <p:nvPr/>
          </p:nvSpPr>
          <p:spPr bwMode="auto">
            <a:xfrm>
              <a:off x="3762365" y="5206816"/>
              <a:ext cx="288719" cy="61746"/>
            </a:xfrm>
            <a:prstGeom prst="rect">
              <a:avLst/>
            </a:prstGeom>
            <a:solidFill>
              <a:schemeClr val="bg1">
                <a:lumMod val="85000"/>
              </a:schemeClr>
            </a:solid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ASSUMPTI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grpSp>
          <p:nvGrpSpPr>
            <p:cNvPr id="264" name="Group 345">
              <a:extLst>
                <a:ext uri="{FF2B5EF4-FFF2-40B4-BE49-F238E27FC236}">
                  <a16:creationId xmlns:a16="http://schemas.microsoft.com/office/drawing/2014/main" id="{3D28E2B8-0642-432A-48CB-28DF9AE31BFE}"/>
                </a:ext>
              </a:extLst>
            </p:cNvPr>
            <p:cNvGrpSpPr>
              <a:grpSpLocks/>
            </p:cNvGrpSpPr>
            <p:nvPr/>
          </p:nvGrpSpPr>
          <p:grpSpPr bwMode="auto">
            <a:xfrm>
              <a:off x="640737" y="1633911"/>
              <a:ext cx="659136" cy="967423"/>
              <a:chOff x="152" y="196"/>
              <a:chExt cx="573" cy="841"/>
            </a:xfrm>
            <a:solidFill>
              <a:schemeClr val="bg1">
                <a:lumMod val="85000"/>
              </a:schemeClr>
            </a:solidFill>
          </p:grpSpPr>
          <p:sp>
            <p:nvSpPr>
              <p:cNvPr id="514" name="Freeform 346">
                <a:extLst>
                  <a:ext uri="{FF2B5EF4-FFF2-40B4-BE49-F238E27FC236}">
                    <a16:creationId xmlns:a16="http://schemas.microsoft.com/office/drawing/2014/main" id="{DCE27705-C2FF-A494-1087-B35833FF2E96}"/>
                  </a:ext>
                </a:extLst>
              </p:cNvPr>
              <p:cNvSpPr>
                <a:spLocks/>
              </p:cNvSpPr>
              <p:nvPr/>
            </p:nvSpPr>
            <p:spPr bwMode="auto">
              <a:xfrm>
                <a:off x="152" y="196"/>
                <a:ext cx="573" cy="841"/>
              </a:xfrm>
              <a:custGeom>
                <a:avLst/>
                <a:gdLst/>
                <a:ahLst/>
                <a:cxnLst>
                  <a:cxn ang="0">
                    <a:pos x="29" y="0"/>
                  </a:cxn>
                  <a:cxn ang="0">
                    <a:pos x="229" y="0"/>
                  </a:cxn>
                  <a:cxn ang="0">
                    <a:pos x="257" y="299"/>
                  </a:cxn>
                  <a:cxn ang="0">
                    <a:pos x="314" y="542"/>
                  </a:cxn>
                  <a:cxn ang="0">
                    <a:pos x="400" y="678"/>
                  </a:cxn>
                  <a:cxn ang="0">
                    <a:pos x="573" y="814"/>
                  </a:cxn>
                  <a:cxn ang="0">
                    <a:pos x="429" y="814"/>
                  </a:cxn>
                  <a:cxn ang="0">
                    <a:pos x="372" y="733"/>
                  </a:cxn>
                  <a:cxn ang="0">
                    <a:pos x="229" y="705"/>
                  </a:cxn>
                  <a:cxn ang="0">
                    <a:pos x="114" y="841"/>
                  </a:cxn>
                  <a:cxn ang="0">
                    <a:pos x="0" y="841"/>
                  </a:cxn>
                  <a:cxn ang="0">
                    <a:pos x="29" y="0"/>
                  </a:cxn>
                </a:cxnLst>
                <a:rect l="0" t="0" r="r" b="b"/>
                <a:pathLst>
                  <a:path w="573" h="841">
                    <a:moveTo>
                      <a:pt x="29" y="0"/>
                    </a:moveTo>
                    <a:lnTo>
                      <a:pt x="229" y="0"/>
                    </a:lnTo>
                    <a:lnTo>
                      <a:pt x="257" y="299"/>
                    </a:lnTo>
                    <a:lnTo>
                      <a:pt x="314" y="542"/>
                    </a:lnTo>
                    <a:lnTo>
                      <a:pt x="400" y="678"/>
                    </a:lnTo>
                    <a:lnTo>
                      <a:pt x="573" y="814"/>
                    </a:lnTo>
                    <a:lnTo>
                      <a:pt x="429" y="814"/>
                    </a:lnTo>
                    <a:lnTo>
                      <a:pt x="372" y="733"/>
                    </a:lnTo>
                    <a:lnTo>
                      <a:pt x="229" y="705"/>
                    </a:lnTo>
                    <a:lnTo>
                      <a:pt x="114" y="841"/>
                    </a:lnTo>
                    <a:lnTo>
                      <a:pt x="0" y="841"/>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15" name="Freeform 347">
                <a:extLst>
                  <a:ext uri="{FF2B5EF4-FFF2-40B4-BE49-F238E27FC236}">
                    <a16:creationId xmlns:a16="http://schemas.microsoft.com/office/drawing/2014/main" id="{4BA00D20-BE60-C684-588D-13CDFAA5E432}"/>
                  </a:ext>
                </a:extLst>
              </p:cNvPr>
              <p:cNvSpPr>
                <a:spLocks/>
              </p:cNvSpPr>
              <p:nvPr/>
            </p:nvSpPr>
            <p:spPr bwMode="auto">
              <a:xfrm>
                <a:off x="152" y="196"/>
                <a:ext cx="573" cy="841"/>
              </a:xfrm>
              <a:custGeom>
                <a:avLst/>
                <a:gdLst/>
                <a:ahLst/>
                <a:cxnLst>
                  <a:cxn ang="0">
                    <a:pos x="29" y="0"/>
                  </a:cxn>
                  <a:cxn ang="0">
                    <a:pos x="229" y="0"/>
                  </a:cxn>
                  <a:cxn ang="0">
                    <a:pos x="257" y="299"/>
                  </a:cxn>
                  <a:cxn ang="0">
                    <a:pos x="314" y="542"/>
                  </a:cxn>
                  <a:cxn ang="0">
                    <a:pos x="400" y="678"/>
                  </a:cxn>
                  <a:cxn ang="0">
                    <a:pos x="573" y="814"/>
                  </a:cxn>
                  <a:cxn ang="0">
                    <a:pos x="429" y="814"/>
                  </a:cxn>
                  <a:cxn ang="0">
                    <a:pos x="372" y="733"/>
                  </a:cxn>
                  <a:cxn ang="0">
                    <a:pos x="229" y="705"/>
                  </a:cxn>
                  <a:cxn ang="0">
                    <a:pos x="114" y="841"/>
                  </a:cxn>
                  <a:cxn ang="0">
                    <a:pos x="0" y="841"/>
                  </a:cxn>
                  <a:cxn ang="0">
                    <a:pos x="29" y="0"/>
                  </a:cxn>
                </a:cxnLst>
                <a:rect l="0" t="0" r="r" b="b"/>
                <a:pathLst>
                  <a:path w="573" h="841">
                    <a:moveTo>
                      <a:pt x="29" y="0"/>
                    </a:moveTo>
                    <a:lnTo>
                      <a:pt x="229" y="0"/>
                    </a:lnTo>
                    <a:lnTo>
                      <a:pt x="257" y="299"/>
                    </a:lnTo>
                    <a:lnTo>
                      <a:pt x="314" y="542"/>
                    </a:lnTo>
                    <a:lnTo>
                      <a:pt x="400" y="678"/>
                    </a:lnTo>
                    <a:lnTo>
                      <a:pt x="573" y="814"/>
                    </a:lnTo>
                    <a:lnTo>
                      <a:pt x="429" y="814"/>
                    </a:lnTo>
                    <a:lnTo>
                      <a:pt x="372" y="733"/>
                    </a:lnTo>
                    <a:lnTo>
                      <a:pt x="229" y="705"/>
                    </a:lnTo>
                    <a:lnTo>
                      <a:pt x="114" y="841"/>
                    </a:lnTo>
                    <a:lnTo>
                      <a:pt x="0" y="841"/>
                    </a:lnTo>
                    <a:lnTo>
                      <a:pt x="29"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65" name="Group 348">
              <a:extLst>
                <a:ext uri="{FF2B5EF4-FFF2-40B4-BE49-F238E27FC236}">
                  <a16:creationId xmlns:a16="http://schemas.microsoft.com/office/drawing/2014/main" id="{D96447B3-BB0A-CCFE-86A8-EE816214CB21}"/>
                </a:ext>
              </a:extLst>
            </p:cNvPr>
            <p:cNvGrpSpPr>
              <a:grpSpLocks/>
            </p:cNvGrpSpPr>
            <p:nvPr/>
          </p:nvGrpSpPr>
          <p:grpSpPr bwMode="auto">
            <a:xfrm>
              <a:off x="903010" y="1633909"/>
              <a:ext cx="462431" cy="936364"/>
              <a:chOff x="380" y="196"/>
              <a:chExt cx="402" cy="814"/>
            </a:xfrm>
            <a:solidFill>
              <a:srgbClr val="D9D9D9"/>
            </a:solidFill>
          </p:grpSpPr>
          <p:sp>
            <p:nvSpPr>
              <p:cNvPr id="512" name="Freeform 349">
                <a:extLst>
                  <a:ext uri="{FF2B5EF4-FFF2-40B4-BE49-F238E27FC236}">
                    <a16:creationId xmlns:a16="http://schemas.microsoft.com/office/drawing/2014/main" id="{F4BE80AE-4996-850A-D5AE-EAA5FB6678C4}"/>
                  </a:ext>
                </a:extLst>
              </p:cNvPr>
              <p:cNvSpPr>
                <a:spLocks/>
              </p:cNvSpPr>
              <p:nvPr/>
            </p:nvSpPr>
            <p:spPr bwMode="auto">
              <a:xfrm>
                <a:off x="380" y="196"/>
                <a:ext cx="402" cy="814"/>
              </a:xfrm>
              <a:custGeom>
                <a:avLst/>
                <a:gdLst/>
                <a:ahLst/>
                <a:cxnLst>
                  <a:cxn ang="0">
                    <a:pos x="0" y="0"/>
                  </a:cxn>
                  <a:cxn ang="0">
                    <a:pos x="29" y="299"/>
                  </a:cxn>
                  <a:cxn ang="0">
                    <a:pos x="86" y="542"/>
                  </a:cxn>
                  <a:cxn ang="0">
                    <a:pos x="172" y="678"/>
                  </a:cxn>
                  <a:cxn ang="0">
                    <a:pos x="345" y="814"/>
                  </a:cxn>
                  <a:cxn ang="0">
                    <a:pos x="373" y="814"/>
                  </a:cxn>
                  <a:cxn ang="0">
                    <a:pos x="373" y="678"/>
                  </a:cxn>
                  <a:cxn ang="0">
                    <a:pos x="402" y="651"/>
                  </a:cxn>
                  <a:cxn ang="0">
                    <a:pos x="345" y="651"/>
                  </a:cxn>
                  <a:cxn ang="0">
                    <a:pos x="345" y="272"/>
                  </a:cxn>
                  <a:cxn ang="0">
                    <a:pos x="316" y="272"/>
                  </a:cxn>
                  <a:cxn ang="0">
                    <a:pos x="345" y="190"/>
                  </a:cxn>
                  <a:cxn ang="0">
                    <a:pos x="287" y="54"/>
                  </a:cxn>
                  <a:cxn ang="0">
                    <a:pos x="316" y="0"/>
                  </a:cxn>
                  <a:cxn ang="0">
                    <a:pos x="0" y="0"/>
                  </a:cxn>
                </a:cxnLst>
                <a:rect l="0" t="0" r="r" b="b"/>
                <a:pathLst>
                  <a:path w="402" h="814">
                    <a:moveTo>
                      <a:pt x="0" y="0"/>
                    </a:moveTo>
                    <a:lnTo>
                      <a:pt x="29" y="299"/>
                    </a:lnTo>
                    <a:lnTo>
                      <a:pt x="86" y="542"/>
                    </a:lnTo>
                    <a:lnTo>
                      <a:pt x="172" y="678"/>
                    </a:lnTo>
                    <a:lnTo>
                      <a:pt x="345" y="814"/>
                    </a:lnTo>
                    <a:lnTo>
                      <a:pt x="373" y="814"/>
                    </a:lnTo>
                    <a:lnTo>
                      <a:pt x="373" y="678"/>
                    </a:lnTo>
                    <a:lnTo>
                      <a:pt x="402" y="651"/>
                    </a:lnTo>
                    <a:lnTo>
                      <a:pt x="345" y="651"/>
                    </a:lnTo>
                    <a:lnTo>
                      <a:pt x="345" y="272"/>
                    </a:lnTo>
                    <a:lnTo>
                      <a:pt x="316" y="272"/>
                    </a:lnTo>
                    <a:lnTo>
                      <a:pt x="345" y="190"/>
                    </a:lnTo>
                    <a:lnTo>
                      <a:pt x="287" y="54"/>
                    </a:lnTo>
                    <a:lnTo>
                      <a:pt x="316"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13" name="Freeform 350">
                <a:extLst>
                  <a:ext uri="{FF2B5EF4-FFF2-40B4-BE49-F238E27FC236}">
                    <a16:creationId xmlns:a16="http://schemas.microsoft.com/office/drawing/2014/main" id="{01BCA065-3095-3D89-01F1-AC26E57D346D}"/>
                  </a:ext>
                </a:extLst>
              </p:cNvPr>
              <p:cNvSpPr>
                <a:spLocks/>
              </p:cNvSpPr>
              <p:nvPr/>
            </p:nvSpPr>
            <p:spPr bwMode="auto">
              <a:xfrm>
                <a:off x="380" y="196"/>
                <a:ext cx="402" cy="814"/>
              </a:xfrm>
              <a:custGeom>
                <a:avLst/>
                <a:gdLst/>
                <a:ahLst/>
                <a:cxnLst>
                  <a:cxn ang="0">
                    <a:pos x="0" y="0"/>
                  </a:cxn>
                  <a:cxn ang="0">
                    <a:pos x="29" y="299"/>
                  </a:cxn>
                  <a:cxn ang="0">
                    <a:pos x="86" y="542"/>
                  </a:cxn>
                  <a:cxn ang="0">
                    <a:pos x="172" y="678"/>
                  </a:cxn>
                  <a:cxn ang="0">
                    <a:pos x="345" y="814"/>
                  </a:cxn>
                  <a:cxn ang="0">
                    <a:pos x="373" y="814"/>
                  </a:cxn>
                  <a:cxn ang="0">
                    <a:pos x="373" y="678"/>
                  </a:cxn>
                  <a:cxn ang="0">
                    <a:pos x="402" y="651"/>
                  </a:cxn>
                  <a:cxn ang="0">
                    <a:pos x="345" y="651"/>
                  </a:cxn>
                  <a:cxn ang="0">
                    <a:pos x="345" y="272"/>
                  </a:cxn>
                  <a:cxn ang="0">
                    <a:pos x="316" y="272"/>
                  </a:cxn>
                  <a:cxn ang="0">
                    <a:pos x="345" y="190"/>
                  </a:cxn>
                  <a:cxn ang="0">
                    <a:pos x="287" y="54"/>
                  </a:cxn>
                  <a:cxn ang="0">
                    <a:pos x="316" y="0"/>
                  </a:cxn>
                  <a:cxn ang="0">
                    <a:pos x="0" y="0"/>
                  </a:cxn>
                </a:cxnLst>
                <a:rect l="0" t="0" r="r" b="b"/>
                <a:pathLst>
                  <a:path w="402" h="814">
                    <a:moveTo>
                      <a:pt x="0" y="0"/>
                    </a:moveTo>
                    <a:lnTo>
                      <a:pt x="29" y="299"/>
                    </a:lnTo>
                    <a:lnTo>
                      <a:pt x="86" y="542"/>
                    </a:lnTo>
                    <a:lnTo>
                      <a:pt x="172" y="678"/>
                    </a:lnTo>
                    <a:lnTo>
                      <a:pt x="345" y="814"/>
                    </a:lnTo>
                    <a:lnTo>
                      <a:pt x="373" y="814"/>
                    </a:lnTo>
                    <a:lnTo>
                      <a:pt x="373" y="678"/>
                    </a:lnTo>
                    <a:lnTo>
                      <a:pt x="402" y="651"/>
                    </a:lnTo>
                    <a:lnTo>
                      <a:pt x="345" y="651"/>
                    </a:lnTo>
                    <a:lnTo>
                      <a:pt x="345" y="272"/>
                    </a:lnTo>
                    <a:lnTo>
                      <a:pt x="316" y="272"/>
                    </a:lnTo>
                    <a:lnTo>
                      <a:pt x="345" y="190"/>
                    </a:lnTo>
                    <a:lnTo>
                      <a:pt x="287" y="54"/>
                    </a:lnTo>
                    <a:lnTo>
                      <a:pt x="316"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66" name="Group 351">
              <a:extLst>
                <a:ext uri="{FF2B5EF4-FFF2-40B4-BE49-F238E27FC236}">
                  <a16:creationId xmlns:a16="http://schemas.microsoft.com/office/drawing/2014/main" id="{D08509E3-6977-7641-879A-3AAC070D3F01}"/>
                </a:ext>
              </a:extLst>
            </p:cNvPr>
            <p:cNvGrpSpPr>
              <a:grpSpLocks/>
            </p:cNvGrpSpPr>
            <p:nvPr/>
          </p:nvGrpSpPr>
          <p:grpSpPr bwMode="auto">
            <a:xfrm>
              <a:off x="1233154" y="1633911"/>
              <a:ext cx="396861" cy="750012"/>
              <a:chOff x="667" y="196"/>
              <a:chExt cx="345" cy="652"/>
            </a:xfrm>
            <a:solidFill>
              <a:schemeClr val="bg1">
                <a:lumMod val="85000"/>
              </a:schemeClr>
            </a:solidFill>
          </p:grpSpPr>
          <p:sp>
            <p:nvSpPr>
              <p:cNvPr id="510" name="Freeform 352">
                <a:extLst>
                  <a:ext uri="{FF2B5EF4-FFF2-40B4-BE49-F238E27FC236}">
                    <a16:creationId xmlns:a16="http://schemas.microsoft.com/office/drawing/2014/main" id="{9C264D09-B752-CFED-2DFB-32128B05E7D6}"/>
                  </a:ext>
                </a:extLst>
              </p:cNvPr>
              <p:cNvSpPr>
                <a:spLocks/>
              </p:cNvSpPr>
              <p:nvPr/>
            </p:nvSpPr>
            <p:spPr bwMode="auto">
              <a:xfrm>
                <a:off x="667" y="196"/>
                <a:ext cx="345" cy="652"/>
              </a:xfrm>
              <a:custGeom>
                <a:avLst/>
                <a:gdLst/>
                <a:ahLst/>
                <a:cxnLst>
                  <a:cxn ang="0">
                    <a:pos x="29" y="0"/>
                  </a:cxn>
                  <a:cxn ang="0">
                    <a:pos x="0" y="54"/>
                  </a:cxn>
                  <a:cxn ang="0">
                    <a:pos x="58" y="190"/>
                  </a:cxn>
                  <a:cxn ang="0">
                    <a:pos x="29" y="272"/>
                  </a:cxn>
                  <a:cxn ang="0">
                    <a:pos x="58" y="272"/>
                  </a:cxn>
                  <a:cxn ang="0">
                    <a:pos x="58" y="652"/>
                  </a:cxn>
                  <a:cxn ang="0">
                    <a:pos x="259" y="652"/>
                  </a:cxn>
                  <a:cxn ang="0">
                    <a:pos x="259" y="597"/>
                  </a:cxn>
                  <a:cxn ang="0">
                    <a:pos x="345" y="597"/>
                  </a:cxn>
                  <a:cxn ang="0">
                    <a:pos x="316" y="461"/>
                  </a:cxn>
                  <a:cxn ang="0">
                    <a:pos x="316" y="326"/>
                  </a:cxn>
                  <a:cxn ang="0">
                    <a:pos x="259" y="326"/>
                  </a:cxn>
                  <a:cxn ang="0">
                    <a:pos x="259" y="0"/>
                  </a:cxn>
                  <a:cxn ang="0">
                    <a:pos x="29" y="0"/>
                  </a:cxn>
                </a:cxnLst>
                <a:rect l="0" t="0" r="r" b="b"/>
                <a:pathLst>
                  <a:path w="345" h="652">
                    <a:moveTo>
                      <a:pt x="29" y="0"/>
                    </a:moveTo>
                    <a:lnTo>
                      <a:pt x="0" y="54"/>
                    </a:lnTo>
                    <a:lnTo>
                      <a:pt x="58" y="190"/>
                    </a:lnTo>
                    <a:lnTo>
                      <a:pt x="29" y="272"/>
                    </a:lnTo>
                    <a:lnTo>
                      <a:pt x="58" y="272"/>
                    </a:lnTo>
                    <a:lnTo>
                      <a:pt x="58" y="652"/>
                    </a:lnTo>
                    <a:lnTo>
                      <a:pt x="259" y="652"/>
                    </a:lnTo>
                    <a:lnTo>
                      <a:pt x="259" y="597"/>
                    </a:lnTo>
                    <a:lnTo>
                      <a:pt x="345" y="597"/>
                    </a:lnTo>
                    <a:lnTo>
                      <a:pt x="316" y="461"/>
                    </a:lnTo>
                    <a:lnTo>
                      <a:pt x="316" y="326"/>
                    </a:lnTo>
                    <a:lnTo>
                      <a:pt x="259" y="326"/>
                    </a:lnTo>
                    <a:lnTo>
                      <a:pt x="259" y="0"/>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11" name="Freeform 353">
                <a:extLst>
                  <a:ext uri="{FF2B5EF4-FFF2-40B4-BE49-F238E27FC236}">
                    <a16:creationId xmlns:a16="http://schemas.microsoft.com/office/drawing/2014/main" id="{5FA0971B-8C33-9B7A-3086-D97E65CCD8D4}"/>
                  </a:ext>
                </a:extLst>
              </p:cNvPr>
              <p:cNvSpPr>
                <a:spLocks/>
              </p:cNvSpPr>
              <p:nvPr/>
            </p:nvSpPr>
            <p:spPr bwMode="auto">
              <a:xfrm>
                <a:off x="667" y="196"/>
                <a:ext cx="345" cy="652"/>
              </a:xfrm>
              <a:custGeom>
                <a:avLst/>
                <a:gdLst/>
                <a:ahLst/>
                <a:cxnLst>
                  <a:cxn ang="0">
                    <a:pos x="29" y="0"/>
                  </a:cxn>
                  <a:cxn ang="0">
                    <a:pos x="0" y="54"/>
                  </a:cxn>
                  <a:cxn ang="0">
                    <a:pos x="58" y="190"/>
                  </a:cxn>
                  <a:cxn ang="0">
                    <a:pos x="29" y="272"/>
                  </a:cxn>
                  <a:cxn ang="0">
                    <a:pos x="58" y="272"/>
                  </a:cxn>
                  <a:cxn ang="0">
                    <a:pos x="58" y="652"/>
                  </a:cxn>
                  <a:cxn ang="0">
                    <a:pos x="259" y="652"/>
                  </a:cxn>
                  <a:cxn ang="0">
                    <a:pos x="259" y="597"/>
                  </a:cxn>
                  <a:cxn ang="0">
                    <a:pos x="345" y="597"/>
                  </a:cxn>
                  <a:cxn ang="0">
                    <a:pos x="316" y="461"/>
                  </a:cxn>
                  <a:cxn ang="0">
                    <a:pos x="316" y="326"/>
                  </a:cxn>
                  <a:cxn ang="0">
                    <a:pos x="259" y="326"/>
                  </a:cxn>
                  <a:cxn ang="0">
                    <a:pos x="259" y="0"/>
                  </a:cxn>
                  <a:cxn ang="0">
                    <a:pos x="29" y="0"/>
                  </a:cxn>
                </a:cxnLst>
                <a:rect l="0" t="0" r="r" b="b"/>
                <a:pathLst>
                  <a:path w="345" h="652">
                    <a:moveTo>
                      <a:pt x="29" y="0"/>
                    </a:moveTo>
                    <a:lnTo>
                      <a:pt x="0" y="54"/>
                    </a:lnTo>
                    <a:lnTo>
                      <a:pt x="58" y="190"/>
                    </a:lnTo>
                    <a:lnTo>
                      <a:pt x="29" y="272"/>
                    </a:lnTo>
                    <a:lnTo>
                      <a:pt x="58" y="272"/>
                    </a:lnTo>
                    <a:lnTo>
                      <a:pt x="58" y="652"/>
                    </a:lnTo>
                    <a:lnTo>
                      <a:pt x="259" y="652"/>
                    </a:lnTo>
                    <a:lnTo>
                      <a:pt x="259" y="597"/>
                    </a:lnTo>
                    <a:lnTo>
                      <a:pt x="345" y="597"/>
                    </a:lnTo>
                    <a:lnTo>
                      <a:pt x="316" y="461"/>
                    </a:lnTo>
                    <a:lnTo>
                      <a:pt x="316" y="326"/>
                    </a:lnTo>
                    <a:lnTo>
                      <a:pt x="259" y="326"/>
                    </a:lnTo>
                    <a:lnTo>
                      <a:pt x="259" y="0"/>
                    </a:lnTo>
                    <a:lnTo>
                      <a:pt x="29"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67" name="Group 354">
              <a:extLst>
                <a:ext uri="{FF2B5EF4-FFF2-40B4-BE49-F238E27FC236}">
                  <a16:creationId xmlns:a16="http://schemas.microsoft.com/office/drawing/2014/main" id="{B5A47D1D-6FAB-3E6C-3882-10F0AD03A070}"/>
                </a:ext>
              </a:extLst>
            </p:cNvPr>
            <p:cNvGrpSpPr>
              <a:grpSpLocks/>
            </p:cNvGrpSpPr>
            <p:nvPr/>
          </p:nvGrpSpPr>
          <p:grpSpPr bwMode="auto">
            <a:xfrm>
              <a:off x="1532239" y="1633909"/>
              <a:ext cx="559058" cy="530300"/>
              <a:chOff x="927" y="196"/>
              <a:chExt cx="486" cy="461"/>
            </a:xfrm>
            <a:solidFill>
              <a:schemeClr val="bg1">
                <a:lumMod val="85000"/>
              </a:schemeClr>
            </a:solidFill>
          </p:grpSpPr>
          <p:sp>
            <p:nvSpPr>
              <p:cNvPr id="508" name="Freeform 355">
                <a:extLst>
                  <a:ext uri="{FF2B5EF4-FFF2-40B4-BE49-F238E27FC236}">
                    <a16:creationId xmlns:a16="http://schemas.microsoft.com/office/drawing/2014/main" id="{35ACB68D-881B-885A-DA81-1F2813E9DF8E}"/>
                  </a:ext>
                </a:extLst>
              </p:cNvPr>
              <p:cNvSpPr>
                <a:spLocks/>
              </p:cNvSpPr>
              <p:nvPr/>
            </p:nvSpPr>
            <p:spPr bwMode="auto">
              <a:xfrm>
                <a:off x="927" y="196"/>
                <a:ext cx="486" cy="461"/>
              </a:xfrm>
              <a:custGeom>
                <a:avLst/>
                <a:gdLst/>
                <a:ahLst/>
                <a:cxnLst>
                  <a:cxn ang="0">
                    <a:pos x="0" y="0"/>
                  </a:cxn>
                  <a:cxn ang="0">
                    <a:pos x="0" y="326"/>
                  </a:cxn>
                  <a:cxn ang="0">
                    <a:pos x="57" y="326"/>
                  </a:cxn>
                  <a:cxn ang="0">
                    <a:pos x="57" y="461"/>
                  </a:cxn>
                  <a:cxn ang="0">
                    <a:pos x="343" y="461"/>
                  </a:cxn>
                  <a:cxn ang="0">
                    <a:pos x="343" y="379"/>
                  </a:cxn>
                  <a:cxn ang="0">
                    <a:pos x="371" y="326"/>
                  </a:cxn>
                  <a:cxn ang="0">
                    <a:pos x="371" y="272"/>
                  </a:cxn>
                  <a:cxn ang="0">
                    <a:pos x="486" y="272"/>
                  </a:cxn>
                  <a:cxn ang="0">
                    <a:pos x="486" y="0"/>
                  </a:cxn>
                  <a:cxn ang="0">
                    <a:pos x="0" y="0"/>
                  </a:cxn>
                </a:cxnLst>
                <a:rect l="0" t="0" r="r" b="b"/>
                <a:pathLst>
                  <a:path w="486" h="461">
                    <a:moveTo>
                      <a:pt x="0" y="0"/>
                    </a:moveTo>
                    <a:lnTo>
                      <a:pt x="0" y="326"/>
                    </a:lnTo>
                    <a:lnTo>
                      <a:pt x="57" y="326"/>
                    </a:lnTo>
                    <a:lnTo>
                      <a:pt x="57" y="461"/>
                    </a:lnTo>
                    <a:lnTo>
                      <a:pt x="343" y="461"/>
                    </a:lnTo>
                    <a:lnTo>
                      <a:pt x="343" y="379"/>
                    </a:lnTo>
                    <a:lnTo>
                      <a:pt x="371" y="326"/>
                    </a:lnTo>
                    <a:lnTo>
                      <a:pt x="371" y="272"/>
                    </a:lnTo>
                    <a:lnTo>
                      <a:pt x="486" y="272"/>
                    </a:lnTo>
                    <a:lnTo>
                      <a:pt x="486"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09" name="Freeform 356">
                <a:extLst>
                  <a:ext uri="{FF2B5EF4-FFF2-40B4-BE49-F238E27FC236}">
                    <a16:creationId xmlns:a16="http://schemas.microsoft.com/office/drawing/2014/main" id="{CAF58BD5-5546-10F4-B2A6-C3BE7865339B}"/>
                  </a:ext>
                </a:extLst>
              </p:cNvPr>
              <p:cNvSpPr>
                <a:spLocks/>
              </p:cNvSpPr>
              <p:nvPr/>
            </p:nvSpPr>
            <p:spPr bwMode="auto">
              <a:xfrm>
                <a:off x="927" y="196"/>
                <a:ext cx="486" cy="461"/>
              </a:xfrm>
              <a:custGeom>
                <a:avLst/>
                <a:gdLst/>
                <a:ahLst/>
                <a:cxnLst>
                  <a:cxn ang="0">
                    <a:pos x="0" y="0"/>
                  </a:cxn>
                  <a:cxn ang="0">
                    <a:pos x="0" y="326"/>
                  </a:cxn>
                  <a:cxn ang="0">
                    <a:pos x="57" y="326"/>
                  </a:cxn>
                  <a:cxn ang="0">
                    <a:pos x="57" y="461"/>
                  </a:cxn>
                  <a:cxn ang="0">
                    <a:pos x="343" y="461"/>
                  </a:cxn>
                  <a:cxn ang="0">
                    <a:pos x="343" y="379"/>
                  </a:cxn>
                  <a:cxn ang="0">
                    <a:pos x="371" y="326"/>
                  </a:cxn>
                  <a:cxn ang="0">
                    <a:pos x="371" y="272"/>
                  </a:cxn>
                  <a:cxn ang="0">
                    <a:pos x="486" y="272"/>
                  </a:cxn>
                  <a:cxn ang="0">
                    <a:pos x="486" y="0"/>
                  </a:cxn>
                  <a:cxn ang="0">
                    <a:pos x="0" y="0"/>
                  </a:cxn>
                </a:cxnLst>
                <a:rect l="0" t="0" r="r" b="b"/>
                <a:pathLst>
                  <a:path w="486" h="461">
                    <a:moveTo>
                      <a:pt x="0" y="0"/>
                    </a:moveTo>
                    <a:lnTo>
                      <a:pt x="0" y="326"/>
                    </a:lnTo>
                    <a:lnTo>
                      <a:pt x="57" y="326"/>
                    </a:lnTo>
                    <a:lnTo>
                      <a:pt x="57" y="461"/>
                    </a:lnTo>
                    <a:lnTo>
                      <a:pt x="343" y="461"/>
                    </a:lnTo>
                    <a:lnTo>
                      <a:pt x="343" y="379"/>
                    </a:lnTo>
                    <a:lnTo>
                      <a:pt x="371" y="326"/>
                    </a:lnTo>
                    <a:lnTo>
                      <a:pt x="371" y="272"/>
                    </a:lnTo>
                    <a:lnTo>
                      <a:pt x="486" y="272"/>
                    </a:lnTo>
                    <a:lnTo>
                      <a:pt x="486"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68" name="Group 357">
              <a:extLst>
                <a:ext uri="{FF2B5EF4-FFF2-40B4-BE49-F238E27FC236}">
                  <a16:creationId xmlns:a16="http://schemas.microsoft.com/office/drawing/2014/main" id="{680A901F-F0E2-73F3-2BF4-FD4BE0C9E8A7}"/>
                </a:ext>
              </a:extLst>
            </p:cNvPr>
            <p:cNvGrpSpPr>
              <a:grpSpLocks/>
            </p:cNvGrpSpPr>
            <p:nvPr/>
          </p:nvGrpSpPr>
          <p:grpSpPr bwMode="auto">
            <a:xfrm>
              <a:off x="2091295" y="1633909"/>
              <a:ext cx="691345" cy="530300"/>
              <a:chOff x="1413" y="196"/>
              <a:chExt cx="601" cy="461"/>
            </a:xfrm>
            <a:solidFill>
              <a:schemeClr val="bg1">
                <a:lumMod val="85000"/>
              </a:schemeClr>
            </a:solidFill>
          </p:grpSpPr>
          <p:sp>
            <p:nvSpPr>
              <p:cNvPr id="506" name="Freeform 358">
                <a:extLst>
                  <a:ext uri="{FF2B5EF4-FFF2-40B4-BE49-F238E27FC236}">
                    <a16:creationId xmlns:a16="http://schemas.microsoft.com/office/drawing/2014/main" id="{50985EFA-F7B2-CE2A-A46C-8FFE3794F611}"/>
                  </a:ext>
                </a:extLst>
              </p:cNvPr>
              <p:cNvSpPr>
                <a:spLocks/>
              </p:cNvSpPr>
              <p:nvPr/>
            </p:nvSpPr>
            <p:spPr bwMode="auto">
              <a:xfrm>
                <a:off x="1413" y="196"/>
                <a:ext cx="601" cy="461"/>
              </a:xfrm>
              <a:custGeom>
                <a:avLst/>
                <a:gdLst/>
                <a:ahLst/>
                <a:cxnLst>
                  <a:cxn ang="0">
                    <a:pos x="0" y="0"/>
                  </a:cxn>
                  <a:cxn ang="0">
                    <a:pos x="0" y="272"/>
                  </a:cxn>
                  <a:cxn ang="0">
                    <a:pos x="57" y="272"/>
                  </a:cxn>
                  <a:cxn ang="0">
                    <a:pos x="172" y="326"/>
                  </a:cxn>
                  <a:cxn ang="0">
                    <a:pos x="172" y="379"/>
                  </a:cxn>
                  <a:cxn ang="0">
                    <a:pos x="287" y="379"/>
                  </a:cxn>
                  <a:cxn ang="0">
                    <a:pos x="287" y="461"/>
                  </a:cxn>
                  <a:cxn ang="0">
                    <a:pos x="401" y="461"/>
                  </a:cxn>
                  <a:cxn ang="0">
                    <a:pos x="601" y="326"/>
                  </a:cxn>
                  <a:cxn ang="0">
                    <a:pos x="601" y="190"/>
                  </a:cxn>
                  <a:cxn ang="0">
                    <a:pos x="572" y="136"/>
                  </a:cxn>
                  <a:cxn ang="0">
                    <a:pos x="601" y="0"/>
                  </a:cxn>
                  <a:cxn ang="0">
                    <a:pos x="0" y="0"/>
                  </a:cxn>
                </a:cxnLst>
                <a:rect l="0" t="0" r="r" b="b"/>
                <a:pathLst>
                  <a:path w="601" h="461">
                    <a:moveTo>
                      <a:pt x="0" y="0"/>
                    </a:moveTo>
                    <a:lnTo>
                      <a:pt x="0" y="272"/>
                    </a:lnTo>
                    <a:lnTo>
                      <a:pt x="57" y="272"/>
                    </a:lnTo>
                    <a:lnTo>
                      <a:pt x="172" y="326"/>
                    </a:lnTo>
                    <a:lnTo>
                      <a:pt x="172" y="379"/>
                    </a:lnTo>
                    <a:lnTo>
                      <a:pt x="287" y="379"/>
                    </a:lnTo>
                    <a:lnTo>
                      <a:pt x="287" y="461"/>
                    </a:lnTo>
                    <a:lnTo>
                      <a:pt x="401" y="461"/>
                    </a:lnTo>
                    <a:lnTo>
                      <a:pt x="601" y="326"/>
                    </a:lnTo>
                    <a:lnTo>
                      <a:pt x="601" y="190"/>
                    </a:lnTo>
                    <a:lnTo>
                      <a:pt x="572" y="136"/>
                    </a:lnTo>
                    <a:lnTo>
                      <a:pt x="601"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07" name="Freeform 359">
                <a:extLst>
                  <a:ext uri="{FF2B5EF4-FFF2-40B4-BE49-F238E27FC236}">
                    <a16:creationId xmlns:a16="http://schemas.microsoft.com/office/drawing/2014/main" id="{96BDFD98-0FDA-1D35-013C-AA501F957537}"/>
                  </a:ext>
                </a:extLst>
              </p:cNvPr>
              <p:cNvSpPr>
                <a:spLocks/>
              </p:cNvSpPr>
              <p:nvPr/>
            </p:nvSpPr>
            <p:spPr bwMode="auto">
              <a:xfrm>
                <a:off x="1413" y="196"/>
                <a:ext cx="601" cy="461"/>
              </a:xfrm>
              <a:custGeom>
                <a:avLst/>
                <a:gdLst/>
                <a:ahLst/>
                <a:cxnLst>
                  <a:cxn ang="0">
                    <a:pos x="0" y="0"/>
                  </a:cxn>
                  <a:cxn ang="0">
                    <a:pos x="0" y="272"/>
                  </a:cxn>
                  <a:cxn ang="0">
                    <a:pos x="57" y="272"/>
                  </a:cxn>
                  <a:cxn ang="0">
                    <a:pos x="172" y="326"/>
                  </a:cxn>
                  <a:cxn ang="0">
                    <a:pos x="172" y="379"/>
                  </a:cxn>
                  <a:cxn ang="0">
                    <a:pos x="287" y="379"/>
                  </a:cxn>
                  <a:cxn ang="0">
                    <a:pos x="287" y="461"/>
                  </a:cxn>
                  <a:cxn ang="0">
                    <a:pos x="401" y="461"/>
                  </a:cxn>
                  <a:cxn ang="0">
                    <a:pos x="601" y="326"/>
                  </a:cxn>
                  <a:cxn ang="0">
                    <a:pos x="601" y="190"/>
                  </a:cxn>
                  <a:cxn ang="0">
                    <a:pos x="572" y="136"/>
                  </a:cxn>
                  <a:cxn ang="0">
                    <a:pos x="601" y="0"/>
                  </a:cxn>
                  <a:cxn ang="0">
                    <a:pos x="0" y="0"/>
                  </a:cxn>
                </a:cxnLst>
                <a:rect l="0" t="0" r="r" b="b"/>
                <a:pathLst>
                  <a:path w="601" h="461">
                    <a:moveTo>
                      <a:pt x="0" y="0"/>
                    </a:moveTo>
                    <a:lnTo>
                      <a:pt x="0" y="272"/>
                    </a:lnTo>
                    <a:lnTo>
                      <a:pt x="57" y="272"/>
                    </a:lnTo>
                    <a:lnTo>
                      <a:pt x="172" y="326"/>
                    </a:lnTo>
                    <a:lnTo>
                      <a:pt x="172" y="379"/>
                    </a:lnTo>
                    <a:lnTo>
                      <a:pt x="287" y="379"/>
                    </a:lnTo>
                    <a:lnTo>
                      <a:pt x="287" y="461"/>
                    </a:lnTo>
                    <a:lnTo>
                      <a:pt x="401" y="461"/>
                    </a:lnTo>
                    <a:lnTo>
                      <a:pt x="601" y="326"/>
                    </a:lnTo>
                    <a:lnTo>
                      <a:pt x="601" y="190"/>
                    </a:lnTo>
                    <a:lnTo>
                      <a:pt x="572" y="136"/>
                    </a:lnTo>
                    <a:lnTo>
                      <a:pt x="601"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69" name="Group 360">
              <a:extLst>
                <a:ext uri="{FF2B5EF4-FFF2-40B4-BE49-F238E27FC236}">
                  <a16:creationId xmlns:a16="http://schemas.microsoft.com/office/drawing/2014/main" id="{89950895-C701-EFBB-93F5-DC4901D92BA0}"/>
                </a:ext>
              </a:extLst>
            </p:cNvPr>
            <p:cNvGrpSpPr>
              <a:grpSpLocks/>
            </p:cNvGrpSpPr>
            <p:nvPr/>
          </p:nvGrpSpPr>
          <p:grpSpPr bwMode="auto">
            <a:xfrm>
              <a:off x="2750430" y="1633908"/>
              <a:ext cx="692495" cy="591267"/>
              <a:chOff x="1986" y="196"/>
              <a:chExt cx="602" cy="514"/>
            </a:xfrm>
            <a:solidFill>
              <a:srgbClr val="D9D9D9"/>
            </a:solidFill>
          </p:grpSpPr>
          <p:sp>
            <p:nvSpPr>
              <p:cNvPr id="504" name="Freeform 361">
                <a:extLst>
                  <a:ext uri="{FF2B5EF4-FFF2-40B4-BE49-F238E27FC236}">
                    <a16:creationId xmlns:a16="http://schemas.microsoft.com/office/drawing/2014/main" id="{406ADF51-566E-CA39-727A-1C72651B8000}"/>
                  </a:ext>
                </a:extLst>
              </p:cNvPr>
              <p:cNvSpPr>
                <a:spLocks/>
              </p:cNvSpPr>
              <p:nvPr/>
            </p:nvSpPr>
            <p:spPr bwMode="auto">
              <a:xfrm>
                <a:off x="1986" y="196"/>
                <a:ext cx="602" cy="514"/>
              </a:xfrm>
              <a:custGeom>
                <a:avLst/>
                <a:gdLst/>
                <a:ahLst/>
                <a:cxnLst>
                  <a:cxn ang="0">
                    <a:pos x="29" y="0"/>
                  </a:cxn>
                  <a:cxn ang="0">
                    <a:pos x="0" y="136"/>
                  </a:cxn>
                  <a:cxn ang="0">
                    <a:pos x="29" y="190"/>
                  </a:cxn>
                  <a:cxn ang="0">
                    <a:pos x="29" y="326"/>
                  </a:cxn>
                  <a:cxn ang="0">
                    <a:pos x="57" y="352"/>
                  </a:cxn>
                  <a:cxn ang="0">
                    <a:pos x="115" y="352"/>
                  </a:cxn>
                  <a:cxn ang="0">
                    <a:pos x="143" y="379"/>
                  </a:cxn>
                  <a:cxn ang="0">
                    <a:pos x="172" y="514"/>
                  </a:cxn>
                  <a:cxn ang="0">
                    <a:pos x="402" y="406"/>
                  </a:cxn>
                  <a:cxn ang="0">
                    <a:pos x="430" y="352"/>
                  </a:cxn>
                  <a:cxn ang="0">
                    <a:pos x="488" y="136"/>
                  </a:cxn>
                  <a:cxn ang="0">
                    <a:pos x="602" y="0"/>
                  </a:cxn>
                  <a:cxn ang="0">
                    <a:pos x="29" y="0"/>
                  </a:cxn>
                </a:cxnLst>
                <a:rect l="0" t="0" r="r" b="b"/>
                <a:pathLst>
                  <a:path w="602" h="514">
                    <a:moveTo>
                      <a:pt x="29" y="0"/>
                    </a:moveTo>
                    <a:lnTo>
                      <a:pt x="0" y="136"/>
                    </a:lnTo>
                    <a:lnTo>
                      <a:pt x="29" y="190"/>
                    </a:lnTo>
                    <a:lnTo>
                      <a:pt x="29" y="326"/>
                    </a:lnTo>
                    <a:lnTo>
                      <a:pt x="57" y="352"/>
                    </a:lnTo>
                    <a:lnTo>
                      <a:pt x="115" y="352"/>
                    </a:lnTo>
                    <a:lnTo>
                      <a:pt x="143" y="379"/>
                    </a:lnTo>
                    <a:lnTo>
                      <a:pt x="172" y="514"/>
                    </a:lnTo>
                    <a:lnTo>
                      <a:pt x="402" y="406"/>
                    </a:lnTo>
                    <a:lnTo>
                      <a:pt x="430" y="352"/>
                    </a:lnTo>
                    <a:lnTo>
                      <a:pt x="488" y="136"/>
                    </a:lnTo>
                    <a:lnTo>
                      <a:pt x="602" y="0"/>
                    </a:lnTo>
                    <a:lnTo>
                      <a:pt x="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05" name="Freeform 362">
                <a:extLst>
                  <a:ext uri="{FF2B5EF4-FFF2-40B4-BE49-F238E27FC236}">
                    <a16:creationId xmlns:a16="http://schemas.microsoft.com/office/drawing/2014/main" id="{E31AEE19-E606-81D2-D93C-4B669CEAAF84}"/>
                  </a:ext>
                </a:extLst>
              </p:cNvPr>
              <p:cNvSpPr>
                <a:spLocks/>
              </p:cNvSpPr>
              <p:nvPr/>
            </p:nvSpPr>
            <p:spPr bwMode="auto">
              <a:xfrm>
                <a:off x="1986" y="196"/>
                <a:ext cx="602" cy="514"/>
              </a:xfrm>
              <a:custGeom>
                <a:avLst/>
                <a:gdLst/>
                <a:ahLst/>
                <a:cxnLst>
                  <a:cxn ang="0">
                    <a:pos x="29" y="0"/>
                  </a:cxn>
                  <a:cxn ang="0">
                    <a:pos x="0" y="136"/>
                  </a:cxn>
                  <a:cxn ang="0">
                    <a:pos x="29" y="190"/>
                  </a:cxn>
                  <a:cxn ang="0">
                    <a:pos x="29" y="326"/>
                  </a:cxn>
                  <a:cxn ang="0">
                    <a:pos x="57" y="352"/>
                  </a:cxn>
                  <a:cxn ang="0">
                    <a:pos x="115" y="352"/>
                  </a:cxn>
                  <a:cxn ang="0">
                    <a:pos x="143" y="379"/>
                  </a:cxn>
                  <a:cxn ang="0">
                    <a:pos x="172" y="514"/>
                  </a:cxn>
                  <a:cxn ang="0">
                    <a:pos x="402" y="406"/>
                  </a:cxn>
                  <a:cxn ang="0">
                    <a:pos x="430" y="352"/>
                  </a:cxn>
                  <a:cxn ang="0">
                    <a:pos x="488" y="136"/>
                  </a:cxn>
                  <a:cxn ang="0">
                    <a:pos x="602" y="0"/>
                  </a:cxn>
                  <a:cxn ang="0">
                    <a:pos x="29" y="0"/>
                  </a:cxn>
                </a:cxnLst>
                <a:rect l="0" t="0" r="r" b="b"/>
                <a:pathLst>
                  <a:path w="602" h="514">
                    <a:moveTo>
                      <a:pt x="29" y="0"/>
                    </a:moveTo>
                    <a:lnTo>
                      <a:pt x="0" y="136"/>
                    </a:lnTo>
                    <a:lnTo>
                      <a:pt x="29" y="190"/>
                    </a:lnTo>
                    <a:lnTo>
                      <a:pt x="29" y="326"/>
                    </a:lnTo>
                    <a:lnTo>
                      <a:pt x="57" y="352"/>
                    </a:lnTo>
                    <a:lnTo>
                      <a:pt x="115" y="352"/>
                    </a:lnTo>
                    <a:lnTo>
                      <a:pt x="143" y="379"/>
                    </a:lnTo>
                    <a:lnTo>
                      <a:pt x="172" y="514"/>
                    </a:lnTo>
                    <a:lnTo>
                      <a:pt x="402" y="406"/>
                    </a:lnTo>
                    <a:lnTo>
                      <a:pt x="430" y="352"/>
                    </a:lnTo>
                    <a:lnTo>
                      <a:pt x="488" y="136"/>
                    </a:lnTo>
                    <a:lnTo>
                      <a:pt x="602" y="0"/>
                    </a:lnTo>
                    <a:lnTo>
                      <a:pt x="29"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70" name="Group 363">
              <a:extLst>
                <a:ext uri="{FF2B5EF4-FFF2-40B4-BE49-F238E27FC236}">
                  <a16:creationId xmlns:a16="http://schemas.microsoft.com/office/drawing/2014/main" id="{DF492013-A07A-9B85-45D6-5A9DC84785B4}"/>
                </a:ext>
              </a:extLst>
            </p:cNvPr>
            <p:cNvGrpSpPr>
              <a:grpSpLocks/>
            </p:cNvGrpSpPr>
            <p:nvPr/>
          </p:nvGrpSpPr>
          <p:grpSpPr bwMode="auto">
            <a:xfrm>
              <a:off x="3245071" y="1633909"/>
              <a:ext cx="364654" cy="530300"/>
              <a:chOff x="2416" y="196"/>
              <a:chExt cx="317" cy="461"/>
            </a:xfrm>
            <a:solidFill>
              <a:schemeClr val="bg1">
                <a:lumMod val="85000"/>
              </a:schemeClr>
            </a:solidFill>
          </p:grpSpPr>
          <p:sp>
            <p:nvSpPr>
              <p:cNvPr id="502" name="Freeform 364">
                <a:extLst>
                  <a:ext uri="{FF2B5EF4-FFF2-40B4-BE49-F238E27FC236}">
                    <a16:creationId xmlns:a16="http://schemas.microsoft.com/office/drawing/2014/main" id="{2726D526-30F3-7557-EEC3-6B4726BB4645}"/>
                  </a:ext>
                </a:extLst>
              </p:cNvPr>
              <p:cNvSpPr>
                <a:spLocks/>
              </p:cNvSpPr>
              <p:nvPr/>
            </p:nvSpPr>
            <p:spPr bwMode="auto">
              <a:xfrm>
                <a:off x="2416" y="196"/>
                <a:ext cx="317" cy="461"/>
              </a:xfrm>
              <a:custGeom>
                <a:avLst/>
                <a:gdLst/>
                <a:ahLst/>
                <a:cxnLst>
                  <a:cxn ang="0">
                    <a:pos x="173" y="0"/>
                  </a:cxn>
                  <a:cxn ang="0">
                    <a:pos x="58" y="136"/>
                  </a:cxn>
                  <a:cxn ang="0">
                    <a:pos x="0" y="352"/>
                  </a:cxn>
                  <a:cxn ang="0">
                    <a:pos x="29" y="352"/>
                  </a:cxn>
                  <a:cxn ang="0">
                    <a:pos x="29" y="434"/>
                  </a:cxn>
                  <a:cxn ang="0">
                    <a:pos x="173" y="461"/>
                  </a:cxn>
                  <a:cxn ang="0">
                    <a:pos x="230" y="272"/>
                  </a:cxn>
                  <a:cxn ang="0">
                    <a:pos x="288" y="82"/>
                  </a:cxn>
                  <a:cxn ang="0">
                    <a:pos x="317" y="0"/>
                  </a:cxn>
                  <a:cxn ang="0">
                    <a:pos x="173" y="0"/>
                  </a:cxn>
                </a:cxnLst>
                <a:rect l="0" t="0" r="r" b="b"/>
                <a:pathLst>
                  <a:path w="317" h="461">
                    <a:moveTo>
                      <a:pt x="173" y="0"/>
                    </a:moveTo>
                    <a:lnTo>
                      <a:pt x="58" y="136"/>
                    </a:lnTo>
                    <a:lnTo>
                      <a:pt x="0" y="352"/>
                    </a:lnTo>
                    <a:lnTo>
                      <a:pt x="29" y="352"/>
                    </a:lnTo>
                    <a:lnTo>
                      <a:pt x="29" y="434"/>
                    </a:lnTo>
                    <a:lnTo>
                      <a:pt x="173" y="461"/>
                    </a:lnTo>
                    <a:lnTo>
                      <a:pt x="230" y="272"/>
                    </a:lnTo>
                    <a:lnTo>
                      <a:pt x="288" y="82"/>
                    </a:lnTo>
                    <a:lnTo>
                      <a:pt x="317" y="0"/>
                    </a:lnTo>
                    <a:lnTo>
                      <a:pt x="173"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03" name="Freeform 365">
                <a:extLst>
                  <a:ext uri="{FF2B5EF4-FFF2-40B4-BE49-F238E27FC236}">
                    <a16:creationId xmlns:a16="http://schemas.microsoft.com/office/drawing/2014/main" id="{5510C00E-5EB7-76FB-2076-991176C8AD2B}"/>
                  </a:ext>
                </a:extLst>
              </p:cNvPr>
              <p:cNvSpPr>
                <a:spLocks/>
              </p:cNvSpPr>
              <p:nvPr/>
            </p:nvSpPr>
            <p:spPr bwMode="auto">
              <a:xfrm>
                <a:off x="2416" y="196"/>
                <a:ext cx="317" cy="461"/>
              </a:xfrm>
              <a:custGeom>
                <a:avLst/>
                <a:gdLst/>
                <a:ahLst/>
                <a:cxnLst>
                  <a:cxn ang="0">
                    <a:pos x="173" y="0"/>
                  </a:cxn>
                  <a:cxn ang="0">
                    <a:pos x="58" y="136"/>
                  </a:cxn>
                  <a:cxn ang="0">
                    <a:pos x="0" y="352"/>
                  </a:cxn>
                  <a:cxn ang="0">
                    <a:pos x="29" y="352"/>
                  </a:cxn>
                  <a:cxn ang="0">
                    <a:pos x="29" y="434"/>
                  </a:cxn>
                  <a:cxn ang="0">
                    <a:pos x="173" y="461"/>
                  </a:cxn>
                  <a:cxn ang="0">
                    <a:pos x="230" y="272"/>
                  </a:cxn>
                  <a:cxn ang="0">
                    <a:pos x="288" y="82"/>
                  </a:cxn>
                  <a:cxn ang="0">
                    <a:pos x="317" y="0"/>
                  </a:cxn>
                  <a:cxn ang="0">
                    <a:pos x="173" y="0"/>
                  </a:cxn>
                </a:cxnLst>
                <a:rect l="0" t="0" r="r" b="b"/>
                <a:pathLst>
                  <a:path w="317" h="461">
                    <a:moveTo>
                      <a:pt x="173" y="0"/>
                    </a:moveTo>
                    <a:lnTo>
                      <a:pt x="58" y="136"/>
                    </a:lnTo>
                    <a:lnTo>
                      <a:pt x="0" y="352"/>
                    </a:lnTo>
                    <a:lnTo>
                      <a:pt x="29" y="352"/>
                    </a:lnTo>
                    <a:lnTo>
                      <a:pt x="29" y="434"/>
                    </a:lnTo>
                    <a:lnTo>
                      <a:pt x="173" y="461"/>
                    </a:lnTo>
                    <a:lnTo>
                      <a:pt x="230" y="272"/>
                    </a:lnTo>
                    <a:lnTo>
                      <a:pt x="288" y="82"/>
                    </a:lnTo>
                    <a:lnTo>
                      <a:pt x="317" y="0"/>
                    </a:lnTo>
                    <a:lnTo>
                      <a:pt x="173"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71" name="Group 366">
              <a:extLst>
                <a:ext uri="{FF2B5EF4-FFF2-40B4-BE49-F238E27FC236}">
                  <a16:creationId xmlns:a16="http://schemas.microsoft.com/office/drawing/2014/main" id="{F0658F40-7145-7DE4-8CF9-5984BFB0F967}"/>
                </a:ext>
              </a:extLst>
            </p:cNvPr>
            <p:cNvGrpSpPr>
              <a:grpSpLocks/>
            </p:cNvGrpSpPr>
            <p:nvPr/>
          </p:nvGrpSpPr>
          <p:grpSpPr bwMode="auto">
            <a:xfrm>
              <a:off x="3445226" y="1633910"/>
              <a:ext cx="427921" cy="561359"/>
              <a:chOff x="2590" y="196"/>
              <a:chExt cx="372" cy="488"/>
            </a:xfrm>
            <a:solidFill>
              <a:schemeClr val="bg1">
                <a:lumMod val="85000"/>
              </a:schemeClr>
            </a:solidFill>
          </p:grpSpPr>
          <p:sp>
            <p:nvSpPr>
              <p:cNvPr id="500" name="Freeform 367">
                <a:extLst>
                  <a:ext uri="{FF2B5EF4-FFF2-40B4-BE49-F238E27FC236}">
                    <a16:creationId xmlns:a16="http://schemas.microsoft.com/office/drawing/2014/main" id="{1ADB22DC-23C5-52BD-A49D-F96168803466}"/>
                  </a:ext>
                </a:extLst>
              </p:cNvPr>
              <p:cNvSpPr>
                <a:spLocks/>
              </p:cNvSpPr>
              <p:nvPr/>
            </p:nvSpPr>
            <p:spPr bwMode="auto">
              <a:xfrm>
                <a:off x="2590" y="196"/>
                <a:ext cx="372" cy="488"/>
              </a:xfrm>
              <a:custGeom>
                <a:avLst/>
                <a:gdLst/>
                <a:ahLst/>
                <a:cxnLst>
                  <a:cxn ang="0">
                    <a:pos x="143" y="0"/>
                  </a:cxn>
                  <a:cxn ang="0">
                    <a:pos x="115" y="82"/>
                  </a:cxn>
                  <a:cxn ang="0">
                    <a:pos x="57" y="272"/>
                  </a:cxn>
                  <a:cxn ang="0">
                    <a:pos x="0" y="461"/>
                  </a:cxn>
                  <a:cxn ang="0">
                    <a:pos x="0" y="488"/>
                  </a:cxn>
                  <a:cxn ang="0">
                    <a:pos x="315" y="488"/>
                  </a:cxn>
                  <a:cxn ang="0">
                    <a:pos x="372" y="379"/>
                  </a:cxn>
                  <a:cxn ang="0">
                    <a:pos x="257" y="407"/>
                  </a:cxn>
                  <a:cxn ang="0">
                    <a:pos x="344" y="299"/>
                  </a:cxn>
                  <a:cxn ang="0">
                    <a:pos x="228" y="272"/>
                  </a:cxn>
                  <a:cxn ang="0">
                    <a:pos x="315" y="163"/>
                  </a:cxn>
                  <a:cxn ang="0">
                    <a:pos x="315" y="54"/>
                  </a:cxn>
                  <a:cxn ang="0">
                    <a:pos x="257" y="27"/>
                  </a:cxn>
                  <a:cxn ang="0">
                    <a:pos x="228" y="109"/>
                  </a:cxn>
                  <a:cxn ang="0">
                    <a:pos x="201" y="54"/>
                  </a:cxn>
                  <a:cxn ang="0">
                    <a:pos x="228" y="0"/>
                  </a:cxn>
                  <a:cxn ang="0">
                    <a:pos x="143" y="0"/>
                  </a:cxn>
                </a:cxnLst>
                <a:rect l="0" t="0" r="r" b="b"/>
                <a:pathLst>
                  <a:path w="372" h="488">
                    <a:moveTo>
                      <a:pt x="143" y="0"/>
                    </a:moveTo>
                    <a:lnTo>
                      <a:pt x="115" y="82"/>
                    </a:lnTo>
                    <a:lnTo>
                      <a:pt x="57" y="272"/>
                    </a:lnTo>
                    <a:lnTo>
                      <a:pt x="0" y="461"/>
                    </a:lnTo>
                    <a:lnTo>
                      <a:pt x="0" y="488"/>
                    </a:lnTo>
                    <a:lnTo>
                      <a:pt x="315" y="488"/>
                    </a:lnTo>
                    <a:lnTo>
                      <a:pt x="372" y="379"/>
                    </a:lnTo>
                    <a:lnTo>
                      <a:pt x="257" y="407"/>
                    </a:lnTo>
                    <a:lnTo>
                      <a:pt x="344" y="299"/>
                    </a:lnTo>
                    <a:lnTo>
                      <a:pt x="228" y="272"/>
                    </a:lnTo>
                    <a:lnTo>
                      <a:pt x="315" y="163"/>
                    </a:lnTo>
                    <a:lnTo>
                      <a:pt x="315" y="54"/>
                    </a:lnTo>
                    <a:lnTo>
                      <a:pt x="257" y="27"/>
                    </a:lnTo>
                    <a:lnTo>
                      <a:pt x="228" y="109"/>
                    </a:lnTo>
                    <a:lnTo>
                      <a:pt x="201" y="54"/>
                    </a:lnTo>
                    <a:lnTo>
                      <a:pt x="228" y="0"/>
                    </a:lnTo>
                    <a:lnTo>
                      <a:pt x="143"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501" name="Freeform 368">
                <a:extLst>
                  <a:ext uri="{FF2B5EF4-FFF2-40B4-BE49-F238E27FC236}">
                    <a16:creationId xmlns:a16="http://schemas.microsoft.com/office/drawing/2014/main" id="{4721B24B-8E2B-8553-38AD-36B1BD6476AE}"/>
                  </a:ext>
                </a:extLst>
              </p:cNvPr>
              <p:cNvSpPr>
                <a:spLocks/>
              </p:cNvSpPr>
              <p:nvPr/>
            </p:nvSpPr>
            <p:spPr bwMode="auto">
              <a:xfrm>
                <a:off x="2590" y="196"/>
                <a:ext cx="372" cy="488"/>
              </a:xfrm>
              <a:custGeom>
                <a:avLst/>
                <a:gdLst/>
                <a:ahLst/>
                <a:cxnLst>
                  <a:cxn ang="0">
                    <a:pos x="143" y="0"/>
                  </a:cxn>
                  <a:cxn ang="0">
                    <a:pos x="115" y="82"/>
                  </a:cxn>
                  <a:cxn ang="0">
                    <a:pos x="57" y="272"/>
                  </a:cxn>
                  <a:cxn ang="0">
                    <a:pos x="0" y="461"/>
                  </a:cxn>
                  <a:cxn ang="0">
                    <a:pos x="0" y="488"/>
                  </a:cxn>
                  <a:cxn ang="0">
                    <a:pos x="315" y="488"/>
                  </a:cxn>
                  <a:cxn ang="0">
                    <a:pos x="372" y="379"/>
                  </a:cxn>
                  <a:cxn ang="0">
                    <a:pos x="257" y="407"/>
                  </a:cxn>
                  <a:cxn ang="0">
                    <a:pos x="344" y="299"/>
                  </a:cxn>
                  <a:cxn ang="0">
                    <a:pos x="228" y="272"/>
                  </a:cxn>
                  <a:cxn ang="0">
                    <a:pos x="315" y="163"/>
                  </a:cxn>
                  <a:cxn ang="0">
                    <a:pos x="315" y="54"/>
                  </a:cxn>
                  <a:cxn ang="0">
                    <a:pos x="257" y="27"/>
                  </a:cxn>
                  <a:cxn ang="0">
                    <a:pos x="228" y="109"/>
                  </a:cxn>
                  <a:cxn ang="0">
                    <a:pos x="201" y="54"/>
                  </a:cxn>
                  <a:cxn ang="0">
                    <a:pos x="228" y="0"/>
                  </a:cxn>
                  <a:cxn ang="0">
                    <a:pos x="143" y="0"/>
                  </a:cxn>
                </a:cxnLst>
                <a:rect l="0" t="0" r="r" b="b"/>
                <a:pathLst>
                  <a:path w="372" h="488">
                    <a:moveTo>
                      <a:pt x="143" y="0"/>
                    </a:moveTo>
                    <a:lnTo>
                      <a:pt x="115" y="82"/>
                    </a:lnTo>
                    <a:lnTo>
                      <a:pt x="57" y="272"/>
                    </a:lnTo>
                    <a:lnTo>
                      <a:pt x="0" y="461"/>
                    </a:lnTo>
                    <a:lnTo>
                      <a:pt x="0" y="488"/>
                    </a:lnTo>
                    <a:lnTo>
                      <a:pt x="315" y="488"/>
                    </a:lnTo>
                    <a:lnTo>
                      <a:pt x="372" y="379"/>
                    </a:lnTo>
                    <a:lnTo>
                      <a:pt x="257" y="407"/>
                    </a:lnTo>
                    <a:lnTo>
                      <a:pt x="344" y="299"/>
                    </a:lnTo>
                    <a:lnTo>
                      <a:pt x="228" y="272"/>
                    </a:lnTo>
                    <a:lnTo>
                      <a:pt x="315" y="163"/>
                    </a:lnTo>
                    <a:lnTo>
                      <a:pt x="315" y="54"/>
                    </a:lnTo>
                    <a:lnTo>
                      <a:pt x="257" y="27"/>
                    </a:lnTo>
                    <a:lnTo>
                      <a:pt x="228" y="109"/>
                    </a:lnTo>
                    <a:lnTo>
                      <a:pt x="201" y="54"/>
                    </a:lnTo>
                    <a:lnTo>
                      <a:pt x="228" y="0"/>
                    </a:lnTo>
                    <a:lnTo>
                      <a:pt x="143"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72" name="Group 369">
              <a:extLst>
                <a:ext uri="{FF2B5EF4-FFF2-40B4-BE49-F238E27FC236}">
                  <a16:creationId xmlns:a16="http://schemas.microsoft.com/office/drawing/2014/main" id="{3FB1B6CA-6AD3-3392-F6F7-6E1977F76D97}"/>
                </a:ext>
              </a:extLst>
            </p:cNvPr>
            <p:cNvGrpSpPr>
              <a:grpSpLocks/>
            </p:cNvGrpSpPr>
            <p:nvPr/>
          </p:nvGrpSpPr>
          <p:grpSpPr bwMode="auto">
            <a:xfrm>
              <a:off x="640736" y="2446037"/>
              <a:ext cx="756913" cy="561359"/>
              <a:chOff x="152" y="902"/>
              <a:chExt cx="658" cy="488"/>
            </a:xfrm>
            <a:solidFill>
              <a:schemeClr val="bg1">
                <a:lumMod val="85000"/>
              </a:schemeClr>
            </a:solidFill>
          </p:grpSpPr>
          <p:sp>
            <p:nvSpPr>
              <p:cNvPr id="498" name="Freeform 370">
                <a:extLst>
                  <a:ext uri="{FF2B5EF4-FFF2-40B4-BE49-F238E27FC236}">
                    <a16:creationId xmlns:a16="http://schemas.microsoft.com/office/drawing/2014/main" id="{C5FDD76E-23D0-A5C5-9538-DB6A91B408C6}"/>
                  </a:ext>
                </a:extLst>
              </p:cNvPr>
              <p:cNvSpPr>
                <a:spLocks/>
              </p:cNvSpPr>
              <p:nvPr/>
            </p:nvSpPr>
            <p:spPr bwMode="auto">
              <a:xfrm>
                <a:off x="152" y="902"/>
                <a:ext cx="658" cy="488"/>
              </a:xfrm>
              <a:custGeom>
                <a:avLst/>
                <a:gdLst/>
                <a:ahLst/>
                <a:cxnLst>
                  <a:cxn ang="0">
                    <a:pos x="0" y="136"/>
                  </a:cxn>
                  <a:cxn ang="0">
                    <a:pos x="0" y="352"/>
                  </a:cxn>
                  <a:cxn ang="0">
                    <a:pos x="171" y="488"/>
                  </a:cxn>
                  <a:cxn ang="0">
                    <a:pos x="572" y="488"/>
                  </a:cxn>
                  <a:cxn ang="0">
                    <a:pos x="572" y="407"/>
                  </a:cxn>
                  <a:cxn ang="0">
                    <a:pos x="658" y="407"/>
                  </a:cxn>
                  <a:cxn ang="0">
                    <a:pos x="486" y="245"/>
                  </a:cxn>
                  <a:cxn ang="0">
                    <a:pos x="515" y="218"/>
                  </a:cxn>
                  <a:cxn ang="0">
                    <a:pos x="486" y="163"/>
                  </a:cxn>
                  <a:cxn ang="0">
                    <a:pos x="429" y="109"/>
                  </a:cxn>
                  <a:cxn ang="0">
                    <a:pos x="371" y="27"/>
                  </a:cxn>
                  <a:cxn ang="0">
                    <a:pos x="229" y="0"/>
                  </a:cxn>
                  <a:cxn ang="0">
                    <a:pos x="114" y="136"/>
                  </a:cxn>
                  <a:cxn ang="0">
                    <a:pos x="0" y="136"/>
                  </a:cxn>
                </a:cxnLst>
                <a:rect l="0" t="0" r="r" b="b"/>
                <a:pathLst>
                  <a:path w="658" h="488">
                    <a:moveTo>
                      <a:pt x="0" y="136"/>
                    </a:moveTo>
                    <a:lnTo>
                      <a:pt x="0" y="352"/>
                    </a:lnTo>
                    <a:lnTo>
                      <a:pt x="171" y="488"/>
                    </a:lnTo>
                    <a:lnTo>
                      <a:pt x="572" y="488"/>
                    </a:lnTo>
                    <a:lnTo>
                      <a:pt x="572" y="407"/>
                    </a:lnTo>
                    <a:lnTo>
                      <a:pt x="658" y="407"/>
                    </a:lnTo>
                    <a:lnTo>
                      <a:pt x="486" y="245"/>
                    </a:lnTo>
                    <a:lnTo>
                      <a:pt x="515" y="218"/>
                    </a:lnTo>
                    <a:lnTo>
                      <a:pt x="486" y="163"/>
                    </a:lnTo>
                    <a:lnTo>
                      <a:pt x="429" y="109"/>
                    </a:lnTo>
                    <a:lnTo>
                      <a:pt x="371" y="27"/>
                    </a:lnTo>
                    <a:lnTo>
                      <a:pt x="229" y="0"/>
                    </a:lnTo>
                    <a:lnTo>
                      <a:pt x="114" y="136"/>
                    </a:lnTo>
                    <a:lnTo>
                      <a:pt x="0" y="136"/>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99" name="Freeform 371">
                <a:extLst>
                  <a:ext uri="{FF2B5EF4-FFF2-40B4-BE49-F238E27FC236}">
                    <a16:creationId xmlns:a16="http://schemas.microsoft.com/office/drawing/2014/main" id="{CB95CD45-C91E-968D-C4BD-1CF9488C8C88}"/>
                  </a:ext>
                </a:extLst>
              </p:cNvPr>
              <p:cNvSpPr>
                <a:spLocks/>
              </p:cNvSpPr>
              <p:nvPr/>
            </p:nvSpPr>
            <p:spPr bwMode="auto">
              <a:xfrm>
                <a:off x="152" y="902"/>
                <a:ext cx="658" cy="488"/>
              </a:xfrm>
              <a:custGeom>
                <a:avLst/>
                <a:gdLst/>
                <a:ahLst/>
                <a:cxnLst>
                  <a:cxn ang="0">
                    <a:pos x="0" y="136"/>
                  </a:cxn>
                  <a:cxn ang="0">
                    <a:pos x="0" y="352"/>
                  </a:cxn>
                  <a:cxn ang="0">
                    <a:pos x="171" y="488"/>
                  </a:cxn>
                  <a:cxn ang="0">
                    <a:pos x="572" y="488"/>
                  </a:cxn>
                  <a:cxn ang="0">
                    <a:pos x="572" y="407"/>
                  </a:cxn>
                  <a:cxn ang="0">
                    <a:pos x="658" y="407"/>
                  </a:cxn>
                  <a:cxn ang="0">
                    <a:pos x="486" y="245"/>
                  </a:cxn>
                  <a:cxn ang="0">
                    <a:pos x="515" y="218"/>
                  </a:cxn>
                  <a:cxn ang="0">
                    <a:pos x="486" y="163"/>
                  </a:cxn>
                  <a:cxn ang="0">
                    <a:pos x="429" y="109"/>
                  </a:cxn>
                  <a:cxn ang="0">
                    <a:pos x="371" y="27"/>
                  </a:cxn>
                  <a:cxn ang="0">
                    <a:pos x="229" y="0"/>
                  </a:cxn>
                  <a:cxn ang="0">
                    <a:pos x="114" y="136"/>
                  </a:cxn>
                  <a:cxn ang="0">
                    <a:pos x="0" y="136"/>
                  </a:cxn>
                </a:cxnLst>
                <a:rect l="0" t="0" r="r" b="b"/>
                <a:pathLst>
                  <a:path w="658" h="488">
                    <a:moveTo>
                      <a:pt x="0" y="136"/>
                    </a:moveTo>
                    <a:lnTo>
                      <a:pt x="0" y="352"/>
                    </a:lnTo>
                    <a:lnTo>
                      <a:pt x="171" y="488"/>
                    </a:lnTo>
                    <a:lnTo>
                      <a:pt x="572" y="488"/>
                    </a:lnTo>
                    <a:lnTo>
                      <a:pt x="572" y="407"/>
                    </a:lnTo>
                    <a:lnTo>
                      <a:pt x="658" y="407"/>
                    </a:lnTo>
                    <a:lnTo>
                      <a:pt x="486" y="245"/>
                    </a:lnTo>
                    <a:lnTo>
                      <a:pt x="515" y="218"/>
                    </a:lnTo>
                    <a:lnTo>
                      <a:pt x="486" y="163"/>
                    </a:lnTo>
                    <a:lnTo>
                      <a:pt x="429" y="109"/>
                    </a:lnTo>
                    <a:lnTo>
                      <a:pt x="371" y="27"/>
                    </a:lnTo>
                    <a:lnTo>
                      <a:pt x="229" y="0"/>
                    </a:lnTo>
                    <a:lnTo>
                      <a:pt x="114" y="136"/>
                    </a:lnTo>
                    <a:lnTo>
                      <a:pt x="0" y="136"/>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73" name="Group 372">
              <a:extLst>
                <a:ext uri="{FF2B5EF4-FFF2-40B4-BE49-F238E27FC236}">
                  <a16:creationId xmlns:a16="http://schemas.microsoft.com/office/drawing/2014/main" id="{6C20346E-BC69-DE56-2B2E-89B529C33A5B}"/>
                </a:ext>
              </a:extLst>
            </p:cNvPr>
            <p:cNvGrpSpPr>
              <a:grpSpLocks/>
            </p:cNvGrpSpPr>
            <p:nvPr/>
          </p:nvGrpSpPr>
          <p:grpSpPr bwMode="auto">
            <a:xfrm>
              <a:off x="1133073" y="2570272"/>
              <a:ext cx="531451" cy="404915"/>
              <a:chOff x="580" y="1010"/>
              <a:chExt cx="462" cy="352"/>
            </a:xfrm>
            <a:solidFill>
              <a:schemeClr val="bg1">
                <a:lumMod val="85000"/>
              </a:schemeClr>
            </a:solidFill>
          </p:grpSpPr>
          <p:sp>
            <p:nvSpPr>
              <p:cNvPr id="496" name="Freeform 373">
                <a:extLst>
                  <a:ext uri="{FF2B5EF4-FFF2-40B4-BE49-F238E27FC236}">
                    <a16:creationId xmlns:a16="http://schemas.microsoft.com/office/drawing/2014/main" id="{81E515A7-4939-BE2F-8FDD-AEB8689C7792}"/>
                  </a:ext>
                </a:extLst>
              </p:cNvPr>
              <p:cNvSpPr>
                <a:spLocks/>
              </p:cNvSpPr>
              <p:nvPr/>
            </p:nvSpPr>
            <p:spPr bwMode="auto">
              <a:xfrm>
                <a:off x="580" y="1010"/>
                <a:ext cx="462" cy="352"/>
              </a:xfrm>
              <a:custGeom>
                <a:avLst/>
                <a:gdLst/>
                <a:ahLst/>
                <a:cxnLst>
                  <a:cxn ang="0">
                    <a:pos x="0" y="0"/>
                  </a:cxn>
                  <a:cxn ang="0">
                    <a:pos x="58" y="55"/>
                  </a:cxn>
                  <a:cxn ang="0">
                    <a:pos x="87" y="109"/>
                  </a:cxn>
                  <a:cxn ang="0">
                    <a:pos x="58" y="136"/>
                  </a:cxn>
                  <a:cxn ang="0">
                    <a:pos x="231" y="298"/>
                  </a:cxn>
                  <a:cxn ang="0">
                    <a:pos x="260" y="352"/>
                  </a:cxn>
                  <a:cxn ang="0">
                    <a:pos x="347" y="352"/>
                  </a:cxn>
                  <a:cxn ang="0">
                    <a:pos x="347" y="271"/>
                  </a:cxn>
                  <a:cxn ang="0">
                    <a:pos x="462" y="271"/>
                  </a:cxn>
                  <a:cxn ang="0">
                    <a:pos x="404" y="82"/>
                  </a:cxn>
                  <a:cxn ang="0">
                    <a:pos x="375" y="0"/>
                  </a:cxn>
                  <a:cxn ang="0">
                    <a:pos x="0" y="0"/>
                  </a:cxn>
                </a:cxnLst>
                <a:rect l="0" t="0" r="r" b="b"/>
                <a:pathLst>
                  <a:path w="462" h="352">
                    <a:moveTo>
                      <a:pt x="0" y="0"/>
                    </a:moveTo>
                    <a:lnTo>
                      <a:pt x="58" y="55"/>
                    </a:lnTo>
                    <a:lnTo>
                      <a:pt x="87" y="109"/>
                    </a:lnTo>
                    <a:lnTo>
                      <a:pt x="58" y="136"/>
                    </a:lnTo>
                    <a:lnTo>
                      <a:pt x="231" y="298"/>
                    </a:lnTo>
                    <a:lnTo>
                      <a:pt x="260" y="352"/>
                    </a:lnTo>
                    <a:lnTo>
                      <a:pt x="347" y="352"/>
                    </a:lnTo>
                    <a:lnTo>
                      <a:pt x="347" y="271"/>
                    </a:lnTo>
                    <a:lnTo>
                      <a:pt x="462" y="271"/>
                    </a:lnTo>
                    <a:lnTo>
                      <a:pt x="404" y="82"/>
                    </a:lnTo>
                    <a:lnTo>
                      <a:pt x="375"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97" name="Freeform 374">
                <a:extLst>
                  <a:ext uri="{FF2B5EF4-FFF2-40B4-BE49-F238E27FC236}">
                    <a16:creationId xmlns:a16="http://schemas.microsoft.com/office/drawing/2014/main" id="{5343A87E-C6CF-07AE-D853-A49BD9766100}"/>
                  </a:ext>
                </a:extLst>
              </p:cNvPr>
              <p:cNvSpPr>
                <a:spLocks/>
              </p:cNvSpPr>
              <p:nvPr/>
            </p:nvSpPr>
            <p:spPr bwMode="auto">
              <a:xfrm>
                <a:off x="580" y="1010"/>
                <a:ext cx="462" cy="352"/>
              </a:xfrm>
              <a:custGeom>
                <a:avLst/>
                <a:gdLst/>
                <a:ahLst/>
                <a:cxnLst>
                  <a:cxn ang="0">
                    <a:pos x="0" y="0"/>
                  </a:cxn>
                  <a:cxn ang="0">
                    <a:pos x="58" y="55"/>
                  </a:cxn>
                  <a:cxn ang="0">
                    <a:pos x="87" y="109"/>
                  </a:cxn>
                  <a:cxn ang="0">
                    <a:pos x="58" y="136"/>
                  </a:cxn>
                  <a:cxn ang="0">
                    <a:pos x="231" y="298"/>
                  </a:cxn>
                  <a:cxn ang="0">
                    <a:pos x="260" y="352"/>
                  </a:cxn>
                  <a:cxn ang="0">
                    <a:pos x="347" y="352"/>
                  </a:cxn>
                  <a:cxn ang="0">
                    <a:pos x="347" y="271"/>
                  </a:cxn>
                  <a:cxn ang="0">
                    <a:pos x="462" y="271"/>
                  </a:cxn>
                  <a:cxn ang="0">
                    <a:pos x="404" y="82"/>
                  </a:cxn>
                  <a:cxn ang="0">
                    <a:pos x="375" y="0"/>
                  </a:cxn>
                  <a:cxn ang="0">
                    <a:pos x="0" y="0"/>
                  </a:cxn>
                </a:cxnLst>
                <a:rect l="0" t="0" r="r" b="b"/>
                <a:pathLst>
                  <a:path w="462" h="352">
                    <a:moveTo>
                      <a:pt x="0" y="0"/>
                    </a:moveTo>
                    <a:lnTo>
                      <a:pt x="58" y="55"/>
                    </a:lnTo>
                    <a:lnTo>
                      <a:pt x="87" y="109"/>
                    </a:lnTo>
                    <a:lnTo>
                      <a:pt x="58" y="136"/>
                    </a:lnTo>
                    <a:lnTo>
                      <a:pt x="231" y="298"/>
                    </a:lnTo>
                    <a:lnTo>
                      <a:pt x="260" y="352"/>
                    </a:lnTo>
                    <a:lnTo>
                      <a:pt x="347" y="352"/>
                    </a:lnTo>
                    <a:lnTo>
                      <a:pt x="347" y="271"/>
                    </a:lnTo>
                    <a:lnTo>
                      <a:pt x="462" y="271"/>
                    </a:lnTo>
                    <a:lnTo>
                      <a:pt x="404" y="82"/>
                    </a:lnTo>
                    <a:lnTo>
                      <a:pt x="375"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74" name="Group 375">
              <a:extLst>
                <a:ext uri="{FF2B5EF4-FFF2-40B4-BE49-F238E27FC236}">
                  <a16:creationId xmlns:a16="http://schemas.microsoft.com/office/drawing/2014/main" id="{EC107071-E4C6-0C0F-B841-B70D3401DFAF}"/>
                </a:ext>
              </a:extLst>
            </p:cNvPr>
            <p:cNvGrpSpPr>
              <a:grpSpLocks/>
            </p:cNvGrpSpPr>
            <p:nvPr/>
          </p:nvGrpSpPr>
          <p:grpSpPr bwMode="auto">
            <a:xfrm>
              <a:off x="1333229" y="2164210"/>
              <a:ext cx="691345" cy="500391"/>
              <a:chOff x="754" y="657"/>
              <a:chExt cx="601" cy="435"/>
            </a:xfrm>
            <a:solidFill>
              <a:schemeClr val="bg1">
                <a:lumMod val="85000"/>
              </a:schemeClr>
            </a:solidFill>
          </p:grpSpPr>
          <p:sp>
            <p:nvSpPr>
              <p:cNvPr id="494" name="Freeform 376">
                <a:extLst>
                  <a:ext uri="{FF2B5EF4-FFF2-40B4-BE49-F238E27FC236}">
                    <a16:creationId xmlns:a16="http://schemas.microsoft.com/office/drawing/2014/main" id="{62D98B99-9684-6156-C102-65CCC300EEDC}"/>
                  </a:ext>
                </a:extLst>
              </p:cNvPr>
              <p:cNvSpPr>
                <a:spLocks/>
              </p:cNvSpPr>
              <p:nvPr/>
            </p:nvSpPr>
            <p:spPr bwMode="auto">
              <a:xfrm>
                <a:off x="754" y="657"/>
                <a:ext cx="601" cy="435"/>
              </a:xfrm>
              <a:custGeom>
                <a:avLst/>
                <a:gdLst/>
                <a:ahLst/>
                <a:cxnLst>
                  <a:cxn ang="0">
                    <a:pos x="28" y="190"/>
                  </a:cxn>
                  <a:cxn ang="0">
                    <a:pos x="0" y="217"/>
                  </a:cxn>
                  <a:cxn ang="0">
                    <a:pos x="0" y="353"/>
                  </a:cxn>
                  <a:cxn ang="0">
                    <a:pos x="201" y="353"/>
                  </a:cxn>
                  <a:cxn ang="0">
                    <a:pos x="229" y="435"/>
                  </a:cxn>
                  <a:cxn ang="0">
                    <a:pos x="544" y="435"/>
                  </a:cxn>
                  <a:cxn ang="0">
                    <a:pos x="601" y="353"/>
                  </a:cxn>
                  <a:cxn ang="0">
                    <a:pos x="601" y="136"/>
                  </a:cxn>
                  <a:cxn ang="0">
                    <a:pos x="515" y="136"/>
                  </a:cxn>
                  <a:cxn ang="0">
                    <a:pos x="515" y="0"/>
                  </a:cxn>
                  <a:cxn ang="0">
                    <a:pos x="229" y="0"/>
                  </a:cxn>
                  <a:cxn ang="0">
                    <a:pos x="258" y="136"/>
                  </a:cxn>
                  <a:cxn ang="0">
                    <a:pos x="172" y="136"/>
                  </a:cxn>
                  <a:cxn ang="0">
                    <a:pos x="172" y="190"/>
                  </a:cxn>
                  <a:cxn ang="0">
                    <a:pos x="28" y="190"/>
                  </a:cxn>
                </a:cxnLst>
                <a:rect l="0" t="0" r="r" b="b"/>
                <a:pathLst>
                  <a:path w="601" h="435">
                    <a:moveTo>
                      <a:pt x="28" y="190"/>
                    </a:moveTo>
                    <a:lnTo>
                      <a:pt x="0" y="217"/>
                    </a:lnTo>
                    <a:lnTo>
                      <a:pt x="0" y="353"/>
                    </a:lnTo>
                    <a:lnTo>
                      <a:pt x="201" y="353"/>
                    </a:lnTo>
                    <a:lnTo>
                      <a:pt x="229" y="435"/>
                    </a:lnTo>
                    <a:lnTo>
                      <a:pt x="544" y="435"/>
                    </a:lnTo>
                    <a:lnTo>
                      <a:pt x="601" y="353"/>
                    </a:lnTo>
                    <a:lnTo>
                      <a:pt x="601" y="136"/>
                    </a:lnTo>
                    <a:lnTo>
                      <a:pt x="515" y="136"/>
                    </a:lnTo>
                    <a:lnTo>
                      <a:pt x="515" y="0"/>
                    </a:lnTo>
                    <a:lnTo>
                      <a:pt x="229" y="0"/>
                    </a:lnTo>
                    <a:lnTo>
                      <a:pt x="258" y="136"/>
                    </a:lnTo>
                    <a:lnTo>
                      <a:pt x="172" y="136"/>
                    </a:lnTo>
                    <a:lnTo>
                      <a:pt x="172" y="190"/>
                    </a:lnTo>
                    <a:lnTo>
                      <a:pt x="28" y="19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95" name="Freeform 377">
                <a:extLst>
                  <a:ext uri="{FF2B5EF4-FFF2-40B4-BE49-F238E27FC236}">
                    <a16:creationId xmlns:a16="http://schemas.microsoft.com/office/drawing/2014/main" id="{9D227CAF-1CCC-0A2C-16E3-0D0DD886F1A0}"/>
                  </a:ext>
                </a:extLst>
              </p:cNvPr>
              <p:cNvSpPr>
                <a:spLocks/>
              </p:cNvSpPr>
              <p:nvPr/>
            </p:nvSpPr>
            <p:spPr bwMode="auto">
              <a:xfrm>
                <a:off x="754" y="657"/>
                <a:ext cx="601" cy="435"/>
              </a:xfrm>
              <a:custGeom>
                <a:avLst/>
                <a:gdLst/>
                <a:ahLst/>
                <a:cxnLst>
                  <a:cxn ang="0">
                    <a:pos x="28" y="190"/>
                  </a:cxn>
                  <a:cxn ang="0">
                    <a:pos x="0" y="217"/>
                  </a:cxn>
                  <a:cxn ang="0">
                    <a:pos x="0" y="353"/>
                  </a:cxn>
                  <a:cxn ang="0">
                    <a:pos x="201" y="353"/>
                  </a:cxn>
                  <a:cxn ang="0">
                    <a:pos x="229" y="435"/>
                  </a:cxn>
                  <a:cxn ang="0">
                    <a:pos x="544" y="435"/>
                  </a:cxn>
                  <a:cxn ang="0">
                    <a:pos x="601" y="353"/>
                  </a:cxn>
                  <a:cxn ang="0">
                    <a:pos x="601" y="136"/>
                  </a:cxn>
                  <a:cxn ang="0">
                    <a:pos x="515" y="136"/>
                  </a:cxn>
                  <a:cxn ang="0">
                    <a:pos x="515" y="0"/>
                  </a:cxn>
                  <a:cxn ang="0">
                    <a:pos x="229" y="0"/>
                  </a:cxn>
                  <a:cxn ang="0">
                    <a:pos x="258" y="136"/>
                  </a:cxn>
                  <a:cxn ang="0">
                    <a:pos x="172" y="136"/>
                  </a:cxn>
                  <a:cxn ang="0">
                    <a:pos x="172" y="190"/>
                  </a:cxn>
                  <a:cxn ang="0">
                    <a:pos x="28" y="190"/>
                  </a:cxn>
                </a:cxnLst>
                <a:rect l="0" t="0" r="r" b="b"/>
                <a:pathLst>
                  <a:path w="601" h="435">
                    <a:moveTo>
                      <a:pt x="28" y="190"/>
                    </a:moveTo>
                    <a:lnTo>
                      <a:pt x="0" y="217"/>
                    </a:lnTo>
                    <a:lnTo>
                      <a:pt x="0" y="353"/>
                    </a:lnTo>
                    <a:lnTo>
                      <a:pt x="201" y="353"/>
                    </a:lnTo>
                    <a:lnTo>
                      <a:pt x="229" y="435"/>
                    </a:lnTo>
                    <a:lnTo>
                      <a:pt x="544" y="435"/>
                    </a:lnTo>
                    <a:lnTo>
                      <a:pt x="601" y="353"/>
                    </a:lnTo>
                    <a:lnTo>
                      <a:pt x="601" y="136"/>
                    </a:lnTo>
                    <a:lnTo>
                      <a:pt x="515" y="136"/>
                    </a:lnTo>
                    <a:lnTo>
                      <a:pt x="515" y="0"/>
                    </a:lnTo>
                    <a:lnTo>
                      <a:pt x="229" y="0"/>
                    </a:lnTo>
                    <a:lnTo>
                      <a:pt x="258" y="136"/>
                    </a:lnTo>
                    <a:lnTo>
                      <a:pt x="172" y="136"/>
                    </a:lnTo>
                    <a:lnTo>
                      <a:pt x="172" y="190"/>
                    </a:lnTo>
                    <a:lnTo>
                      <a:pt x="28" y="19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75" name="Group 378">
              <a:extLst>
                <a:ext uri="{FF2B5EF4-FFF2-40B4-BE49-F238E27FC236}">
                  <a16:creationId xmlns:a16="http://schemas.microsoft.com/office/drawing/2014/main" id="{7D31BF37-A78B-F255-8A86-FF31828FECFB}"/>
                </a:ext>
              </a:extLst>
            </p:cNvPr>
            <p:cNvGrpSpPr>
              <a:grpSpLocks/>
            </p:cNvGrpSpPr>
            <p:nvPr/>
          </p:nvGrpSpPr>
          <p:grpSpPr bwMode="auto">
            <a:xfrm>
              <a:off x="1926798" y="1945648"/>
              <a:ext cx="494640" cy="373855"/>
              <a:chOff x="1270" y="467"/>
              <a:chExt cx="430" cy="325"/>
            </a:xfrm>
            <a:solidFill>
              <a:schemeClr val="bg1">
                <a:lumMod val="85000"/>
              </a:schemeClr>
            </a:solidFill>
          </p:grpSpPr>
          <p:sp>
            <p:nvSpPr>
              <p:cNvPr id="492" name="Freeform 379">
                <a:extLst>
                  <a:ext uri="{FF2B5EF4-FFF2-40B4-BE49-F238E27FC236}">
                    <a16:creationId xmlns:a16="http://schemas.microsoft.com/office/drawing/2014/main" id="{DDE880DF-DB93-A7B0-020C-9FEB34DF67DF}"/>
                  </a:ext>
                </a:extLst>
              </p:cNvPr>
              <p:cNvSpPr>
                <a:spLocks/>
              </p:cNvSpPr>
              <p:nvPr/>
            </p:nvSpPr>
            <p:spPr bwMode="auto">
              <a:xfrm>
                <a:off x="1270" y="467"/>
                <a:ext cx="430" cy="325"/>
              </a:xfrm>
              <a:custGeom>
                <a:avLst/>
                <a:gdLst/>
                <a:ahLst/>
                <a:cxnLst>
                  <a:cxn ang="0">
                    <a:pos x="28" y="0"/>
                  </a:cxn>
                  <a:cxn ang="0">
                    <a:pos x="28" y="55"/>
                  </a:cxn>
                  <a:cxn ang="0">
                    <a:pos x="0" y="108"/>
                  </a:cxn>
                  <a:cxn ang="0">
                    <a:pos x="0" y="325"/>
                  </a:cxn>
                  <a:cxn ang="0">
                    <a:pos x="229" y="325"/>
                  </a:cxn>
                  <a:cxn ang="0">
                    <a:pos x="229" y="271"/>
                  </a:cxn>
                  <a:cxn ang="0">
                    <a:pos x="430" y="271"/>
                  </a:cxn>
                  <a:cxn ang="0">
                    <a:pos x="430" y="108"/>
                  </a:cxn>
                  <a:cxn ang="0">
                    <a:pos x="315" y="108"/>
                  </a:cxn>
                  <a:cxn ang="0">
                    <a:pos x="315" y="55"/>
                  </a:cxn>
                  <a:cxn ang="0">
                    <a:pos x="200" y="0"/>
                  </a:cxn>
                  <a:cxn ang="0">
                    <a:pos x="28" y="0"/>
                  </a:cxn>
                </a:cxnLst>
                <a:rect l="0" t="0" r="r" b="b"/>
                <a:pathLst>
                  <a:path w="430" h="325">
                    <a:moveTo>
                      <a:pt x="28" y="0"/>
                    </a:moveTo>
                    <a:lnTo>
                      <a:pt x="28" y="55"/>
                    </a:lnTo>
                    <a:lnTo>
                      <a:pt x="0" y="108"/>
                    </a:lnTo>
                    <a:lnTo>
                      <a:pt x="0" y="325"/>
                    </a:lnTo>
                    <a:lnTo>
                      <a:pt x="229" y="325"/>
                    </a:lnTo>
                    <a:lnTo>
                      <a:pt x="229" y="271"/>
                    </a:lnTo>
                    <a:lnTo>
                      <a:pt x="430" y="271"/>
                    </a:lnTo>
                    <a:lnTo>
                      <a:pt x="430" y="108"/>
                    </a:lnTo>
                    <a:lnTo>
                      <a:pt x="315" y="108"/>
                    </a:lnTo>
                    <a:lnTo>
                      <a:pt x="315" y="55"/>
                    </a:lnTo>
                    <a:lnTo>
                      <a:pt x="200" y="0"/>
                    </a:lnTo>
                    <a:lnTo>
                      <a:pt x="28"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93" name="Freeform 380">
                <a:extLst>
                  <a:ext uri="{FF2B5EF4-FFF2-40B4-BE49-F238E27FC236}">
                    <a16:creationId xmlns:a16="http://schemas.microsoft.com/office/drawing/2014/main" id="{98177FE1-FF06-8065-CD5E-C874AA16F00B}"/>
                  </a:ext>
                </a:extLst>
              </p:cNvPr>
              <p:cNvSpPr>
                <a:spLocks/>
              </p:cNvSpPr>
              <p:nvPr/>
            </p:nvSpPr>
            <p:spPr bwMode="auto">
              <a:xfrm>
                <a:off x="1270" y="467"/>
                <a:ext cx="430" cy="325"/>
              </a:xfrm>
              <a:custGeom>
                <a:avLst/>
                <a:gdLst/>
                <a:ahLst/>
                <a:cxnLst>
                  <a:cxn ang="0">
                    <a:pos x="28" y="0"/>
                  </a:cxn>
                  <a:cxn ang="0">
                    <a:pos x="28" y="55"/>
                  </a:cxn>
                  <a:cxn ang="0">
                    <a:pos x="0" y="108"/>
                  </a:cxn>
                  <a:cxn ang="0">
                    <a:pos x="0" y="325"/>
                  </a:cxn>
                  <a:cxn ang="0">
                    <a:pos x="229" y="325"/>
                  </a:cxn>
                  <a:cxn ang="0">
                    <a:pos x="229" y="271"/>
                  </a:cxn>
                  <a:cxn ang="0">
                    <a:pos x="430" y="271"/>
                  </a:cxn>
                  <a:cxn ang="0">
                    <a:pos x="430" y="108"/>
                  </a:cxn>
                  <a:cxn ang="0">
                    <a:pos x="315" y="108"/>
                  </a:cxn>
                  <a:cxn ang="0">
                    <a:pos x="315" y="55"/>
                  </a:cxn>
                  <a:cxn ang="0">
                    <a:pos x="200" y="0"/>
                  </a:cxn>
                  <a:cxn ang="0">
                    <a:pos x="28" y="0"/>
                  </a:cxn>
                </a:cxnLst>
                <a:rect l="0" t="0" r="r" b="b"/>
                <a:pathLst>
                  <a:path w="430" h="325">
                    <a:moveTo>
                      <a:pt x="28" y="0"/>
                    </a:moveTo>
                    <a:lnTo>
                      <a:pt x="28" y="55"/>
                    </a:lnTo>
                    <a:lnTo>
                      <a:pt x="0" y="108"/>
                    </a:lnTo>
                    <a:lnTo>
                      <a:pt x="0" y="325"/>
                    </a:lnTo>
                    <a:lnTo>
                      <a:pt x="229" y="325"/>
                    </a:lnTo>
                    <a:lnTo>
                      <a:pt x="229" y="271"/>
                    </a:lnTo>
                    <a:lnTo>
                      <a:pt x="430" y="271"/>
                    </a:lnTo>
                    <a:lnTo>
                      <a:pt x="430" y="108"/>
                    </a:lnTo>
                    <a:lnTo>
                      <a:pt x="315" y="108"/>
                    </a:lnTo>
                    <a:lnTo>
                      <a:pt x="315" y="55"/>
                    </a:lnTo>
                    <a:lnTo>
                      <a:pt x="200" y="0"/>
                    </a:lnTo>
                    <a:lnTo>
                      <a:pt x="28"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76" name="Group 381">
              <a:extLst>
                <a:ext uri="{FF2B5EF4-FFF2-40B4-BE49-F238E27FC236}">
                  <a16:creationId xmlns:a16="http://schemas.microsoft.com/office/drawing/2014/main" id="{6011411F-13E0-0AD6-FF8D-D6B622686E11}"/>
                </a:ext>
              </a:extLst>
            </p:cNvPr>
            <p:cNvGrpSpPr>
              <a:grpSpLocks/>
            </p:cNvGrpSpPr>
            <p:nvPr/>
          </p:nvGrpSpPr>
          <p:grpSpPr bwMode="auto">
            <a:xfrm>
              <a:off x="1959008" y="2257387"/>
              <a:ext cx="563659" cy="407215"/>
              <a:chOff x="1298" y="738"/>
              <a:chExt cx="490" cy="354"/>
            </a:xfrm>
            <a:solidFill>
              <a:srgbClr val="D9D9D9"/>
            </a:solidFill>
          </p:grpSpPr>
          <p:sp>
            <p:nvSpPr>
              <p:cNvPr id="490" name="Freeform 382">
                <a:extLst>
                  <a:ext uri="{FF2B5EF4-FFF2-40B4-BE49-F238E27FC236}">
                    <a16:creationId xmlns:a16="http://schemas.microsoft.com/office/drawing/2014/main" id="{75722563-A00E-C799-04E3-20FC18E5AE37}"/>
                  </a:ext>
                </a:extLst>
              </p:cNvPr>
              <p:cNvSpPr>
                <a:spLocks/>
              </p:cNvSpPr>
              <p:nvPr/>
            </p:nvSpPr>
            <p:spPr bwMode="auto">
              <a:xfrm>
                <a:off x="1298" y="738"/>
                <a:ext cx="490" cy="354"/>
              </a:xfrm>
              <a:custGeom>
                <a:avLst/>
                <a:gdLst/>
                <a:ahLst/>
                <a:cxnLst>
                  <a:cxn ang="0">
                    <a:pos x="57" y="54"/>
                  </a:cxn>
                  <a:cxn ang="0">
                    <a:pos x="57" y="272"/>
                  </a:cxn>
                  <a:cxn ang="0">
                    <a:pos x="0" y="354"/>
                  </a:cxn>
                  <a:cxn ang="0">
                    <a:pos x="490" y="354"/>
                  </a:cxn>
                  <a:cxn ang="0">
                    <a:pos x="490" y="190"/>
                  </a:cxn>
                  <a:cxn ang="0">
                    <a:pos x="403" y="109"/>
                  </a:cxn>
                  <a:cxn ang="0">
                    <a:pos x="403" y="0"/>
                  </a:cxn>
                  <a:cxn ang="0">
                    <a:pos x="202" y="0"/>
                  </a:cxn>
                  <a:cxn ang="0">
                    <a:pos x="202" y="54"/>
                  </a:cxn>
                  <a:cxn ang="0">
                    <a:pos x="57" y="54"/>
                  </a:cxn>
                </a:cxnLst>
                <a:rect l="0" t="0" r="r" b="b"/>
                <a:pathLst>
                  <a:path w="490" h="354">
                    <a:moveTo>
                      <a:pt x="57" y="54"/>
                    </a:moveTo>
                    <a:lnTo>
                      <a:pt x="57" y="272"/>
                    </a:lnTo>
                    <a:lnTo>
                      <a:pt x="0" y="354"/>
                    </a:lnTo>
                    <a:lnTo>
                      <a:pt x="490" y="354"/>
                    </a:lnTo>
                    <a:lnTo>
                      <a:pt x="490" y="190"/>
                    </a:lnTo>
                    <a:lnTo>
                      <a:pt x="403" y="109"/>
                    </a:lnTo>
                    <a:lnTo>
                      <a:pt x="403" y="0"/>
                    </a:lnTo>
                    <a:lnTo>
                      <a:pt x="202" y="0"/>
                    </a:lnTo>
                    <a:lnTo>
                      <a:pt x="202" y="54"/>
                    </a:lnTo>
                    <a:lnTo>
                      <a:pt x="57" y="5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91" name="Freeform 383">
                <a:extLst>
                  <a:ext uri="{FF2B5EF4-FFF2-40B4-BE49-F238E27FC236}">
                    <a16:creationId xmlns:a16="http://schemas.microsoft.com/office/drawing/2014/main" id="{BEF6910F-20DB-264F-9A07-FD6CC627D66A}"/>
                  </a:ext>
                </a:extLst>
              </p:cNvPr>
              <p:cNvSpPr>
                <a:spLocks/>
              </p:cNvSpPr>
              <p:nvPr/>
            </p:nvSpPr>
            <p:spPr bwMode="auto">
              <a:xfrm>
                <a:off x="1298" y="738"/>
                <a:ext cx="490" cy="354"/>
              </a:xfrm>
              <a:custGeom>
                <a:avLst/>
                <a:gdLst/>
                <a:ahLst/>
                <a:cxnLst>
                  <a:cxn ang="0">
                    <a:pos x="57" y="54"/>
                  </a:cxn>
                  <a:cxn ang="0">
                    <a:pos x="57" y="272"/>
                  </a:cxn>
                  <a:cxn ang="0">
                    <a:pos x="0" y="354"/>
                  </a:cxn>
                  <a:cxn ang="0">
                    <a:pos x="490" y="354"/>
                  </a:cxn>
                  <a:cxn ang="0">
                    <a:pos x="490" y="190"/>
                  </a:cxn>
                  <a:cxn ang="0">
                    <a:pos x="403" y="109"/>
                  </a:cxn>
                  <a:cxn ang="0">
                    <a:pos x="403" y="0"/>
                  </a:cxn>
                  <a:cxn ang="0">
                    <a:pos x="202" y="0"/>
                  </a:cxn>
                  <a:cxn ang="0">
                    <a:pos x="202" y="54"/>
                  </a:cxn>
                  <a:cxn ang="0">
                    <a:pos x="57" y="54"/>
                  </a:cxn>
                </a:cxnLst>
                <a:rect l="0" t="0" r="r" b="b"/>
                <a:pathLst>
                  <a:path w="490" h="354">
                    <a:moveTo>
                      <a:pt x="57" y="54"/>
                    </a:moveTo>
                    <a:lnTo>
                      <a:pt x="57" y="272"/>
                    </a:lnTo>
                    <a:lnTo>
                      <a:pt x="0" y="354"/>
                    </a:lnTo>
                    <a:lnTo>
                      <a:pt x="490" y="354"/>
                    </a:lnTo>
                    <a:lnTo>
                      <a:pt x="490" y="190"/>
                    </a:lnTo>
                    <a:lnTo>
                      <a:pt x="403" y="109"/>
                    </a:lnTo>
                    <a:lnTo>
                      <a:pt x="403" y="0"/>
                    </a:lnTo>
                    <a:lnTo>
                      <a:pt x="202" y="0"/>
                    </a:lnTo>
                    <a:lnTo>
                      <a:pt x="202" y="54"/>
                    </a:lnTo>
                    <a:lnTo>
                      <a:pt x="57" y="54"/>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277" name="Freeform 385">
              <a:extLst>
                <a:ext uri="{FF2B5EF4-FFF2-40B4-BE49-F238E27FC236}">
                  <a16:creationId xmlns:a16="http://schemas.microsoft.com/office/drawing/2014/main" id="{E1D8931D-D585-83B9-8596-9AD12BE6D87B}"/>
                </a:ext>
              </a:extLst>
            </p:cNvPr>
            <p:cNvSpPr>
              <a:spLocks/>
            </p:cNvSpPr>
            <p:nvPr/>
          </p:nvSpPr>
          <p:spPr bwMode="auto">
            <a:xfrm>
              <a:off x="2421438" y="2003677"/>
              <a:ext cx="526849" cy="499240"/>
            </a:xfrm>
            <a:custGeom>
              <a:avLst/>
              <a:gdLst/>
              <a:ahLst/>
              <a:cxnLst>
                <a:cxn ang="0">
                  <a:pos x="0" y="135"/>
                </a:cxn>
                <a:cxn ang="0">
                  <a:pos x="0" y="325"/>
                </a:cxn>
                <a:cxn ang="0">
                  <a:pos x="86" y="406"/>
                </a:cxn>
                <a:cxn ang="0">
                  <a:pos x="86" y="434"/>
                </a:cxn>
                <a:cxn ang="0">
                  <a:pos x="343" y="434"/>
                </a:cxn>
                <a:cxn ang="0">
                  <a:pos x="372" y="325"/>
                </a:cxn>
                <a:cxn ang="0">
                  <a:pos x="458" y="189"/>
                </a:cxn>
                <a:cxn ang="0">
                  <a:pos x="430" y="53"/>
                </a:cxn>
                <a:cxn ang="0">
                  <a:pos x="401" y="26"/>
                </a:cxn>
                <a:cxn ang="0">
                  <a:pos x="343" y="26"/>
                </a:cxn>
                <a:cxn ang="0">
                  <a:pos x="315" y="0"/>
                </a:cxn>
                <a:cxn ang="0">
                  <a:pos x="115" y="135"/>
                </a:cxn>
                <a:cxn ang="0">
                  <a:pos x="0" y="135"/>
                </a:cxn>
              </a:cxnLst>
              <a:rect l="0" t="0" r="r" b="b"/>
              <a:pathLst>
                <a:path w="458" h="434">
                  <a:moveTo>
                    <a:pt x="0" y="135"/>
                  </a:moveTo>
                  <a:lnTo>
                    <a:pt x="0" y="325"/>
                  </a:lnTo>
                  <a:lnTo>
                    <a:pt x="86" y="406"/>
                  </a:lnTo>
                  <a:lnTo>
                    <a:pt x="86" y="434"/>
                  </a:lnTo>
                  <a:lnTo>
                    <a:pt x="343" y="434"/>
                  </a:lnTo>
                  <a:lnTo>
                    <a:pt x="372" y="325"/>
                  </a:lnTo>
                  <a:lnTo>
                    <a:pt x="458" y="189"/>
                  </a:lnTo>
                  <a:lnTo>
                    <a:pt x="430" y="53"/>
                  </a:lnTo>
                  <a:lnTo>
                    <a:pt x="401" y="26"/>
                  </a:lnTo>
                  <a:lnTo>
                    <a:pt x="343" y="26"/>
                  </a:lnTo>
                  <a:lnTo>
                    <a:pt x="315" y="0"/>
                  </a:lnTo>
                  <a:lnTo>
                    <a:pt x="115" y="135"/>
                  </a:lnTo>
                  <a:lnTo>
                    <a:pt x="0" y="135"/>
                  </a:lnTo>
                  <a:close/>
                </a:path>
              </a:pathLst>
            </a:custGeom>
            <a:solidFill>
              <a:srgbClr val="D9D9D9"/>
            </a:solidFill>
            <a:ln w="6350">
              <a:solidFill>
                <a:schemeClr val="bg1"/>
              </a:solidFill>
              <a:round/>
              <a:headEnd/>
              <a:tailEnd/>
            </a:ln>
          </p:spPr>
          <p:txBody>
            <a:bodyPr lIns="82276" tIns="41138" rIns="82276" bIns="41138"/>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nvGrpSpPr>
            <p:cNvPr id="278" name="Group 387">
              <a:extLst>
                <a:ext uri="{FF2B5EF4-FFF2-40B4-BE49-F238E27FC236}">
                  <a16:creationId xmlns:a16="http://schemas.microsoft.com/office/drawing/2014/main" id="{AB388C8B-992A-BA9B-0E3D-D3C820D354A1}"/>
                </a:ext>
              </a:extLst>
            </p:cNvPr>
            <p:cNvGrpSpPr>
              <a:grpSpLocks/>
            </p:cNvGrpSpPr>
            <p:nvPr/>
          </p:nvGrpSpPr>
          <p:grpSpPr bwMode="auto">
            <a:xfrm>
              <a:off x="2520364" y="2507005"/>
              <a:ext cx="461281" cy="437123"/>
              <a:chOff x="1786" y="955"/>
              <a:chExt cx="401" cy="380"/>
            </a:xfrm>
            <a:solidFill>
              <a:schemeClr val="bg1">
                <a:lumMod val="85000"/>
              </a:schemeClr>
            </a:solidFill>
          </p:grpSpPr>
          <p:sp>
            <p:nvSpPr>
              <p:cNvPr id="488" name="Freeform 388">
                <a:extLst>
                  <a:ext uri="{FF2B5EF4-FFF2-40B4-BE49-F238E27FC236}">
                    <a16:creationId xmlns:a16="http://schemas.microsoft.com/office/drawing/2014/main" id="{FAABB2C7-256D-6207-8CA7-19DAD034BF37}"/>
                  </a:ext>
                </a:extLst>
              </p:cNvPr>
              <p:cNvSpPr>
                <a:spLocks/>
              </p:cNvSpPr>
              <p:nvPr/>
            </p:nvSpPr>
            <p:spPr bwMode="auto">
              <a:xfrm>
                <a:off x="1786" y="955"/>
                <a:ext cx="401" cy="380"/>
              </a:xfrm>
              <a:custGeom>
                <a:avLst/>
                <a:gdLst/>
                <a:ahLst/>
                <a:cxnLst>
                  <a:cxn ang="0">
                    <a:pos x="0" y="0"/>
                  </a:cxn>
                  <a:cxn ang="0">
                    <a:pos x="0" y="380"/>
                  </a:cxn>
                  <a:cxn ang="0">
                    <a:pos x="373" y="380"/>
                  </a:cxn>
                  <a:cxn ang="0">
                    <a:pos x="373" y="298"/>
                  </a:cxn>
                  <a:cxn ang="0">
                    <a:pos x="344" y="218"/>
                  </a:cxn>
                  <a:cxn ang="0">
                    <a:pos x="401" y="190"/>
                  </a:cxn>
                  <a:cxn ang="0">
                    <a:pos x="373" y="136"/>
                  </a:cxn>
                  <a:cxn ang="0">
                    <a:pos x="287" y="109"/>
                  </a:cxn>
                  <a:cxn ang="0">
                    <a:pos x="287" y="0"/>
                  </a:cxn>
                  <a:cxn ang="0">
                    <a:pos x="0" y="0"/>
                  </a:cxn>
                </a:cxnLst>
                <a:rect l="0" t="0" r="r" b="b"/>
                <a:pathLst>
                  <a:path w="401" h="380">
                    <a:moveTo>
                      <a:pt x="0" y="0"/>
                    </a:moveTo>
                    <a:lnTo>
                      <a:pt x="0" y="380"/>
                    </a:lnTo>
                    <a:lnTo>
                      <a:pt x="373" y="380"/>
                    </a:lnTo>
                    <a:lnTo>
                      <a:pt x="373" y="298"/>
                    </a:lnTo>
                    <a:lnTo>
                      <a:pt x="344" y="218"/>
                    </a:lnTo>
                    <a:lnTo>
                      <a:pt x="401" y="190"/>
                    </a:lnTo>
                    <a:lnTo>
                      <a:pt x="373" y="136"/>
                    </a:lnTo>
                    <a:lnTo>
                      <a:pt x="287" y="109"/>
                    </a:lnTo>
                    <a:lnTo>
                      <a:pt x="287"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89" name="Freeform 389">
                <a:extLst>
                  <a:ext uri="{FF2B5EF4-FFF2-40B4-BE49-F238E27FC236}">
                    <a16:creationId xmlns:a16="http://schemas.microsoft.com/office/drawing/2014/main" id="{5CD84710-4400-A83D-0B0C-B75498CA2F19}"/>
                  </a:ext>
                </a:extLst>
              </p:cNvPr>
              <p:cNvSpPr>
                <a:spLocks/>
              </p:cNvSpPr>
              <p:nvPr/>
            </p:nvSpPr>
            <p:spPr bwMode="auto">
              <a:xfrm>
                <a:off x="1786" y="955"/>
                <a:ext cx="401" cy="380"/>
              </a:xfrm>
              <a:custGeom>
                <a:avLst/>
                <a:gdLst/>
                <a:ahLst/>
                <a:cxnLst>
                  <a:cxn ang="0">
                    <a:pos x="0" y="0"/>
                  </a:cxn>
                  <a:cxn ang="0">
                    <a:pos x="0" y="380"/>
                  </a:cxn>
                  <a:cxn ang="0">
                    <a:pos x="373" y="380"/>
                  </a:cxn>
                  <a:cxn ang="0">
                    <a:pos x="373" y="298"/>
                  </a:cxn>
                  <a:cxn ang="0">
                    <a:pos x="344" y="218"/>
                  </a:cxn>
                  <a:cxn ang="0">
                    <a:pos x="401" y="190"/>
                  </a:cxn>
                  <a:cxn ang="0">
                    <a:pos x="373" y="136"/>
                  </a:cxn>
                  <a:cxn ang="0">
                    <a:pos x="287" y="109"/>
                  </a:cxn>
                  <a:cxn ang="0">
                    <a:pos x="287" y="0"/>
                  </a:cxn>
                  <a:cxn ang="0">
                    <a:pos x="0" y="0"/>
                  </a:cxn>
                </a:cxnLst>
                <a:rect l="0" t="0" r="r" b="b"/>
                <a:pathLst>
                  <a:path w="401" h="380">
                    <a:moveTo>
                      <a:pt x="0" y="0"/>
                    </a:moveTo>
                    <a:lnTo>
                      <a:pt x="0" y="380"/>
                    </a:lnTo>
                    <a:lnTo>
                      <a:pt x="373" y="380"/>
                    </a:lnTo>
                    <a:lnTo>
                      <a:pt x="373" y="298"/>
                    </a:lnTo>
                    <a:lnTo>
                      <a:pt x="344" y="218"/>
                    </a:lnTo>
                    <a:lnTo>
                      <a:pt x="401" y="190"/>
                    </a:lnTo>
                    <a:lnTo>
                      <a:pt x="373" y="136"/>
                    </a:lnTo>
                    <a:lnTo>
                      <a:pt x="287" y="109"/>
                    </a:lnTo>
                    <a:lnTo>
                      <a:pt x="287"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79" name="Group 390">
              <a:extLst>
                <a:ext uri="{FF2B5EF4-FFF2-40B4-BE49-F238E27FC236}">
                  <a16:creationId xmlns:a16="http://schemas.microsoft.com/office/drawing/2014/main" id="{22906860-BB0E-6FC2-A090-A3D81D47307F}"/>
                </a:ext>
              </a:extLst>
            </p:cNvPr>
            <p:cNvGrpSpPr>
              <a:grpSpLocks/>
            </p:cNvGrpSpPr>
            <p:nvPr/>
          </p:nvGrpSpPr>
          <p:grpSpPr bwMode="auto">
            <a:xfrm>
              <a:off x="2816000" y="2038823"/>
              <a:ext cx="626927" cy="625776"/>
              <a:chOff x="2043" y="548"/>
              <a:chExt cx="545" cy="544"/>
            </a:xfrm>
            <a:solidFill>
              <a:schemeClr val="bg1">
                <a:lumMod val="85000"/>
              </a:schemeClr>
            </a:solidFill>
          </p:grpSpPr>
          <p:sp>
            <p:nvSpPr>
              <p:cNvPr id="486" name="Freeform 391">
                <a:extLst>
                  <a:ext uri="{FF2B5EF4-FFF2-40B4-BE49-F238E27FC236}">
                    <a16:creationId xmlns:a16="http://schemas.microsoft.com/office/drawing/2014/main" id="{D1673F99-2359-F3D2-7F22-FAB8A4B2129C}"/>
                  </a:ext>
                </a:extLst>
              </p:cNvPr>
              <p:cNvSpPr>
                <a:spLocks/>
              </p:cNvSpPr>
              <p:nvPr/>
            </p:nvSpPr>
            <p:spPr bwMode="auto">
              <a:xfrm>
                <a:off x="2043" y="548"/>
                <a:ext cx="545" cy="544"/>
              </a:xfrm>
              <a:custGeom>
                <a:avLst/>
                <a:gdLst/>
                <a:ahLst/>
                <a:cxnLst>
                  <a:cxn ang="0">
                    <a:pos x="0" y="408"/>
                  </a:cxn>
                  <a:cxn ang="0">
                    <a:pos x="29" y="408"/>
                  </a:cxn>
                  <a:cxn ang="0">
                    <a:pos x="29" y="517"/>
                  </a:cxn>
                  <a:cxn ang="0">
                    <a:pos x="115" y="544"/>
                  </a:cxn>
                  <a:cxn ang="0">
                    <a:pos x="230" y="462"/>
                  </a:cxn>
                  <a:cxn ang="0">
                    <a:pos x="259" y="354"/>
                  </a:cxn>
                  <a:cxn ang="0">
                    <a:pos x="373" y="299"/>
                  </a:cxn>
                  <a:cxn ang="0">
                    <a:pos x="517" y="299"/>
                  </a:cxn>
                  <a:cxn ang="0">
                    <a:pos x="517" y="163"/>
                  </a:cxn>
                  <a:cxn ang="0">
                    <a:pos x="545" y="163"/>
                  </a:cxn>
                  <a:cxn ang="0">
                    <a:pos x="545" y="109"/>
                  </a:cxn>
                  <a:cxn ang="0">
                    <a:pos x="402" y="82"/>
                  </a:cxn>
                  <a:cxn ang="0">
                    <a:pos x="402" y="0"/>
                  </a:cxn>
                  <a:cxn ang="0">
                    <a:pos x="373" y="0"/>
                  </a:cxn>
                  <a:cxn ang="0">
                    <a:pos x="345" y="54"/>
                  </a:cxn>
                  <a:cxn ang="0">
                    <a:pos x="115" y="163"/>
                  </a:cxn>
                  <a:cxn ang="0">
                    <a:pos x="29" y="299"/>
                  </a:cxn>
                  <a:cxn ang="0">
                    <a:pos x="0" y="408"/>
                  </a:cxn>
                </a:cxnLst>
                <a:rect l="0" t="0" r="r" b="b"/>
                <a:pathLst>
                  <a:path w="545" h="544">
                    <a:moveTo>
                      <a:pt x="0" y="408"/>
                    </a:moveTo>
                    <a:lnTo>
                      <a:pt x="29" y="408"/>
                    </a:lnTo>
                    <a:lnTo>
                      <a:pt x="29" y="517"/>
                    </a:lnTo>
                    <a:lnTo>
                      <a:pt x="115" y="544"/>
                    </a:lnTo>
                    <a:lnTo>
                      <a:pt x="230" y="462"/>
                    </a:lnTo>
                    <a:lnTo>
                      <a:pt x="259" y="354"/>
                    </a:lnTo>
                    <a:lnTo>
                      <a:pt x="373" y="299"/>
                    </a:lnTo>
                    <a:lnTo>
                      <a:pt x="517" y="299"/>
                    </a:lnTo>
                    <a:lnTo>
                      <a:pt x="517" y="163"/>
                    </a:lnTo>
                    <a:lnTo>
                      <a:pt x="545" y="163"/>
                    </a:lnTo>
                    <a:lnTo>
                      <a:pt x="545" y="109"/>
                    </a:lnTo>
                    <a:lnTo>
                      <a:pt x="402" y="82"/>
                    </a:lnTo>
                    <a:lnTo>
                      <a:pt x="402" y="0"/>
                    </a:lnTo>
                    <a:lnTo>
                      <a:pt x="373" y="0"/>
                    </a:lnTo>
                    <a:lnTo>
                      <a:pt x="345" y="54"/>
                    </a:lnTo>
                    <a:lnTo>
                      <a:pt x="115" y="163"/>
                    </a:lnTo>
                    <a:lnTo>
                      <a:pt x="29" y="299"/>
                    </a:lnTo>
                    <a:lnTo>
                      <a:pt x="0" y="408"/>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87" name="Freeform 392">
                <a:extLst>
                  <a:ext uri="{FF2B5EF4-FFF2-40B4-BE49-F238E27FC236}">
                    <a16:creationId xmlns:a16="http://schemas.microsoft.com/office/drawing/2014/main" id="{28244924-F51E-1D76-83B9-7717347E1E15}"/>
                  </a:ext>
                </a:extLst>
              </p:cNvPr>
              <p:cNvSpPr>
                <a:spLocks/>
              </p:cNvSpPr>
              <p:nvPr/>
            </p:nvSpPr>
            <p:spPr bwMode="auto">
              <a:xfrm>
                <a:off x="2043" y="548"/>
                <a:ext cx="545" cy="544"/>
              </a:xfrm>
              <a:custGeom>
                <a:avLst/>
                <a:gdLst/>
                <a:ahLst/>
                <a:cxnLst>
                  <a:cxn ang="0">
                    <a:pos x="0" y="408"/>
                  </a:cxn>
                  <a:cxn ang="0">
                    <a:pos x="29" y="408"/>
                  </a:cxn>
                  <a:cxn ang="0">
                    <a:pos x="29" y="517"/>
                  </a:cxn>
                  <a:cxn ang="0">
                    <a:pos x="115" y="544"/>
                  </a:cxn>
                  <a:cxn ang="0">
                    <a:pos x="230" y="462"/>
                  </a:cxn>
                  <a:cxn ang="0">
                    <a:pos x="259" y="354"/>
                  </a:cxn>
                  <a:cxn ang="0">
                    <a:pos x="373" y="299"/>
                  </a:cxn>
                  <a:cxn ang="0">
                    <a:pos x="517" y="299"/>
                  </a:cxn>
                  <a:cxn ang="0">
                    <a:pos x="517" y="163"/>
                  </a:cxn>
                  <a:cxn ang="0">
                    <a:pos x="545" y="163"/>
                  </a:cxn>
                  <a:cxn ang="0">
                    <a:pos x="545" y="109"/>
                  </a:cxn>
                  <a:cxn ang="0">
                    <a:pos x="402" y="82"/>
                  </a:cxn>
                  <a:cxn ang="0">
                    <a:pos x="402" y="0"/>
                  </a:cxn>
                  <a:cxn ang="0">
                    <a:pos x="373" y="0"/>
                  </a:cxn>
                  <a:cxn ang="0">
                    <a:pos x="345" y="54"/>
                  </a:cxn>
                  <a:cxn ang="0">
                    <a:pos x="115" y="163"/>
                  </a:cxn>
                  <a:cxn ang="0">
                    <a:pos x="29" y="299"/>
                  </a:cxn>
                  <a:cxn ang="0">
                    <a:pos x="0" y="408"/>
                  </a:cxn>
                </a:cxnLst>
                <a:rect l="0" t="0" r="r" b="b"/>
                <a:pathLst>
                  <a:path w="545" h="544">
                    <a:moveTo>
                      <a:pt x="0" y="408"/>
                    </a:moveTo>
                    <a:lnTo>
                      <a:pt x="29" y="408"/>
                    </a:lnTo>
                    <a:lnTo>
                      <a:pt x="29" y="517"/>
                    </a:lnTo>
                    <a:lnTo>
                      <a:pt x="115" y="544"/>
                    </a:lnTo>
                    <a:lnTo>
                      <a:pt x="230" y="462"/>
                    </a:lnTo>
                    <a:lnTo>
                      <a:pt x="259" y="354"/>
                    </a:lnTo>
                    <a:lnTo>
                      <a:pt x="373" y="299"/>
                    </a:lnTo>
                    <a:lnTo>
                      <a:pt x="517" y="299"/>
                    </a:lnTo>
                    <a:lnTo>
                      <a:pt x="517" y="163"/>
                    </a:lnTo>
                    <a:lnTo>
                      <a:pt x="545" y="163"/>
                    </a:lnTo>
                    <a:lnTo>
                      <a:pt x="545" y="109"/>
                    </a:lnTo>
                    <a:lnTo>
                      <a:pt x="402" y="82"/>
                    </a:lnTo>
                    <a:lnTo>
                      <a:pt x="402" y="0"/>
                    </a:lnTo>
                    <a:lnTo>
                      <a:pt x="373" y="0"/>
                    </a:lnTo>
                    <a:lnTo>
                      <a:pt x="345" y="54"/>
                    </a:lnTo>
                    <a:lnTo>
                      <a:pt x="115" y="163"/>
                    </a:lnTo>
                    <a:lnTo>
                      <a:pt x="29" y="299"/>
                    </a:lnTo>
                    <a:lnTo>
                      <a:pt x="0" y="408"/>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0" name="Group 393">
              <a:extLst>
                <a:ext uri="{FF2B5EF4-FFF2-40B4-BE49-F238E27FC236}">
                  <a16:creationId xmlns:a16="http://schemas.microsoft.com/office/drawing/2014/main" id="{3E278F76-8C4D-1764-1036-F42C749E1F9F}"/>
                </a:ext>
              </a:extLst>
            </p:cNvPr>
            <p:cNvGrpSpPr>
              <a:grpSpLocks/>
            </p:cNvGrpSpPr>
            <p:nvPr/>
          </p:nvGrpSpPr>
          <p:grpSpPr bwMode="auto">
            <a:xfrm>
              <a:off x="3347447" y="2195269"/>
              <a:ext cx="690195" cy="406065"/>
              <a:chOff x="2505" y="684"/>
              <a:chExt cx="600" cy="353"/>
            </a:xfrm>
            <a:solidFill>
              <a:schemeClr val="bg1">
                <a:lumMod val="85000"/>
              </a:schemeClr>
            </a:solidFill>
          </p:grpSpPr>
          <p:sp>
            <p:nvSpPr>
              <p:cNvPr id="484" name="Freeform 394">
                <a:extLst>
                  <a:ext uri="{FF2B5EF4-FFF2-40B4-BE49-F238E27FC236}">
                    <a16:creationId xmlns:a16="http://schemas.microsoft.com/office/drawing/2014/main" id="{5B99AE0E-2BA5-0F71-0B2F-CE240E0FF51F}"/>
                  </a:ext>
                </a:extLst>
              </p:cNvPr>
              <p:cNvSpPr>
                <a:spLocks/>
              </p:cNvSpPr>
              <p:nvPr/>
            </p:nvSpPr>
            <p:spPr bwMode="auto">
              <a:xfrm>
                <a:off x="2505" y="684"/>
                <a:ext cx="600" cy="353"/>
              </a:xfrm>
              <a:custGeom>
                <a:avLst/>
                <a:gdLst/>
                <a:ahLst/>
                <a:cxnLst>
                  <a:cxn ang="0">
                    <a:pos x="86" y="0"/>
                  </a:cxn>
                  <a:cxn ang="0">
                    <a:pos x="86" y="27"/>
                  </a:cxn>
                  <a:cxn ang="0">
                    <a:pos x="57" y="27"/>
                  </a:cxn>
                  <a:cxn ang="0">
                    <a:pos x="57" y="218"/>
                  </a:cxn>
                  <a:cxn ang="0">
                    <a:pos x="0" y="353"/>
                  </a:cxn>
                  <a:cxn ang="0">
                    <a:pos x="200" y="353"/>
                  </a:cxn>
                  <a:cxn ang="0">
                    <a:pos x="371" y="299"/>
                  </a:cxn>
                  <a:cxn ang="0">
                    <a:pos x="400" y="353"/>
                  </a:cxn>
                  <a:cxn ang="0">
                    <a:pos x="514" y="353"/>
                  </a:cxn>
                  <a:cxn ang="0">
                    <a:pos x="514" y="245"/>
                  </a:cxn>
                  <a:cxn ang="0">
                    <a:pos x="600" y="190"/>
                  </a:cxn>
                  <a:cxn ang="0">
                    <a:pos x="486" y="163"/>
                  </a:cxn>
                  <a:cxn ang="0">
                    <a:pos x="514" y="109"/>
                  </a:cxn>
                  <a:cxn ang="0">
                    <a:pos x="400" y="55"/>
                  </a:cxn>
                  <a:cxn ang="0">
                    <a:pos x="486" y="55"/>
                  </a:cxn>
                  <a:cxn ang="0">
                    <a:pos x="400" y="0"/>
                  </a:cxn>
                  <a:cxn ang="0">
                    <a:pos x="86" y="0"/>
                  </a:cxn>
                </a:cxnLst>
                <a:rect l="0" t="0" r="r" b="b"/>
                <a:pathLst>
                  <a:path w="600" h="353">
                    <a:moveTo>
                      <a:pt x="86" y="0"/>
                    </a:moveTo>
                    <a:lnTo>
                      <a:pt x="86" y="27"/>
                    </a:lnTo>
                    <a:lnTo>
                      <a:pt x="57" y="27"/>
                    </a:lnTo>
                    <a:lnTo>
                      <a:pt x="57" y="218"/>
                    </a:lnTo>
                    <a:lnTo>
                      <a:pt x="0" y="353"/>
                    </a:lnTo>
                    <a:lnTo>
                      <a:pt x="200" y="353"/>
                    </a:lnTo>
                    <a:lnTo>
                      <a:pt x="371" y="299"/>
                    </a:lnTo>
                    <a:lnTo>
                      <a:pt x="400" y="353"/>
                    </a:lnTo>
                    <a:lnTo>
                      <a:pt x="514" y="353"/>
                    </a:lnTo>
                    <a:lnTo>
                      <a:pt x="514" y="245"/>
                    </a:lnTo>
                    <a:lnTo>
                      <a:pt x="600" y="190"/>
                    </a:lnTo>
                    <a:lnTo>
                      <a:pt x="486" y="163"/>
                    </a:lnTo>
                    <a:lnTo>
                      <a:pt x="514" y="109"/>
                    </a:lnTo>
                    <a:lnTo>
                      <a:pt x="400" y="55"/>
                    </a:lnTo>
                    <a:lnTo>
                      <a:pt x="486" y="55"/>
                    </a:lnTo>
                    <a:lnTo>
                      <a:pt x="400" y="0"/>
                    </a:lnTo>
                    <a:lnTo>
                      <a:pt x="86"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85" name="Freeform 395">
                <a:extLst>
                  <a:ext uri="{FF2B5EF4-FFF2-40B4-BE49-F238E27FC236}">
                    <a16:creationId xmlns:a16="http://schemas.microsoft.com/office/drawing/2014/main" id="{0DB77C46-6312-59FE-38F2-039E48B4F5F5}"/>
                  </a:ext>
                </a:extLst>
              </p:cNvPr>
              <p:cNvSpPr>
                <a:spLocks/>
              </p:cNvSpPr>
              <p:nvPr/>
            </p:nvSpPr>
            <p:spPr bwMode="auto">
              <a:xfrm>
                <a:off x="2505" y="684"/>
                <a:ext cx="600" cy="353"/>
              </a:xfrm>
              <a:custGeom>
                <a:avLst/>
                <a:gdLst/>
                <a:ahLst/>
                <a:cxnLst>
                  <a:cxn ang="0">
                    <a:pos x="86" y="0"/>
                  </a:cxn>
                  <a:cxn ang="0">
                    <a:pos x="86" y="27"/>
                  </a:cxn>
                  <a:cxn ang="0">
                    <a:pos x="57" y="27"/>
                  </a:cxn>
                  <a:cxn ang="0">
                    <a:pos x="57" y="218"/>
                  </a:cxn>
                  <a:cxn ang="0">
                    <a:pos x="0" y="353"/>
                  </a:cxn>
                  <a:cxn ang="0">
                    <a:pos x="200" y="353"/>
                  </a:cxn>
                  <a:cxn ang="0">
                    <a:pos x="371" y="299"/>
                  </a:cxn>
                  <a:cxn ang="0">
                    <a:pos x="400" y="353"/>
                  </a:cxn>
                  <a:cxn ang="0">
                    <a:pos x="514" y="353"/>
                  </a:cxn>
                  <a:cxn ang="0">
                    <a:pos x="514" y="245"/>
                  </a:cxn>
                  <a:cxn ang="0">
                    <a:pos x="600" y="190"/>
                  </a:cxn>
                  <a:cxn ang="0">
                    <a:pos x="486" y="163"/>
                  </a:cxn>
                  <a:cxn ang="0">
                    <a:pos x="514" y="109"/>
                  </a:cxn>
                  <a:cxn ang="0">
                    <a:pos x="400" y="55"/>
                  </a:cxn>
                  <a:cxn ang="0">
                    <a:pos x="486" y="55"/>
                  </a:cxn>
                  <a:cxn ang="0">
                    <a:pos x="400" y="0"/>
                  </a:cxn>
                  <a:cxn ang="0">
                    <a:pos x="86" y="0"/>
                  </a:cxn>
                </a:cxnLst>
                <a:rect l="0" t="0" r="r" b="b"/>
                <a:pathLst>
                  <a:path w="600" h="353">
                    <a:moveTo>
                      <a:pt x="86" y="0"/>
                    </a:moveTo>
                    <a:lnTo>
                      <a:pt x="86" y="27"/>
                    </a:lnTo>
                    <a:lnTo>
                      <a:pt x="57" y="27"/>
                    </a:lnTo>
                    <a:lnTo>
                      <a:pt x="57" y="218"/>
                    </a:lnTo>
                    <a:lnTo>
                      <a:pt x="0" y="353"/>
                    </a:lnTo>
                    <a:lnTo>
                      <a:pt x="200" y="353"/>
                    </a:lnTo>
                    <a:lnTo>
                      <a:pt x="371" y="299"/>
                    </a:lnTo>
                    <a:lnTo>
                      <a:pt x="400" y="353"/>
                    </a:lnTo>
                    <a:lnTo>
                      <a:pt x="514" y="353"/>
                    </a:lnTo>
                    <a:lnTo>
                      <a:pt x="514" y="245"/>
                    </a:lnTo>
                    <a:lnTo>
                      <a:pt x="600" y="190"/>
                    </a:lnTo>
                    <a:lnTo>
                      <a:pt x="486" y="163"/>
                    </a:lnTo>
                    <a:lnTo>
                      <a:pt x="514" y="109"/>
                    </a:lnTo>
                    <a:lnTo>
                      <a:pt x="400" y="55"/>
                    </a:lnTo>
                    <a:lnTo>
                      <a:pt x="486" y="55"/>
                    </a:lnTo>
                    <a:lnTo>
                      <a:pt x="400" y="0"/>
                    </a:lnTo>
                    <a:lnTo>
                      <a:pt x="86"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1" name="Group 396">
              <a:extLst>
                <a:ext uri="{FF2B5EF4-FFF2-40B4-BE49-F238E27FC236}">
                  <a16:creationId xmlns:a16="http://schemas.microsoft.com/office/drawing/2014/main" id="{4BB7A8F3-4A51-4DD9-587E-456ABAA5A78B}"/>
                </a:ext>
              </a:extLst>
            </p:cNvPr>
            <p:cNvGrpSpPr>
              <a:grpSpLocks/>
            </p:cNvGrpSpPr>
            <p:nvPr/>
          </p:nvGrpSpPr>
          <p:grpSpPr bwMode="auto">
            <a:xfrm>
              <a:off x="2914925" y="2382772"/>
              <a:ext cx="495790" cy="592416"/>
              <a:chOff x="2129" y="847"/>
              <a:chExt cx="431" cy="515"/>
            </a:xfrm>
            <a:solidFill>
              <a:schemeClr val="bg1">
                <a:lumMod val="85000"/>
              </a:schemeClr>
            </a:solidFill>
          </p:grpSpPr>
          <p:sp>
            <p:nvSpPr>
              <p:cNvPr id="482" name="Freeform 397">
                <a:extLst>
                  <a:ext uri="{FF2B5EF4-FFF2-40B4-BE49-F238E27FC236}">
                    <a16:creationId xmlns:a16="http://schemas.microsoft.com/office/drawing/2014/main" id="{E58304D0-098D-713B-D793-A02DA7C3B001}"/>
                  </a:ext>
                </a:extLst>
              </p:cNvPr>
              <p:cNvSpPr>
                <a:spLocks/>
              </p:cNvSpPr>
              <p:nvPr/>
            </p:nvSpPr>
            <p:spPr bwMode="auto">
              <a:xfrm>
                <a:off x="2129" y="847"/>
                <a:ext cx="431" cy="515"/>
              </a:xfrm>
              <a:custGeom>
                <a:avLst/>
                <a:gdLst/>
                <a:ahLst/>
                <a:cxnLst>
                  <a:cxn ang="0">
                    <a:pos x="29" y="244"/>
                  </a:cxn>
                  <a:cxn ang="0">
                    <a:pos x="58" y="299"/>
                  </a:cxn>
                  <a:cxn ang="0">
                    <a:pos x="0" y="326"/>
                  </a:cxn>
                  <a:cxn ang="0">
                    <a:pos x="29" y="406"/>
                  </a:cxn>
                  <a:cxn ang="0">
                    <a:pos x="144" y="515"/>
                  </a:cxn>
                  <a:cxn ang="0">
                    <a:pos x="288" y="434"/>
                  </a:cxn>
                  <a:cxn ang="0">
                    <a:pos x="345" y="434"/>
                  </a:cxn>
                  <a:cxn ang="0">
                    <a:pos x="345" y="515"/>
                  </a:cxn>
                  <a:cxn ang="0">
                    <a:pos x="403" y="461"/>
                  </a:cxn>
                  <a:cxn ang="0">
                    <a:pos x="431" y="190"/>
                  </a:cxn>
                  <a:cxn ang="0">
                    <a:pos x="374" y="190"/>
                  </a:cxn>
                  <a:cxn ang="0">
                    <a:pos x="431" y="54"/>
                  </a:cxn>
                  <a:cxn ang="0">
                    <a:pos x="431" y="0"/>
                  </a:cxn>
                  <a:cxn ang="0">
                    <a:pos x="288" y="0"/>
                  </a:cxn>
                  <a:cxn ang="0">
                    <a:pos x="172" y="54"/>
                  </a:cxn>
                  <a:cxn ang="0">
                    <a:pos x="144" y="163"/>
                  </a:cxn>
                  <a:cxn ang="0">
                    <a:pos x="29" y="244"/>
                  </a:cxn>
                </a:cxnLst>
                <a:rect l="0" t="0" r="r" b="b"/>
                <a:pathLst>
                  <a:path w="431" h="515">
                    <a:moveTo>
                      <a:pt x="29" y="244"/>
                    </a:moveTo>
                    <a:lnTo>
                      <a:pt x="58" y="299"/>
                    </a:lnTo>
                    <a:lnTo>
                      <a:pt x="0" y="326"/>
                    </a:lnTo>
                    <a:lnTo>
                      <a:pt x="29" y="406"/>
                    </a:lnTo>
                    <a:lnTo>
                      <a:pt x="144" y="515"/>
                    </a:lnTo>
                    <a:lnTo>
                      <a:pt x="288" y="434"/>
                    </a:lnTo>
                    <a:lnTo>
                      <a:pt x="345" y="434"/>
                    </a:lnTo>
                    <a:lnTo>
                      <a:pt x="345" y="515"/>
                    </a:lnTo>
                    <a:lnTo>
                      <a:pt x="403" y="461"/>
                    </a:lnTo>
                    <a:lnTo>
                      <a:pt x="431" y="190"/>
                    </a:lnTo>
                    <a:lnTo>
                      <a:pt x="374" y="190"/>
                    </a:lnTo>
                    <a:lnTo>
                      <a:pt x="431" y="54"/>
                    </a:lnTo>
                    <a:lnTo>
                      <a:pt x="431" y="0"/>
                    </a:lnTo>
                    <a:lnTo>
                      <a:pt x="288" y="0"/>
                    </a:lnTo>
                    <a:lnTo>
                      <a:pt x="172" y="54"/>
                    </a:lnTo>
                    <a:lnTo>
                      <a:pt x="144" y="163"/>
                    </a:lnTo>
                    <a:lnTo>
                      <a:pt x="29" y="24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83" name="Freeform 398">
                <a:extLst>
                  <a:ext uri="{FF2B5EF4-FFF2-40B4-BE49-F238E27FC236}">
                    <a16:creationId xmlns:a16="http://schemas.microsoft.com/office/drawing/2014/main" id="{EF77600B-C2DA-FA1A-F1BB-56C1DE54407E}"/>
                  </a:ext>
                </a:extLst>
              </p:cNvPr>
              <p:cNvSpPr>
                <a:spLocks/>
              </p:cNvSpPr>
              <p:nvPr/>
            </p:nvSpPr>
            <p:spPr bwMode="auto">
              <a:xfrm>
                <a:off x="2129" y="847"/>
                <a:ext cx="431" cy="515"/>
              </a:xfrm>
              <a:custGeom>
                <a:avLst/>
                <a:gdLst/>
                <a:ahLst/>
                <a:cxnLst>
                  <a:cxn ang="0">
                    <a:pos x="29" y="244"/>
                  </a:cxn>
                  <a:cxn ang="0">
                    <a:pos x="58" y="299"/>
                  </a:cxn>
                  <a:cxn ang="0">
                    <a:pos x="0" y="326"/>
                  </a:cxn>
                  <a:cxn ang="0">
                    <a:pos x="29" y="406"/>
                  </a:cxn>
                  <a:cxn ang="0">
                    <a:pos x="144" y="515"/>
                  </a:cxn>
                  <a:cxn ang="0">
                    <a:pos x="288" y="434"/>
                  </a:cxn>
                  <a:cxn ang="0">
                    <a:pos x="345" y="434"/>
                  </a:cxn>
                  <a:cxn ang="0">
                    <a:pos x="345" y="515"/>
                  </a:cxn>
                  <a:cxn ang="0">
                    <a:pos x="403" y="461"/>
                  </a:cxn>
                  <a:cxn ang="0">
                    <a:pos x="431" y="190"/>
                  </a:cxn>
                  <a:cxn ang="0">
                    <a:pos x="374" y="190"/>
                  </a:cxn>
                  <a:cxn ang="0">
                    <a:pos x="431" y="54"/>
                  </a:cxn>
                  <a:cxn ang="0">
                    <a:pos x="431" y="0"/>
                  </a:cxn>
                  <a:cxn ang="0">
                    <a:pos x="288" y="0"/>
                  </a:cxn>
                  <a:cxn ang="0">
                    <a:pos x="172" y="54"/>
                  </a:cxn>
                  <a:cxn ang="0">
                    <a:pos x="144" y="163"/>
                  </a:cxn>
                  <a:cxn ang="0">
                    <a:pos x="29" y="244"/>
                  </a:cxn>
                </a:cxnLst>
                <a:rect l="0" t="0" r="r" b="b"/>
                <a:pathLst>
                  <a:path w="431" h="515">
                    <a:moveTo>
                      <a:pt x="29" y="244"/>
                    </a:moveTo>
                    <a:lnTo>
                      <a:pt x="58" y="299"/>
                    </a:lnTo>
                    <a:lnTo>
                      <a:pt x="0" y="326"/>
                    </a:lnTo>
                    <a:lnTo>
                      <a:pt x="29" y="406"/>
                    </a:lnTo>
                    <a:lnTo>
                      <a:pt x="144" y="515"/>
                    </a:lnTo>
                    <a:lnTo>
                      <a:pt x="288" y="434"/>
                    </a:lnTo>
                    <a:lnTo>
                      <a:pt x="345" y="434"/>
                    </a:lnTo>
                    <a:lnTo>
                      <a:pt x="345" y="515"/>
                    </a:lnTo>
                    <a:lnTo>
                      <a:pt x="403" y="461"/>
                    </a:lnTo>
                    <a:lnTo>
                      <a:pt x="431" y="190"/>
                    </a:lnTo>
                    <a:lnTo>
                      <a:pt x="374" y="190"/>
                    </a:lnTo>
                    <a:lnTo>
                      <a:pt x="431" y="54"/>
                    </a:lnTo>
                    <a:lnTo>
                      <a:pt x="431" y="0"/>
                    </a:lnTo>
                    <a:lnTo>
                      <a:pt x="288" y="0"/>
                    </a:lnTo>
                    <a:lnTo>
                      <a:pt x="172" y="54"/>
                    </a:lnTo>
                    <a:lnTo>
                      <a:pt x="144" y="163"/>
                    </a:lnTo>
                    <a:lnTo>
                      <a:pt x="29" y="244"/>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2" name="Group 399">
              <a:extLst>
                <a:ext uri="{FF2B5EF4-FFF2-40B4-BE49-F238E27FC236}">
                  <a16:creationId xmlns:a16="http://schemas.microsoft.com/office/drawing/2014/main" id="{D30F2820-3E72-FF7B-EE69-A261868DF9B1}"/>
                </a:ext>
              </a:extLst>
            </p:cNvPr>
            <p:cNvGrpSpPr>
              <a:grpSpLocks/>
            </p:cNvGrpSpPr>
            <p:nvPr/>
          </p:nvGrpSpPr>
          <p:grpSpPr bwMode="auto">
            <a:xfrm>
              <a:off x="3312938" y="2539216"/>
              <a:ext cx="594718" cy="592416"/>
              <a:chOff x="2475" y="983"/>
              <a:chExt cx="517" cy="515"/>
            </a:xfrm>
            <a:solidFill>
              <a:schemeClr val="bg1">
                <a:lumMod val="85000"/>
              </a:schemeClr>
            </a:solidFill>
          </p:grpSpPr>
          <p:sp>
            <p:nvSpPr>
              <p:cNvPr id="480" name="Freeform 400">
                <a:extLst>
                  <a:ext uri="{FF2B5EF4-FFF2-40B4-BE49-F238E27FC236}">
                    <a16:creationId xmlns:a16="http://schemas.microsoft.com/office/drawing/2014/main" id="{40D8B53B-1CFC-614D-6A37-AB7C2A12420D}"/>
                  </a:ext>
                </a:extLst>
              </p:cNvPr>
              <p:cNvSpPr>
                <a:spLocks/>
              </p:cNvSpPr>
              <p:nvPr/>
            </p:nvSpPr>
            <p:spPr bwMode="auto">
              <a:xfrm>
                <a:off x="2475" y="983"/>
                <a:ext cx="517" cy="515"/>
              </a:xfrm>
              <a:custGeom>
                <a:avLst/>
                <a:gdLst/>
                <a:ahLst/>
                <a:cxnLst>
                  <a:cxn ang="0">
                    <a:pos x="86" y="54"/>
                  </a:cxn>
                  <a:cxn ang="0">
                    <a:pos x="57" y="325"/>
                  </a:cxn>
                  <a:cxn ang="0">
                    <a:pos x="0" y="379"/>
                  </a:cxn>
                  <a:cxn ang="0">
                    <a:pos x="0" y="461"/>
                  </a:cxn>
                  <a:cxn ang="0">
                    <a:pos x="28" y="515"/>
                  </a:cxn>
                  <a:cxn ang="0">
                    <a:pos x="287" y="515"/>
                  </a:cxn>
                  <a:cxn ang="0">
                    <a:pos x="316" y="488"/>
                  </a:cxn>
                  <a:cxn ang="0">
                    <a:pos x="201" y="488"/>
                  </a:cxn>
                  <a:cxn ang="0">
                    <a:pos x="230" y="407"/>
                  </a:cxn>
                  <a:cxn ang="0">
                    <a:pos x="287" y="461"/>
                  </a:cxn>
                  <a:cxn ang="0">
                    <a:pos x="287" y="407"/>
                  </a:cxn>
                  <a:cxn ang="0">
                    <a:pos x="459" y="245"/>
                  </a:cxn>
                  <a:cxn ang="0">
                    <a:pos x="517" y="109"/>
                  </a:cxn>
                  <a:cxn ang="0">
                    <a:pos x="459" y="109"/>
                  </a:cxn>
                  <a:cxn ang="0">
                    <a:pos x="344" y="109"/>
                  </a:cxn>
                  <a:cxn ang="0">
                    <a:pos x="430" y="54"/>
                  </a:cxn>
                  <a:cxn ang="0">
                    <a:pos x="401" y="0"/>
                  </a:cxn>
                  <a:cxn ang="0">
                    <a:pos x="230" y="54"/>
                  </a:cxn>
                  <a:cxn ang="0">
                    <a:pos x="86" y="54"/>
                  </a:cxn>
                </a:cxnLst>
                <a:rect l="0" t="0" r="r" b="b"/>
                <a:pathLst>
                  <a:path w="517" h="515">
                    <a:moveTo>
                      <a:pt x="86" y="54"/>
                    </a:moveTo>
                    <a:lnTo>
                      <a:pt x="57" y="325"/>
                    </a:lnTo>
                    <a:lnTo>
                      <a:pt x="0" y="379"/>
                    </a:lnTo>
                    <a:lnTo>
                      <a:pt x="0" y="461"/>
                    </a:lnTo>
                    <a:lnTo>
                      <a:pt x="28" y="515"/>
                    </a:lnTo>
                    <a:lnTo>
                      <a:pt x="287" y="515"/>
                    </a:lnTo>
                    <a:lnTo>
                      <a:pt x="316" y="488"/>
                    </a:lnTo>
                    <a:lnTo>
                      <a:pt x="201" y="488"/>
                    </a:lnTo>
                    <a:lnTo>
                      <a:pt x="230" y="407"/>
                    </a:lnTo>
                    <a:lnTo>
                      <a:pt x="287" y="461"/>
                    </a:lnTo>
                    <a:lnTo>
                      <a:pt x="287" y="407"/>
                    </a:lnTo>
                    <a:lnTo>
                      <a:pt x="459" y="245"/>
                    </a:lnTo>
                    <a:lnTo>
                      <a:pt x="517" y="109"/>
                    </a:lnTo>
                    <a:lnTo>
                      <a:pt x="459" y="109"/>
                    </a:lnTo>
                    <a:lnTo>
                      <a:pt x="344" y="109"/>
                    </a:lnTo>
                    <a:lnTo>
                      <a:pt x="430" y="54"/>
                    </a:lnTo>
                    <a:lnTo>
                      <a:pt x="401" y="0"/>
                    </a:lnTo>
                    <a:lnTo>
                      <a:pt x="230" y="54"/>
                    </a:lnTo>
                    <a:lnTo>
                      <a:pt x="86" y="5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81" name="Freeform 401">
                <a:extLst>
                  <a:ext uri="{FF2B5EF4-FFF2-40B4-BE49-F238E27FC236}">
                    <a16:creationId xmlns:a16="http://schemas.microsoft.com/office/drawing/2014/main" id="{15E2E4CE-3398-46B0-BAC0-F62339EDD5A0}"/>
                  </a:ext>
                </a:extLst>
              </p:cNvPr>
              <p:cNvSpPr>
                <a:spLocks/>
              </p:cNvSpPr>
              <p:nvPr/>
            </p:nvSpPr>
            <p:spPr bwMode="auto">
              <a:xfrm>
                <a:off x="2475" y="983"/>
                <a:ext cx="517" cy="515"/>
              </a:xfrm>
              <a:custGeom>
                <a:avLst/>
                <a:gdLst/>
                <a:ahLst/>
                <a:cxnLst>
                  <a:cxn ang="0">
                    <a:pos x="86" y="54"/>
                  </a:cxn>
                  <a:cxn ang="0">
                    <a:pos x="57" y="325"/>
                  </a:cxn>
                  <a:cxn ang="0">
                    <a:pos x="0" y="379"/>
                  </a:cxn>
                  <a:cxn ang="0">
                    <a:pos x="0" y="461"/>
                  </a:cxn>
                  <a:cxn ang="0">
                    <a:pos x="28" y="515"/>
                  </a:cxn>
                  <a:cxn ang="0">
                    <a:pos x="287" y="515"/>
                  </a:cxn>
                  <a:cxn ang="0">
                    <a:pos x="316" y="488"/>
                  </a:cxn>
                  <a:cxn ang="0">
                    <a:pos x="201" y="488"/>
                  </a:cxn>
                  <a:cxn ang="0">
                    <a:pos x="230" y="407"/>
                  </a:cxn>
                  <a:cxn ang="0">
                    <a:pos x="287" y="461"/>
                  </a:cxn>
                  <a:cxn ang="0">
                    <a:pos x="287" y="407"/>
                  </a:cxn>
                  <a:cxn ang="0">
                    <a:pos x="459" y="245"/>
                  </a:cxn>
                  <a:cxn ang="0">
                    <a:pos x="517" y="109"/>
                  </a:cxn>
                  <a:cxn ang="0">
                    <a:pos x="459" y="109"/>
                  </a:cxn>
                  <a:cxn ang="0">
                    <a:pos x="344" y="109"/>
                  </a:cxn>
                  <a:cxn ang="0">
                    <a:pos x="430" y="54"/>
                  </a:cxn>
                  <a:cxn ang="0">
                    <a:pos x="401" y="0"/>
                  </a:cxn>
                  <a:cxn ang="0">
                    <a:pos x="230" y="54"/>
                  </a:cxn>
                  <a:cxn ang="0">
                    <a:pos x="86" y="54"/>
                  </a:cxn>
                </a:cxnLst>
                <a:rect l="0" t="0" r="r" b="b"/>
                <a:pathLst>
                  <a:path w="517" h="515">
                    <a:moveTo>
                      <a:pt x="86" y="54"/>
                    </a:moveTo>
                    <a:lnTo>
                      <a:pt x="57" y="325"/>
                    </a:lnTo>
                    <a:lnTo>
                      <a:pt x="0" y="379"/>
                    </a:lnTo>
                    <a:lnTo>
                      <a:pt x="0" y="461"/>
                    </a:lnTo>
                    <a:lnTo>
                      <a:pt x="28" y="515"/>
                    </a:lnTo>
                    <a:lnTo>
                      <a:pt x="287" y="515"/>
                    </a:lnTo>
                    <a:lnTo>
                      <a:pt x="316" y="488"/>
                    </a:lnTo>
                    <a:lnTo>
                      <a:pt x="201" y="488"/>
                    </a:lnTo>
                    <a:lnTo>
                      <a:pt x="230" y="407"/>
                    </a:lnTo>
                    <a:lnTo>
                      <a:pt x="287" y="461"/>
                    </a:lnTo>
                    <a:lnTo>
                      <a:pt x="287" y="407"/>
                    </a:lnTo>
                    <a:lnTo>
                      <a:pt x="459" y="245"/>
                    </a:lnTo>
                    <a:lnTo>
                      <a:pt x="517" y="109"/>
                    </a:lnTo>
                    <a:lnTo>
                      <a:pt x="459" y="109"/>
                    </a:lnTo>
                    <a:lnTo>
                      <a:pt x="344" y="109"/>
                    </a:lnTo>
                    <a:lnTo>
                      <a:pt x="430" y="54"/>
                    </a:lnTo>
                    <a:lnTo>
                      <a:pt x="401" y="0"/>
                    </a:lnTo>
                    <a:lnTo>
                      <a:pt x="230" y="54"/>
                    </a:lnTo>
                    <a:lnTo>
                      <a:pt x="86" y="54"/>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3" name="Group 402">
              <a:extLst>
                <a:ext uri="{FF2B5EF4-FFF2-40B4-BE49-F238E27FC236}">
                  <a16:creationId xmlns:a16="http://schemas.microsoft.com/office/drawing/2014/main" id="{7DBF265C-DB68-0EFB-7D8B-B014EE74C9C2}"/>
                </a:ext>
              </a:extLst>
            </p:cNvPr>
            <p:cNvGrpSpPr>
              <a:grpSpLocks/>
            </p:cNvGrpSpPr>
            <p:nvPr/>
          </p:nvGrpSpPr>
          <p:grpSpPr bwMode="auto">
            <a:xfrm>
              <a:off x="1301021" y="2664601"/>
              <a:ext cx="790273" cy="966273"/>
              <a:chOff x="726" y="1092"/>
              <a:chExt cx="687" cy="840"/>
            </a:xfrm>
            <a:solidFill>
              <a:schemeClr val="accent6"/>
            </a:solidFill>
          </p:grpSpPr>
          <p:sp>
            <p:nvSpPr>
              <p:cNvPr id="478" name="Freeform 403">
                <a:extLst>
                  <a:ext uri="{FF2B5EF4-FFF2-40B4-BE49-F238E27FC236}">
                    <a16:creationId xmlns:a16="http://schemas.microsoft.com/office/drawing/2014/main" id="{BD931B7F-DD30-2A41-CB4B-28A56E66F0D9}"/>
                  </a:ext>
                </a:extLst>
              </p:cNvPr>
              <p:cNvSpPr>
                <a:spLocks/>
              </p:cNvSpPr>
              <p:nvPr/>
            </p:nvSpPr>
            <p:spPr bwMode="auto">
              <a:xfrm>
                <a:off x="726" y="1092"/>
                <a:ext cx="687" cy="840"/>
              </a:xfrm>
              <a:custGeom>
                <a:avLst/>
                <a:gdLst/>
                <a:ahLst/>
                <a:cxnLst>
                  <a:cxn ang="0">
                    <a:pos x="258" y="0"/>
                  </a:cxn>
                  <a:cxn ang="0">
                    <a:pos x="315" y="189"/>
                  </a:cxn>
                  <a:cxn ang="0">
                    <a:pos x="200" y="189"/>
                  </a:cxn>
                  <a:cxn ang="0">
                    <a:pos x="200" y="270"/>
                  </a:cxn>
                  <a:cxn ang="0">
                    <a:pos x="114" y="270"/>
                  </a:cxn>
                  <a:cxn ang="0">
                    <a:pos x="86" y="216"/>
                  </a:cxn>
                  <a:cxn ang="0">
                    <a:pos x="0" y="216"/>
                  </a:cxn>
                  <a:cxn ang="0">
                    <a:pos x="0" y="433"/>
                  </a:cxn>
                  <a:cxn ang="0">
                    <a:pos x="114" y="433"/>
                  </a:cxn>
                  <a:cxn ang="0">
                    <a:pos x="114" y="623"/>
                  </a:cxn>
                  <a:cxn ang="0">
                    <a:pos x="200" y="623"/>
                  </a:cxn>
                  <a:cxn ang="0">
                    <a:pos x="200" y="813"/>
                  </a:cxn>
                  <a:cxn ang="0">
                    <a:pos x="371" y="813"/>
                  </a:cxn>
                  <a:cxn ang="0">
                    <a:pos x="457" y="840"/>
                  </a:cxn>
                  <a:cxn ang="0">
                    <a:pos x="687" y="650"/>
                  </a:cxn>
                  <a:cxn ang="0">
                    <a:pos x="601" y="569"/>
                  </a:cxn>
                  <a:cxn ang="0">
                    <a:pos x="515" y="542"/>
                  </a:cxn>
                  <a:cxn ang="0">
                    <a:pos x="457" y="460"/>
                  </a:cxn>
                  <a:cxn ang="0">
                    <a:pos x="486" y="297"/>
                  </a:cxn>
                  <a:cxn ang="0">
                    <a:pos x="543" y="189"/>
                  </a:cxn>
                  <a:cxn ang="0">
                    <a:pos x="457" y="0"/>
                  </a:cxn>
                  <a:cxn ang="0">
                    <a:pos x="258" y="0"/>
                  </a:cxn>
                </a:cxnLst>
                <a:rect l="0" t="0" r="r" b="b"/>
                <a:pathLst>
                  <a:path w="687" h="840">
                    <a:moveTo>
                      <a:pt x="258" y="0"/>
                    </a:moveTo>
                    <a:lnTo>
                      <a:pt x="315" y="189"/>
                    </a:lnTo>
                    <a:lnTo>
                      <a:pt x="200" y="189"/>
                    </a:lnTo>
                    <a:lnTo>
                      <a:pt x="200" y="270"/>
                    </a:lnTo>
                    <a:lnTo>
                      <a:pt x="114" y="270"/>
                    </a:lnTo>
                    <a:lnTo>
                      <a:pt x="86" y="216"/>
                    </a:lnTo>
                    <a:lnTo>
                      <a:pt x="0" y="216"/>
                    </a:lnTo>
                    <a:lnTo>
                      <a:pt x="0" y="433"/>
                    </a:lnTo>
                    <a:lnTo>
                      <a:pt x="114" y="433"/>
                    </a:lnTo>
                    <a:lnTo>
                      <a:pt x="114" y="623"/>
                    </a:lnTo>
                    <a:lnTo>
                      <a:pt x="200" y="623"/>
                    </a:lnTo>
                    <a:lnTo>
                      <a:pt x="200" y="813"/>
                    </a:lnTo>
                    <a:lnTo>
                      <a:pt x="371" y="813"/>
                    </a:lnTo>
                    <a:lnTo>
                      <a:pt x="457" y="840"/>
                    </a:lnTo>
                    <a:lnTo>
                      <a:pt x="687" y="650"/>
                    </a:lnTo>
                    <a:lnTo>
                      <a:pt x="601" y="569"/>
                    </a:lnTo>
                    <a:lnTo>
                      <a:pt x="515" y="542"/>
                    </a:lnTo>
                    <a:lnTo>
                      <a:pt x="457" y="460"/>
                    </a:lnTo>
                    <a:lnTo>
                      <a:pt x="486" y="297"/>
                    </a:lnTo>
                    <a:lnTo>
                      <a:pt x="543" y="189"/>
                    </a:lnTo>
                    <a:lnTo>
                      <a:pt x="457" y="0"/>
                    </a:lnTo>
                    <a:lnTo>
                      <a:pt x="258"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79" name="Freeform 404">
                <a:extLst>
                  <a:ext uri="{FF2B5EF4-FFF2-40B4-BE49-F238E27FC236}">
                    <a16:creationId xmlns:a16="http://schemas.microsoft.com/office/drawing/2014/main" id="{C68E31A6-DBA2-A493-3714-8F4773C3096B}"/>
                  </a:ext>
                </a:extLst>
              </p:cNvPr>
              <p:cNvSpPr>
                <a:spLocks/>
              </p:cNvSpPr>
              <p:nvPr/>
            </p:nvSpPr>
            <p:spPr bwMode="auto">
              <a:xfrm>
                <a:off x="726" y="1092"/>
                <a:ext cx="687" cy="840"/>
              </a:xfrm>
              <a:custGeom>
                <a:avLst/>
                <a:gdLst/>
                <a:ahLst/>
                <a:cxnLst>
                  <a:cxn ang="0">
                    <a:pos x="258" y="0"/>
                  </a:cxn>
                  <a:cxn ang="0">
                    <a:pos x="315" y="189"/>
                  </a:cxn>
                  <a:cxn ang="0">
                    <a:pos x="200" y="189"/>
                  </a:cxn>
                  <a:cxn ang="0">
                    <a:pos x="200" y="270"/>
                  </a:cxn>
                  <a:cxn ang="0">
                    <a:pos x="114" y="270"/>
                  </a:cxn>
                  <a:cxn ang="0">
                    <a:pos x="86" y="216"/>
                  </a:cxn>
                  <a:cxn ang="0">
                    <a:pos x="0" y="216"/>
                  </a:cxn>
                  <a:cxn ang="0">
                    <a:pos x="0" y="433"/>
                  </a:cxn>
                  <a:cxn ang="0">
                    <a:pos x="114" y="433"/>
                  </a:cxn>
                  <a:cxn ang="0">
                    <a:pos x="114" y="623"/>
                  </a:cxn>
                  <a:cxn ang="0">
                    <a:pos x="200" y="623"/>
                  </a:cxn>
                  <a:cxn ang="0">
                    <a:pos x="200" y="813"/>
                  </a:cxn>
                  <a:cxn ang="0">
                    <a:pos x="371" y="813"/>
                  </a:cxn>
                  <a:cxn ang="0">
                    <a:pos x="457" y="840"/>
                  </a:cxn>
                  <a:cxn ang="0">
                    <a:pos x="687" y="650"/>
                  </a:cxn>
                  <a:cxn ang="0">
                    <a:pos x="601" y="569"/>
                  </a:cxn>
                  <a:cxn ang="0">
                    <a:pos x="515" y="542"/>
                  </a:cxn>
                  <a:cxn ang="0">
                    <a:pos x="457" y="460"/>
                  </a:cxn>
                  <a:cxn ang="0">
                    <a:pos x="486" y="297"/>
                  </a:cxn>
                  <a:cxn ang="0">
                    <a:pos x="543" y="189"/>
                  </a:cxn>
                  <a:cxn ang="0">
                    <a:pos x="457" y="0"/>
                  </a:cxn>
                  <a:cxn ang="0">
                    <a:pos x="258" y="0"/>
                  </a:cxn>
                </a:cxnLst>
                <a:rect l="0" t="0" r="r" b="b"/>
                <a:pathLst>
                  <a:path w="687" h="840">
                    <a:moveTo>
                      <a:pt x="258" y="0"/>
                    </a:moveTo>
                    <a:lnTo>
                      <a:pt x="315" y="189"/>
                    </a:lnTo>
                    <a:lnTo>
                      <a:pt x="200" y="189"/>
                    </a:lnTo>
                    <a:lnTo>
                      <a:pt x="200" y="270"/>
                    </a:lnTo>
                    <a:lnTo>
                      <a:pt x="114" y="270"/>
                    </a:lnTo>
                    <a:lnTo>
                      <a:pt x="86" y="216"/>
                    </a:lnTo>
                    <a:lnTo>
                      <a:pt x="0" y="216"/>
                    </a:lnTo>
                    <a:lnTo>
                      <a:pt x="0" y="433"/>
                    </a:lnTo>
                    <a:lnTo>
                      <a:pt x="114" y="433"/>
                    </a:lnTo>
                    <a:lnTo>
                      <a:pt x="114" y="623"/>
                    </a:lnTo>
                    <a:lnTo>
                      <a:pt x="200" y="623"/>
                    </a:lnTo>
                    <a:lnTo>
                      <a:pt x="200" y="813"/>
                    </a:lnTo>
                    <a:lnTo>
                      <a:pt x="371" y="813"/>
                    </a:lnTo>
                    <a:lnTo>
                      <a:pt x="457" y="840"/>
                    </a:lnTo>
                    <a:lnTo>
                      <a:pt x="687" y="650"/>
                    </a:lnTo>
                    <a:lnTo>
                      <a:pt x="601" y="569"/>
                    </a:lnTo>
                    <a:lnTo>
                      <a:pt x="515" y="542"/>
                    </a:lnTo>
                    <a:lnTo>
                      <a:pt x="457" y="460"/>
                    </a:lnTo>
                    <a:lnTo>
                      <a:pt x="486" y="297"/>
                    </a:lnTo>
                    <a:lnTo>
                      <a:pt x="543" y="189"/>
                    </a:lnTo>
                    <a:lnTo>
                      <a:pt x="457" y="0"/>
                    </a:lnTo>
                    <a:lnTo>
                      <a:pt x="258" y="0"/>
                    </a:lnTo>
                  </a:path>
                </a:pathLst>
              </a:custGeom>
              <a:solidFill>
                <a:schemeClr val="bg1">
                  <a:lumMod val="85000"/>
                </a:schemeClr>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4" name="Group 405">
              <a:extLst>
                <a:ext uri="{FF2B5EF4-FFF2-40B4-BE49-F238E27FC236}">
                  <a16:creationId xmlns:a16="http://schemas.microsoft.com/office/drawing/2014/main" id="{CF8853BF-B8AF-97B6-1800-D512BE33A8AE}"/>
                </a:ext>
              </a:extLst>
            </p:cNvPr>
            <p:cNvGrpSpPr>
              <a:grpSpLocks/>
            </p:cNvGrpSpPr>
            <p:nvPr/>
          </p:nvGrpSpPr>
          <p:grpSpPr bwMode="auto">
            <a:xfrm>
              <a:off x="1827869" y="2664600"/>
              <a:ext cx="694795" cy="530300"/>
              <a:chOff x="1184" y="1092"/>
              <a:chExt cx="604" cy="461"/>
            </a:xfrm>
            <a:solidFill>
              <a:srgbClr val="D9D9D9"/>
            </a:solidFill>
          </p:grpSpPr>
          <p:sp>
            <p:nvSpPr>
              <p:cNvPr id="476" name="Freeform 406">
                <a:extLst>
                  <a:ext uri="{FF2B5EF4-FFF2-40B4-BE49-F238E27FC236}">
                    <a16:creationId xmlns:a16="http://schemas.microsoft.com/office/drawing/2014/main" id="{506596EA-8D2D-8C6B-26B0-0B8A64F5A1CB}"/>
                  </a:ext>
                </a:extLst>
              </p:cNvPr>
              <p:cNvSpPr>
                <a:spLocks/>
              </p:cNvSpPr>
              <p:nvPr/>
            </p:nvSpPr>
            <p:spPr bwMode="auto">
              <a:xfrm>
                <a:off x="1184" y="1092"/>
                <a:ext cx="604" cy="461"/>
              </a:xfrm>
              <a:custGeom>
                <a:avLst/>
                <a:gdLst/>
                <a:ahLst/>
                <a:cxnLst>
                  <a:cxn ang="0">
                    <a:pos x="0" y="0"/>
                  </a:cxn>
                  <a:cxn ang="0">
                    <a:pos x="86" y="189"/>
                  </a:cxn>
                  <a:cxn ang="0">
                    <a:pos x="29" y="298"/>
                  </a:cxn>
                  <a:cxn ang="0">
                    <a:pos x="0" y="461"/>
                  </a:cxn>
                  <a:cxn ang="0">
                    <a:pos x="316" y="461"/>
                  </a:cxn>
                  <a:cxn ang="0">
                    <a:pos x="316" y="379"/>
                  </a:cxn>
                  <a:cxn ang="0">
                    <a:pos x="546" y="379"/>
                  </a:cxn>
                  <a:cxn ang="0">
                    <a:pos x="604" y="243"/>
                  </a:cxn>
                  <a:cxn ang="0">
                    <a:pos x="604" y="0"/>
                  </a:cxn>
                  <a:cxn ang="0">
                    <a:pos x="0" y="0"/>
                  </a:cxn>
                </a:cxnLst>
                <a:rect l="0" t="0" r="r" b="b"/>
                <a:pathLst>
                  <a:path w="604" h="461">
                    <a:moveTo>
                      <a:pt x="0" y="0"/>
                    </a:moveTo>
                    <a:lnTo>
                      <a:pt x="86" y="189"/>
                    </a:lnTo>
                    <a:lnTo>
                      <a:pt x="29" y="298"/>
                    </a:lnTo>
                    <a:lnTo>
                      <a:pt x="0" y="461"/>
                    </a:lnTo>
                    <a:lnTo>
                      <a:pt x="316" y="461"/>
                    </a:lnTo>
                    <a:lnTo>
                      <a:pt x="316" y="379"/>
                    </a:lnTo>
                    <a:lnTo>
                      <a:pt x="546" y="379"/>
                    </a:lnTo>
                    <a:lnTo>
                      <a:pt x="604" y="243"/>
                    </a:lnTo>
                    <a:lnTo>
                      <a:pt x="604"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77" name="Freeform 407">
                <a:extLst>
                  <a:ext uri="{FF2B5EF4-FFF2-40B4-BE49-F238E27FC236}">
                    <a16:creationId xmlns:a16="http://schemas.microsoft.com/office/drawing/2014/main" id="{C59A25CB-B3EE-A79F-6F8A-0759C24B765A}"/>
                  </a:ext>
                </a:extLst>
              </p:cNvPr>
              <p:cNvSpPr>
                <a:spLocks/>
              </p:cNvSpPr>
              <p:nvPr/>
            </p:nvSpPr>
            <p:spPr bwMode="auto">
              <a:xfrm>
                <a:off x="1184" y="1092"/>
                <a:ext cx="604" cy="461"/>
              </a:xfrm>
              <a:custGeom>
                <a:avLst/>
                <a:gdLst/>
                <a:ahLst/>
                <a:cxnLst>
                  <a:cxn ang="0">
                    <a:pos x="0" y="0"/>
                  </a:cxn>
                  <a:cxn ang="0">
                    <a:pos x="86" y="189"/>
                  </a:cxn>
                  <a:cxn ang="0">
                    <a:pos x="29" y="298"/>
                  </a:cxn>
                  <a:cxn ang="0">
                    <a:pos x="0" y="461"/>
                  </a:cxn>
                  <a:cxn ang="0">
                    <a:pos x="316" y="461"/>
                  </a:cxn>
                  <a:cxn ang="0">
                    <a:pos x="316" y="379"/>
                  </a:cxn>
                  <a:cxn ang="0">
                    <a:pos x="546" y="379"/>
                  </a:cxn>
                  <a:cxn ang="0">
                    <a:pos x="604" y="243"/>
                  </a:cxn>
                  <a:cxn ang="0">
                    <a:pos x="604" y="0"/>
                  </a:cxn>
                  <a:cxn ang="0">
                    <a:pos x="0" y="0"/>
                  </a:cxn>
                </a:cxnLst>
                <a:rect l="0" t="0" r="r" b="b"/>
                <a:pathLst>
                  <a:path w="604" h="461">
                    <a:moveTo>
                      <a:pt x="0" y="0"/>
                    </a:moveTo>
                    <a:lnTo>
                      <a:pt x="86" y="189"/>
                    </a:lnTo>
                    <a:lnTo>
                      <a:pt x="29" y="298"/>
                    </a:lnTo>
                    <a:lnTo>
                      <a:pt x="0" y="461"/>
                    </a:lnTo>
                    <a:lnTo>
                      <a:pt x="316" y="461"/>
                    </a:lnTo>
                    <a:lnTo>
                      <a:pt x="316" y="379"/>
                    </a:lnTo>
                    <a:lnTo>
                      <a:pt x="546" y="379"/>
                    </a:lnTo>
                    <a:lnTo>
                      <a:pt x="604" y="243"/>
                    </a:lnTo>
                    <a:lnTo>
                      <a:pt x="604"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5" name="Group 408">
              <a:extLst>
                <a:ext uri="{FF2B5EF4-FFF2-40B4-BE49-F238E27FC236}">
                  <a16:creationId xmlns:a16="http://schemas.microsoft.com/office/drawing/2014/main" id="{E4921D7A-03AD-0402-6A21-7A7F35E806CE}"/>
                </a:ext>
              </a:extLst>
            </p:cNvPr>
            <p:cNvGrpSpPr>
              <a:grpSpLocks/>
            </p:cNvGrpSpPr>
            <p:nvPr/>
          </p:nvGrpSpPr>
          <p:grpSpPr bwMode="auto">
            <a:xfrm>
              <a:off x="1827869" y="3099421"/>
              <a:ext cx="824782" cy="470483"/>
              <a:chOff x="1184" y="1470"/>
              <a:chExt cx="717" cy="409"/>
            </a:xfrm>
            <a:solidFill>
              <a:schemeClr val="bg1">
                <a:lumMod val="85000"/>
              </a:schemeClr>
            </a:solidFill>
          </p:grpSpPr>
          <p:sp>
            <p:nvSpPr>
              <p:cNvPr id="474" name="Freeform 409">
                <a:extLst>
                  <a:ext uri="{FF2B5EF4-FFF2-40B4-BE49-F238E27FC236}">
                    <a16:creationId xmlns:a16="http://schemas.microsoft.com/office/drawing/2014/main" id="{5F2D932F-BBBE-982C-9649-21C979B3797D}"/>
                  </a:ext>
                </a:extLst>
              </p:cNvPr>
              <p:cNvSpPr>
                <a:spLocks/>
              </p:cNvSpPr>
              <p:nvPr/>
            </p:nvSpPr>
            <p:spPr bwMode="auto">
              <a:xfrm>
                <a:off x="1184" y="1470"/>
                <a:ext cx="717" cy="409"/>
              </a:xfrm>
              <a:custGeom>
                <a:avLst/>
                <a:gdLst/>
                <a:ahLst/>
                <a:cxnLst>
                  <a:cxn ang="0">
                    <a:pos x="0" y="82"/>
                  </a:cxn>
                  <a:cxn ang="0">
                    <a:pos x="57" y="164"/>
                  </a:cxn>
                  <a:cxn ang="0">
                    <a:pos x="144" y="191"/>
                  </a:cxn>
                  <a:cxn ang="0">
                    <a:pos x="230" y="273"/>
                  </a:cxn>
                  <a:cxn ang="0">
                    <a:pos x="258" y="382"/>
                  </a:cxn>
                  <a:cxn ang="0">
                    <a:pos x="316" y="409"/>
                  </a:cxn>
                  <a:cxn ang="0">
                    <a:pos x="717" y="327"/>
                  </a:cxn>
                  <a:cxn ang="0">
                    <a:pos x="545" y="191"/>
                  </a:cxn>
                  <a:cxn ang="0">
                    <a:pos x="574" y="28"/>
                  </a:cxn>
                  <a:cxn ang="0">
                    <a:pos x="545" y="0"/>
                  </a:cxn>
                  <a:cxn ang="0">
                    <a:pos x="316" y="0"/>
                  </a:cxn>
                  <a:cxn ang="0">
                    <a:pos x="316" y="82"/>
                  </a:cxn>
                  <a:cxn ang="0">
                    <a:pos x="0" y="82"/>
                  </a:cxn>
                </a:cxnLst>
                <a:rect l="0" t="0" r="r" b="b"/>
                <a:pathLst>
                  <a:path w="717" h="409">
                    <a:moveTo>
                      <a:pt x="0" y="82"/>
                    </a:moveTo>
                    <a:lnTo>
                      <a:pt x="57" y="164"/>
                    </a:lnTo>
                    <a:lnTo>
                      <a:pt x="144" y="191"/>
                    </a:lnTo>
                    <a:lnTo>
                      <a:pt x="230" y="273"/>
                    </a:lnTo>
                    <a:lnTo>
                      <a:pt x="258" y="382"/>
                    </a:lnTo>
                    <a:lnTo>
                      <a:pt x="316" y="409"/>
                    </a:lnTo>
                    <a:lnTo>
                      <a:pt x="717" y="327"/>
                    </a:lnTo>
                    <a:lnTo>
                      <a:pt x="545" y="191"/>
                    </a:lnTo>
                    <a:lnTo>
                      <a:pt x="574" y="28"/>
                    </a:lnTo>
                    <a:lnTo>
                      <a:pt x="545" y="0"/>
                    </a:lnTo>
                    <a:lnTo>
                      <a:pt x="316" y="0"/>
                    </a:lnTo>
                    <a:lnTo>
                      <a:pt x="316" y="82"/>
                    </a:lnTo>
                    <a:lnTo>
                      <a:pt x="0" y="8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75" name="Freeform 410">
                <a:extLst>
                  <a:ext uri="{FF2B5EF4-FFF2-40B4-BE49-F238E27FC236}">
                    <a16:creationId xmlns:a16="http://schemas.microsoft.com/office/drawing/2014/main" id="{B54DC8A9-4E47-C87A-CE53-9CBF5BF7F98D}"/>
                  </a:ext>
                </a:extLst>
              </p:cNvPr>
              <p:cNvSpPr>
                <a:spLocks/>
              </p:cNvSpPr>
              <p:nvPr/>
            </p:nvSpPr>
            <p:spPr bwMode="auto">
              <a:xfrm>
                <a:off x="1184" y="1470"/>
                <a:ext cx="717" cy="409"/>
              </a:xfrm>
              <a:custGeom>
                <a:avLst/>
                <a:gdLst/>
                <a:ahLst/>
                <a:cxnLst>
                  <a:cxn ang="0">
                    <a:pos x="0" y="82"/>
                  </a:cxn>
                  <a:cxn ang="0">
                    <a:pos x="57" y="164"/>
                  </a:cxn>
                  <a:cxn ang="0">
                    <a:pos x="144" y="191"/>
                  </a:cxn>
                  <a:cxn ang="0">
                    <a:pos x="230" y="273"/>
                  </a:cxn>
                  <a:cxn ang="0">
                    <a:pos x="258" y="382"/>
                  </a:cxn>
                  <a:cxn ang="0">
                    <a:pos x="316" y="409"/>
                  </a:cxn>
                  <a:cxn ang="0">
                    <a:pos x="717" y="327"/>
                  </a:cxn>
                  <a:cxn ang="0">
                    <a:pos x="545" y="191"/>
                  </a:cxn>
                  <a:cxn ang="0">
                    <a:pos x="574" y="28"/>
                  </a:cxn>
                  <a:cxn ang="0">
                    <a:pos x="545" y="0"/>
                  </a:cxn>
                  <a:cxn ang="0">
                    <a:pos x="316" y="0"/>
                  </a:cxn>
                  <a:cxn ang="0">
                    <a:pos x="316" y="82"/>
                  </a:cxn>
                  <a:cxn ang="0">
                    <a:pos x="0" y="82"/>
                  </a:cxn>
                </a:cxnLst>
                <a:rect l="0" t="0" r="r" b="b"/>
                <a:pathLst>
                  <a:path w="717" h="409">
                    <a:moveTo>
                      <a:pt x="0" y="82"/>
                    </a:moveTo>
                    <a:lnTo>
                      <a:pt x="57" y="164"/>
                    </a:lnTo>
                    <a:lnTo>
                      <a:pt x="144" y="191"/>
                    </a:lnTo>
                    <a:lnTo>
                      <a:pt x="230" y="273"/>
                    </a:lnTo>
                    <a:lnTo>
                      <a:pt x="258" y="382"/>
                    </a:lnTo>
                    <a:lnTo>
                      <a:pt x="316" y="409"/>
                    </a:lnTo>
                    <a:lnTo>
                      <a:pt x="717" y="327"/>
                    </a:lnTo>
                    <a:lnTo>
                      <a:pt x="545" y="191"/>
                    </a:lnTo>
                    <a:lnTo>
                      <a:pt x="574" y="28"/>
                    </a:lnTo>
                    <a:lnTo>
                      <a:pt x="545" y="0"/>
                    </a:lnTo>
                    <a:lnTo>
                      <a:pt x="316" y="0"/>
                    </a:lnTo>
                    <a:lnTo>
                      <a:pt x="316" y="82"/>
                    </a:lnTo>
                    <a:lnTo>
                      <a:pt x="0" y="82"/>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6" name="Group 411">
              <a:extLst>
                <a:ext uri="{FF2B5EF4-FFF2-40B4-BE49-F238E27FC236}">
                  <a16:creationId xmlns:a16="http://schemas.microsoft.com/office/drawing/2014/main" id="{0840DFD2-2104-171E-E13B-6C700E7882D6}"/>
                </a:ext>
              </a:extLst>
            </p:cNvPr>
            <p:cNvGrpSpPr>
              <a:grpSpLocks/>
            </p:cNvGrpSpPr>
            <p:nvPr/>
          </p:nvGrpSpPr>
          <p:grpSpPr bwMode="auto">
            <a:xfrm>
              <a:off x="2453646" y="2944130"/>
              <a:ext cx="396862" cy="686743"/>
              <a:chOff x="1728" y="1335"/>
              <a:chExt cx="345" cy="597"/>
            </a:xfrm>
            <a:solidFill>
              <a:srgbClr val="D9D9D9"/>
            </a:solidFill>
          </p:grpSpPr>
          <p:sp>
            <p:nvSpPr>
              <p:cNvPr id="472" name="Freeform 412">
                <a:extLst>
                  <a:ext uri="{FF2B5EF4-FFF2-40B4-BE49-F238E27FC236}">
                    <a16:creationId xmlns:a16="http://schemas.microsoft.com/office/drawing/2014/main" id="{7A6BCC30-15CA-6793-CC8C-1700AF1E30CD}"/>
                  </a:ext>
                </a:extLst>
              </p:cNvPr>
              <p:cNvSpPr>
                <a:spLocks/>
              </p:cNvSpPr>
              <p:nvPr/>
            </p:nvSpPr>
            <p:spPr bwMode="auto">
              <a:xfrm>
                <a:off x="1728" y="1335"/>
                <a:ext cx="345" cy="597"/>
              </a:xfrm>
              <a:custGeom>
                <a:avLst/>
                <a:gdLst/>
                <a:ahLst/>
                <a:cxnLst>
                  <a:cxn ang="0">
                    <a:pos x="0" y="136"/>
                  </a:cxn>
                  <a:cxn ang="0">
                    <a:pos x="29" y="163"/>
                  </a:cxn>
                  <a:cxn ang="0">
                    <a:pos x="0" y="326"/>
                  </a:cxn>
                  <a:cxn ang="0">
                    <a:pos x="173" y="461"/>
                  </a:cxn>
                  <a:cxn ang="0">
                    <a:pos x="258" y="597"/>
                  </a:cxn>
                  <a:cxn ang="0">
                    <a:pos x="345" y="597"/>
                  </a:cxn>
                  <a:cxn ang="0">
                    <a:pos x="345" y="0"/>
                  </a:cxn>
                  <a:cxn ang="0">
                    <a:pos x="202" y="0"/>
                  </a:cxn>
                  <a:cxn ang="0">
                    <a:pos x="58" y="0"/>
                  </a:cxn>
                  <a:cxn ang="0">
                    <a:pos x="0" y="136"/>
                  </a:cxn>
                </a:cxnLst>
                <a:rect l="0" t="0" r="r" b="b"/>
                <a:pathLst>
                  <a:path w="345" h="597">
                    <a:moveTo>
                      <a:pt x="0" y="136"/>
                    </a:moveTo>
                    <a:lnTo>
                      <a:pt x="29" y="163"/>
                    </a:lnTo>
                    <a:lnTo>
                      <a:pt x="0" y="326"/>
                    </a:lnTo>
                    <a:lnTo>
                      <a:pt x="173" y="461"/>
                    </a:lnTo>
                    <a:lnTo>
                      <a:pt x="258" y="597"/>
                    </a:lnTo>
                    <a:lnTo>
                      <a:pt x="345" y="597"/>
                    </a:lnTo>
                    <a:lnTo>
                      <a:pt x="345" y="0"/>
                    </a:lnTo>
                    <a:lnTo>
                      <a:pt x="202" y="0"/>
                    </a:lnTo>
                    <a:lnTo>
                      <a:pt x="58" y="0"/>
                    </a:lnTo>
                    <a:lnTo>
                      <a:pt x="0" y="136"/>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73" name="Freeform 413">
                <a:extLst>
                  <a:ext uri="{FF2B5EF4-FFF2-40B4-BE49-F238E27FC236}">
                    <a16:creationId xmlns:a16="http://schemas.microsoft.com/office/drawing/2014/main" id="{013AE772-476E-397B-775D-C2140FDA62D5}"/>
                  </a:ext>
                </a:extLst>
              </p:cNvPr>
              <p:cNvSpPr>
                <a:spLocks/>
              </p:cNvSpPr>
              <p:nvPr/>
            </p:nvSpPr>
            <p:spPr bwMode="auto">
              <a:xfrm>
                <a:off x="1728" y="1335"/>
                <a:ext cx="345" cy="597"/>
              </a:xfrm>
              <a:custGeom>
                <a:avLst/>
                <a:gdLst/>
                <a:ahLst/>
                <a:cxnLst>
                  <a:cxn ang="0">
                    <a:pos x="0" y="136"/>
                  </a:cxn>
                  <a:cxn ang="0">
                    <a:pos x="29" y="163"/>
                  </a:cxn>
                  <a:cxn ang="0">
                    <a:pos x="0" y="326"/>
                  </a:cxn>
                  <a:cxn ang="0">
                    <a:pos x="173" y="461"/>
                  </a:cxn>
                  <a:cxn ang="0">
                    <a:pos x="258" y="597"/>
                  </a:cxn>
                  <a:cxn ang="0">
                    <a:pos x="345" y="597"/>
                  </a:cxn>
                  <a:cxn ang="0">
                    <a:pos x="345" y="0"/>
                  </a:cxn>
                  <a:cxn ang="0">
                    <a:pos x="202" y="0"/>
                  </a:cxn>
                  <a:cxn ang="0">
                    <a:pos x="58" y="0"/>
                  </a:cxn>
                  <a:cxn ang="0">
                    <a:pos x="0" y="136"/>
                  </a:cxn>
                </a:cxnLst>
                <a:rect l="0" t="0" r="r" b="b"/>
                <a:pathLst>
                  <a:path w="345" h="597">
                    <a:moveTo>
                      <a:pt x="0" y="136"/>
                    </a:moveTo>
                    <a:lnTo>
                      <a:pt x="29" y="163"/>
                    </a:lnTo>
                    <a:lnTo>
                      <a:pt x="0" y="326"/>
                    </a:lnTo>
                    <a:lnTo>
                      <a:pt x="173" y="461"/>
                    </a:lnTo>
                    <a:lnTo>
                      <a:pt x="258" y="597"/>
                    </a:lnTo>
                    <a:lnTo>
                      <a:pt x="345" y="597"/>
                    </a:lnTo>
                    <a:lnTo>
                      <a:pt x="345" y="0"/>
                    </a:lnTo>
                    <a:lnTo>
                      <a:pt x="202" y="0"/>
                    </a:lnTo>
                    <a:lnTo>
                      <a:pt x="58" y="0"/>
                    </a:lnTo>
                    <a:lnTo>
                      <a:pt x="0" y="136"/>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7" name="Group 414">
              <a:extLst>
                <a:ext uri="{FF2B5EF4-FFF2-40B4-BE49-F238E27FC236}">
                  <a16:creationId xmlns:a16="http://schemas.microsoft.com/office/drawing/2014/main" id="{55D2AB4F-F7AE-DC20-E59E-E4FB7651BB84}"/>
                </a:ext>
              </a:extLst>
            </p:cNvPr>
            <p:cNvGrpSpPr>
              <a:grpSpLocks/>
            </p:cNvGrpSpPr>
            <p:nvPr/>
          </p:nvGrpSpPr>
          <p:grpSpPr bwMode="auto">
            <a:xfrm>
              <a:off x="2850508" y="2849803"/>
              <a:ext cx="495790" cy="905305"/>
              <a:chOff x="2073" y="1253"/>
              <a:chExt cx="431" cy="787"/>
            </a:xfrm>
            <a:solidFill>
              <a:schemeClr val="bg1">
                <a:lumMod val="85000"/>
              </a:schemeClr>
            </a:solidFill>
          </p:grpSpPr>
          <p:sp>
            <p:nvSpPr>
              <p:cNvPr id="470" name="Freeform 415">
                <a:extLst>
                  <a:ext uri="{FF2B5EF4-FFF2-40B4-BE49-F238E27FC236}">
                    <a16:creationId xmlns:a16="http://schemas.microsoft.com/office/drawing/2014/main" id="{99C0FFB3-740B-16E8-1BA9-613D7421DF62}"/>
                  </a:ext>
                </a:extLst>
              </p:cNvPr>
              <p:cNvSpPr>
                <a:spLocks/>
              </p:cNvSpPr>
              <p:nvPr/>
            </p:nvSpPr>
            <p:spPr bwMode="auto">
              <a:xfrm>
                <a:off x="2073" y="1253"/>
                <a:ext cx="431" cy="787"/>
              </a:xfrm>
              <a:custGeom>
                <a:avLst/>
                <a:gdLst/>
                <a:ahLst/>
                <a:cxnLst>
                  <a:cxn ang="0">
                    <a:pos x="0" y="299"/>
                  </a:cxn>
                  <a:cxn ang="0">
                    <a:pos x="0" y="733"/>
                  </a:cxn>
                  <a:cxn ang="0">
                    <a:pos x="57" y="787"/>
                  </a:cxn>
                  <a:cxn ang="0">
                    <a:pos x="57" y="707"/>
                  </a:cxn>
                  <a:cxn ang="0">
                    <a:pos x="172" y="733"/>
                  </a:cxn>
                  <a:cxn ang="0">
                    <a:pos x="143" y="652"/>
                  </a:cxn>
                  <a:cxn ang="0">
                    <a:pos x="201" y="625"/>
                  </a:cxn>
                  <a:cxn ang="0">
                    <a:pos x="143" y="517"/>
                  </a:cxn>
                  <a:cxn ang="0">
                    <a:pos x="258" y="571"/>
                  </a:cxn>
                  <a:cxn ang="0">
                    <a:pos x="172" y="435"/>
                  </a:cxn>
                  <a:cxn ang="0">
                    <a:pos x="287" y="272"/>
                  </a:cxn>
                  <a:cxn ang="0">
                    <a:pos x="431" y="245"/>
                  </a:cxn>
                  <a:cxn ang="0">
                    <a:pos x="402" y="191"/>
                  </a:cxn>
                  <a:cxn ang="0">
                    <a:pos x="402" y="28"/>
                  </a:cxn>
                  <a:cxn ang="0">
                    <a:pos x="345" y="28"/>
                  </a:cxn>
                  <a:cxn ang="0">
                    <a:pos x="201" y="109"/>
                  </a:cxn>
                  <a:cxn ang="0">
                    <a:pos x="86" y="0"/>
                  </a:cxn>
                  <a:cxn ang="0">
                    <a:pos x="86" y="82"/>
                  </a:cxn>
                  <a:cxn ang="0">
                    <a:pos x="0" y="82"/>
                  </a:cxn>
                  <a:cxn ang="0">
                    <a:pos x="0" y="299"/>
                  </a:cxn>
                </a:cxnLst>
                <a:rect l="0" t="0" r="r" b="b"/>
                <a:pathLst>
                  <a:path w="431" h="787">
                    <a:moveTo>
                      <a:pt x="0" y="299"/>
                    </a:moveTo>
                    <a:lnTo>
                      <a:pt x="0" y="733"/>
                    </a:lnTo>
                    <a:lnTo>
                      <a:pt x="57" y="787"/>
                    </a:lnTo>
                    <a:lnTo>
                      <a:pt x="57" y="707"/>
                    </a:lnTo>
                    <a:lnTo>
                      <a:pt x="172" y="733"/>
                    </a:lnTo>
                    <a:lnTo>
                      <a:pt x="143" y="652"/>
                    </a:lnTo>
                    <a:lnTo>
                      <a:pt x="201" y="625"/>
                    </a:lnTo>
                    <a:lnTo>
                      <a:pt x="143" y="517"/>
                    </a:lnTo>
                    <a:lnTo>
                      <a:pt x="258" y="571"/>
                    </a:lnTo>
                    <a:lnTo>
                      <a:pt x="172" y="435"/>
                    </a:lnTo>
                    <a:lnTo>
                      <a:pt x="287" y="272"/>
                    </a:lnTo>
                    <a:lnTo>
                      <a:pt x="431" y="245"/>
                    </a:lnTo>
                    <a:lnTo>
                      <a:pt x="402" y="191"/>
                    </a:lnTo>
                    <a:lnTo>
                      <a:pt x="402" y="28"/>
                    </a:lnTo>
                    <a:lnTo>
                      <a:pt x="345" y="28"/>
                    </a:lnTo>
                    <a:lnTo>
                      <a:pt x="201" y="109"/>
                    </a:lnTo>
                    <a:lnTo>
                      <a:pt x="86" y="0"/>
                    </a:lnTo>
                    <a:lnTo>
                      <a:pt x="86" y="82"/>
                    </a:lnTo>
                    <a:lnTo>
                      <a:pt x="0" y="82"/>
                    </a:lnTo>
                    <a:lnTo>
                      <a:pt x="0" y="299"/>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71" name="Freeform 416">
                <a:extLst>
                  <a:ext uri="{FF2B5EF4-FFF2-40B4-BE49-F238E27FC236}">
                    <a16:creationId xmlns:a16="http://schemas.microsoft.com/office/drawing/2014/main" id="{A7B90C3D-34DF-FE0C-9179-6B774B4A1497}"/>
                  </a:ext>
                </a:extLst>
              </p:cNvPr>
              <p:cNvSpPr>
                <a:spLocks/>
              </p:cNvSpPr>
              <p:nvPr/>
            </p:nvSpPr>
            <p:spPr bwMode="auto">
              <a:xfrm>
                <a:off x="2073" y="1253"/>
                <a:ext cx="431" cy="787"/>
              </a:xfrm>
              <a:custGeom>
                <a:avLst/>
                <a:gdLst/>
                <a:ahLst/>
                <a:cxnLst>
                  <a:cxn ang="0">
                    <a:pos x="0" y="299"/>
                  </a:cxn>
                  <a:cxn ang="0">
                    <a:pos x="0" y="733"/>
                  </a:cxn>
                  <a:cxn ang="0">
                    <a:pos x="57" y="787"/>
                  </a:cxn>
                  <a:cxn ang="0">
                    <a:pos x="57" y="707"/>
                  </a:cxn>
                  <a:cxn ang="0">
                    <a:pos x="172" y="733"/>
                  </a:cxn>
                  <a:cxn ang="0">
                    <a:pos x="143" y="652"/>
                  </a:cxn>
                  <a:cxn ang="0">
                    <a:pos x="201" y="625"/>
                  </a:cxn>
                  <a:cxn ang="0">
                    <a:pos x="143" y="517"/>
                  </a:cxn>
                  <a:cxn ang="0">
                    <a:pos x="258" y="571"/>
                  </a:cxn>
                  <a:cxn ang="0">
                    <a:pos x="172" y="435"/>
                  </a:cxn>
                  <a:cxn ang="0">
                    <a:pos x="287" y="272"/>
                  </a:cxn>
                  <a:cxn ang="0">
                    <a:pos x="431" y="245"/>
                  </a:cxn>
                  <a:cxn ang="0">
                    <a:pos x="402" y="191"/>
                  </a:cxn>
                  <a:cxn ang="0">
                    <a:pos x="402" y="28"/>
                  </a:cxn>
                  <a:cxn ang="0">
                    <a:pos x="345" y="28"/>
                  </a:cxn>
                  <a:cxn ang="0">
                    <a:pos x="201" y="109"/>
                  </a:cxn>
                  <a:cxn ang="0">
                    <a:pos x="86" y="0"/>
                  </a:cxn>
                  <a:cxn ang="0">
                    <a:pos x="86" y="82"/>
                  </a:cxn>
                  <a:cxn ang="0">
                    <a:pos x="0" y="82"/>
                  </a:cxn>
                  <a:cxn ang="0">
                    <a:pos x="0" y="299"/>
                  </a:cxn>
                </a:cxnLst>
                <a:rect l="0" t="0" r="r" b="b"/>
                <a:pathLst>
                  <a:path w="431" h="787">
                    <a:moveTo>
                      <a:pt x="0" y="299"/>
                    </a:moveTo>
                    <a:lnTo>
                      <a:pt x="0" y="733"/>
                    </a:lnTo>
                    <a:lnTo>
                      <a:pt x="57" y="787"/>
                    </a:lnTo>
                    <a:lnTo>
                      <a:pt x="57" y="707"/>
                    </a:lnTo>
                    <a:lnTo>
                      <a:pt x="172" y="733"/>
                    </a:lnTo>
                    <a:lnTo>
                      <a:pt x="143" y="652"/>
                    </a:lnTo>
                    <a:lnTo>
                      <a:pt x="201" y="625"/>
                    </a:lnTo>
                    <a:lnTo>
                      <a:pt x="143" y="517"/>
                    </a:lnTo>
                    <a:lnTo>
                      <a:pt x="258" y="571"/>
                    </a:lnTo>
                    <a:lnTo>
                      <a:pt x="172" y="435"/>
                    </a:lnTo>
                    <a:lnTo>
                      <a:pt x="287" y="272"/>
                    </a:lnTo>
                    <a:lnTo>
                      <a:pt x="431" y="245"/>
                    </a:lnTo>
                    <a:lnTo>
                      <a:pt x="402" y="191"/>
                    </a:lnTo>
                    <a:lnTo>
                      <a:pt x="402" y="28"/>
                    </a:lnTo>
                    <a:lnTo>
                      <a:pt x="345" y="28"/>
                    </a:lnTo>
                    <a:lnTo>
                      <a:pt x="201" y="109"/>
                    </a:lnTo>
                    <a:lnTo>
                      <a:pt x="86" y="0"/>
                    </a:lnTo>
                    <a:lnTo>
                      <a:pt x="86" y="82"/>
                    </a:lnTo>
                    <a:lnTo>
                      <a:pt x="0" y="82"/>
                    </a:lnTo>
                    <a:lnTo>
                      <a:pt x="0" y="299"/>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8" name="Group 417">
              <a:extLst>
                <a:ext uri="{FF2B5EF4-FFF2-40B4-BE49-F238E27FC236}">
                  <a16:creationId xmlns:a16="http://schemas.microsoft.com/office/drawing/2014/main" id="{958FE2AC-B183-B4A4-79E5-4981640483CD}"/>
                </a:ext>
              </a:extLst>
            </p:cNvPr>
            <p:cNvGrpSpPr>
              <a:grpSpLocks/>
            </p:cNvGrpSpPr>
            <p:nvPr/>
          </p:nvGrpSpPr>
          <p:grpSpPr bwMode="auto">
            <a:xfrm>
              <a:off x="3015573" y="3131215"/>
              <a:ext cx="526849" cy="874246"/>
              <a:chOff x="2218" y="1498"/>
              <a:chExt cx="458" cy="760"/>
            </a:xfrm>
            <a:solidFill>
              <a:schemeClr val="accent6"/>
            </a:solidFill>
          </p:grpSpPr>
          <p:sp>
            <p:nvSpPr>
              <p:cNvPr id="468" name="Freeform 418">
                <a:extLst>
                  <a:ext uri="{FF2B5EF4-FFF2-40B4-BE49-F238E27FC236}">
                    <a16:creationId xmlns:a16="http://schemas.microsoft.com/office/drawing/2014/main" id="{7B9623A0-9C6D-7BB1-F05E-2497661F2112}"/>
                  </a:ext>
                </a:extLst>
              </p:cNvPr>
              <p:cNvSpPr>
                <a:spLocks/>
              </p:cNvSpPr>
              <p:nvPr/>
            </p:nvSpPr>
            <p:spPr bwMode="auto">
              <a:xfrm>
                <a:off x="2218" y="1498"/>
                <a:ext cx="458" cy="760"/>
              </a:xfrm>
              <a:custGeom>
                <a:avLst/>
                <a:gdLst/>
                <a:ahLst/>
                <a:cxnLst>
                  <a:cxn ang="0">
                    <a:pos x="286" y="0"/>
                  </a:cxn>
                  <a:cxn ang="0">
                    <a:pos x="143" y="27"/>
                  </a:cxn>
                  <a:cxn ang="0">
                    <a:pos x="28" y="190"/>
                  </a:cxn>
                  <a:cxn ang="0">
                    <a:pos x="114" y="326"/>
                  </a:cxn>
                  <a:cxn ang="0">
                    <a:pos x="0" y="272"/>
                  </a:cxn>
                  <a:cxn ang="0">
                    <a:pos x="57" y="380"/>
                  </a:cxn>
                  <a:cxn ang="0">
                    <a:pos x="0" y="408"/>
                  </a:cxn>
                  <a:cxn ang="0">
                    <a:pos x="28" y="488"/>
                  </a:cxn>
                  <a:cxn ang="0">
                    <a:pos x="172" y="570"/>
                  </a:cxn>
                  <a:cxn ang="0">
                    <a:pos x="143" y="706"/>
                  </a:cxn>
                  <a:cxn ang="0">
                    <a:pos x="229" y="760"/>
                  </a:cxn>
                  <a:cxn ang="0">
                    <a:pos x="286" y="706"/>
                  </a:cxn>
                  <a:cxn ang="0">
                    <a:pos x="229" y="624"/>
                  </a:cxn>
                  <a:cxn ang="0">
                    <a:pos x="258" y="570"/>
                  </a:cxn>
                  <a:cxn ang="0">
                    <a:pos x="200" y="488"/>
                  </a:cxn>
                  <a:cxn ang="0">
                    <a:pos x="286" y="488"/>
                  </a:cxn>
                  <a:cxn ang="0">
                    <a:pos x="344" y="435"/>
                  </a:cxn>
                  <a:cxn ang="0">
                    <a:pos x="258" y="353"/>
                  </a:cxn>
                  <a:cxn ang="0">
                    <a:pos x="372" y="380"/>
                  </a:cxn>
                  <a:cxn ang="0">
                    <a:pos x="315" y="217"/>
                  </a:cxn>
                  <a:cxn ang="0">
                    <a:pos x="401" y="190"/>
                  </a:cxn>
                  <a:cxn ang="0">
                    <a:pos x="315" y="135"/>
                  </a:cxn>
                  <a:cxn ang="0">
                    <a:pos x="430" y="135"/>
                  </a:cxn>
                  <a:cxn ang="0">
                    <a:pos x="458" y="0"/>
                  </a:cxn>
                  <a:cxn ang="0">
                    <a:pos x="286" y="0"/>
                  </a:cxn>
                </a:cxnLst>
                <a:rect l="0" t="0" r="r" b="b"/>
                <a:pathLst>
                  <a:path w="458" h="760">
                    <a:moveTo>
                      <a:pt x="286" y="0"/>
                    </a:moveTo>
                    <a:lnTo>
                      <a:pt x="143" y="27"/>
                    </a:lnTo>
                    <a:lnTo>
                      <a:pt x="28" y="190"/>
                    </a:lnTo>
                    <a:lnTo>
                      <a:pt x="114" y="326"/>
                    </a:lnTo>
                    <a:lnTo>
                      <a:pt x="0" y="272"/>
                    </a:lnTo>
                    <a:lnTo>
                      <a:pt x="57" y="380"/>
                    </a:lnTo>
                    <a:lnTo>
                      <a:pt x="0" y="408"/>
                    </a:lnTo>
                    <a:lnTo>
                      <a:pt x="28" y="488"/>
                    </a:lnTo>
                    <a:lnTo>
                      <a:pt x="172" y="570"/>
                    </a:lnTo>
                    <a:lnTo>
                      <a:pt x="143" y="706"/>
                    </a:lnTo>
                    <a:lnTo>
                      <a:pt x="229" y="760"/>
                    </a:lnTo>
                    <a:lnTo>
                      <a:pt x="286" y="706"/>
                    </a:lnTo>
                    <a:lnTo>
                      <a:pt x="229" y="624"/>
                    </a:lnTo>
                    <a:lnTo>
                      <a:pt x="258" y="570"/>
                    </a:lnTo>
                    <a:lnTo>
                      <a:pt x="200" y="488"/>
                    </a:lnTo>
                    <a:lnTo>
                      <a:pt x="286" y="488"/>
                    </a:lnTo>
                    <a:lnTo>
                      <a:pt x="344" y="435"/>
                    </a:lnTo>
                    <a:lnTo>
                      <a:pt x="258" y="353"/>
                    </a:lnTo>
                    <a:lnTo>
                      <a:pt x="372" y="380"/>
                    </a:lnTo>
                    <a:lnTo>
                      <a:pt x="315" y="217"/>
                    </a:lnTo>
                    <a:lnTo>
                      <a:pt x="401" y="190"/>
                    </a:lnTo>
                    <a:lnTo>
                      <a:pt x="315" y="135"/>
                    </a:lnTo>
                    <a:lnTo>
                      <a:pt x="430" y="135"/>
                    </a:lnTo>
                    <a:lnTo>
                      <a:pt x="458" y="0"/>
                    </a:lnTo>
                    <a:lnTo>
                      <a:pt x="286"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69" name="Freeform 419">
                <a:extLst>
                  <a:ext uri="{FF2B5EF4-FFF2-40B4-BE49-F238E27FC236}">
                    <a16:creationId xmlns:a16="http://schemas.microsoft.com/office/drawing/2014/main" id="{2B83B0FB-6EEB-40FB-73AA-6118B4DEF3CE}"/>
                  </a:ext>
                </a:extLst>
              </p:cNvPr>
              <p:cNvSpPr>
                <a:spLocks/>
              </p:cNvSpPr>
              <p:nvPr/>
            </p:nvSpPr>
            <p:spPr bwMode="auto">
              <a:xfrm>
                <a:off x="2218" y="1498"/>
                <a:ext cx="458" cy="760"/>
              </a:xfrm>
              <a:custGeom>
                <a:avLst/>
                <a:gdLst/>
                <a:ahLst/>
                <a:cxnLst>
                  <a:cxn ang="0">
                    <a:pos x="286" y="0"/>
                  </a:cxn>
                  <a:cxn ang="0">
                    <a:pos x="143" y="27"/>
                  </a:cxn>
                  <a:cxn ang="0">
                    <a:pos x="28" y="190"/>
                  </a:cxn>
                  <a:cxn ang="0">
                    <a:pos x="114" y="326"/>
                  </a:cxn>
                  <a:cxn ang="0">
                    <a:pos x="0" y="272"/>
                  </a:cxn>
                  <a:cxn ang="0">
                    <a:pos x="57" y="380"/>
                  </a:cxn>
                  <a:cxn ang="0">
                    <a:pos x="0" y="408"/>
                  </a:cxn>
                  <a:cxn ang="0">
                    <a:pos x="28" y="488"/>
                  </a:cxn>
                  <a:cxn ang="0">
                    <a:pos x="172" y="570"/>
                  </a:cxn>
                  <a:cxn ang="0">
                    <a:pos x="143" y="706"/>
                  </a:cxn>
                  <a:cxn ang="0">
                    <a:pos x="229" y="760"/>
                  </a:cxn>
                  <a:cxn ang="0">
                    <a:pos x="286" y="706"/>
                  </a:cxn>
                  <a:cxn ang="0">
                    <a:pos x="229" y="624"/>
                  </a:cxn>
                  <a:cxn ang="0">
                    <a:pos x="258" y="570"/>
                  </a:cxn>
                  <a:cxn ang="0">
                    <a:pos x="200" y="488"/>
                  </a:cxn>
                  <a:cxn ang="0">
                    <a:pos x="286" y="488"/>
                  </a:cxn>
                  <a:cxn ang="0">
                    <a:pos x="344" y="435"/>
                  </a:cxn>
                  <a:cxn ang="0">
                    <a:pos x="258" y="353"/>
                  </a:cxn>
                  <a:cxn ang="0">
                    <a:pos x="372" y="380"/>
                  </a:cxn>
                  <a:cxn ang="0">
                    <a:pos x="315" y="217"/>
                  </a:cxn>
                  <a:cxn ang="0">
                    <a:pos x="401" y="190"/>
                  </a:cxn>
                  <a:cxn ang="0">
                    <a:pos x="315" y="135"/>
                  </a:cxn>
                  <a:cxn ang="0">
                    <a:pos x="430" y="135"/>
                  </a:cxn>
                  <a:cxn ang="0">
                    <a:pos x="458" y="0"/>
                  </a:cxn>
                  <a:cxn ang="0">
                    <a:pos x="286" y="0"/>
                  </a:cxn>
                </a:cxnLst>
                <a:rect l="0" t="0" r="r" b="b"/>
                <a:pathLst>
                  <a:path w="458" h="760">
                    <a:moveTo>
                      <a:pt x="286" y="0"/>
                    </a:moveTo>
                    <a:lnTo>
                      <a:pt x="143" y="27"/>
                    </a:lnTo>
                    <a:lnTo>
                      <a:pt x="28" y="190"/>
                    </a:lnTo>
                    <a:lnTo>
                      <a:pt x="114" y="326"/>
                    </a:lnTo>
                    <a:lnTo>
                      <a:pt x="0" y="272"/>
                    </a:lnTo>
                    <a:lnTo>
                      <a:pt x="57" y="380"/>
                    </a:lnTo>
                    <a:lnTo>
                      <a:pt x="0" y="408"/>
                    </a:lnTo>
                    <a:lnTo>
                      <a:pt x="28" y="488"/>
                    </a:lnTo>
                    <a:lnTo>
                      <a:pt x="172" y="570"/>
                    </a:lnTo>
                    <a:lnTo>
                      <a:pt x="143" y="706"/>
                    </a:lnTo>
                    <a:lnTo>
                      <a:pt x="229" y="760"/>
                    </a:lnTo>
                    <a:lnTo>
                      <a:pt x="286" y="706"/>
                    </a:lnTo>
                    <a:lnTo>
                      <a:pt x="229" y="624"/>
                    </a:lnTo>
                    <a:lnTo>
                      <a:pt x="258" y="570"/>
                    </a:lnTo>
                    <a:lnTo>
                      <a:pt x="200" y="488"/>
                    </a:lnTo>
                    <a:lnTo>
                      <a:pt x="286" y="488"/>
                    </a:lnTo>
                    <a:lnTo>
                      <a:pt x="344" y="435"/>
                    </a:lnTo>
                    <a:lnTo>
                      <a:pt x="258" y="353"/>
                    </a:lnTo>
                    <a:lnTo>
                      <a:pt x="372" y="380"/>
                    </a:lnTo>
                    <a:lnTo>
                      <a:pt x="315" y="217"/>
                    </a:lnTo>
                    <a:lnTo>
                      <a:pt x="401" y="190"/>
                    </a:lnTo>
                    <a:lnTo>
                      <a:pt x="315" y="135"/>
                    </a:lnTo>
                    <a:lnTo>
                      <a:pt x="430" y="135"/>
                    </a:lnTo>
                    <a:lnTo>
                      <a:pt x="458" y="0"/>
                    </a:lnTo>
                    <a:lnTo>
                      <a:pt x="286" y="0"/>
                    </a:lnTo>
                  </a:path>
                </a:pathLst>
              </a:custGeom>
              <a:solidFill>
                <a:schemeClr val="bg1">
                  <a:lumMod val="85000"/>
                </a:schemeClr>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89" name="Group 420">
              <a:extLst>
                <a:ext uri="{FF2B5EF4-FFF2-40B4-BE49-F238E27FC236}">
                  <a16:creationId xmlns:a16="http://schemas.microsoft.com/office/drawing/2014/main" id="{9763C3A3-1A29-6581-1654-EF266A52BC39}"/>
                </a:ext>
              </a:extLst>
            </p:cNvPr>
            <p:cNvGrpSpPr>
              <a:grpSpLocks/>
            </p:cNvGrpSpPr>
            <p:nvPr/>
          </p:nvGrpSpPr>
          <p:grpSpPr bwMode="auto">
            <a:xfrm>
              <a:off x="837440" y="3007397"/>
              <a:ext cx="693645" cy="779920"/>
              <a:chOff x="323" y="1390"/>
              <a:chExt cx="603" cy="678"/>
            </a:xfrm>
            <a:solidFill>
              <a:schemeClr val="bg1">
                <a:lumMod val="85000"/>
              </a:schemeClr>
            </a:solidFill>
          </p:grpSpPr>
          <p:sp>
            <p:nvSpPr>
              <p:cNvPr id="466" name="Freeform 421">
                <a:extLst>
                  <a:ext uri="{FF2B5EF4-FFF2-40B4-BE49-F238E27FC236}">
                    <a16:creationId xmlns:a16="http://schemas.microsoft.com/office/drawing/2014/main" id="{06BD83A8-18DA-197B-D2D8-BE3D683754BA}"/>
                  </a:ext>
                </a:extLst>
              </p:cNvPr>
              <p:cNvSpPr>
                <a:spLocks/>
              </p:cNvSpPr>
              <p:nvPr/>
            </p:nvSpPr>
            <p:spPr bwMode="auto">
              <a:xfrm>
                <a:off x="323" y="1390"/>
                <a:ext cx="603" cy="678"/>
              </a:xfrm>
              <a:custGeom>
                <a:avLst/>
                <a:gdLst/>
                <a:ahLst/>
                <a:cxnLst>
                  <a:cxn ang="0">
                    <a:pos x="0" y="0"/>
                  </a:cxn>
                  <a:cxn ang="0">
                    <a:pos x="57" y="163"/>
                  </a:cxn>
                  <a:cxn ang="0">
                    <a:pos x="28" y="272"/>
                  </a:cxn>
                  <a:cxn ang="0">
                    <a:pos x="201" y="516"/>
                  </a:cxn>
                  <a:cxn ang="0">
                    <a:pos x="172" y="571"/>
                  </a:cxn>
                  <a:cxn ang="0">
                    <a:pos x="258" y="678"/>
                  </a:cxn>
                  <a:cxn ang="0">
                    <a:pos x="316" y="678"/>
                  </a:cxn>
                  <a:cxn ang="0">
                    <a:pos x="316" y="624"/>
                  </a:cxn>
                  <a:cxn ang="0">
                    <a:pos x="373" y="597"/>
                  </a:cxn>
                  <a:cxn ang="0">
                    <a:pos x="431" y="597"/>
                  </a:cxn>
                  <a:cxn ang="0">
                    <a:pos x="459" y="516"/>
                  </a:cxn>
                  <a:cxn ang="0">
                    <a:pos x="603" y="516"/>
                  </a:cxn>
                  <a:cxn ang="0">
                    <a:pos x="603" y="326"/>
                  </a:cxn>
                  <a:cxn ang="0">
                    <a:pos x="517" y="326"/>
                  </a:cxn>
                  <a:cxn ang="0">
                    <a:pos x="517" y="135"/>
                  </a:cxn>
                  <a:cxn ang="0">
                    <a:pos x="402" y="135"/>
                  </a:cxn>
                  <a:cxn ang="0">
                    <a:pos x="402" y="0"/>
                  </a:cxn>
                  <a:cxn ang="0">
                    <a:pos x="0" y="0"/>
                  </a:cxn>
                </a:cxnLst>
                <a:rect l="0" t="0" r="r" b="b"/>
                <a:pathLst>
                  <a:path w="603" h="678">
                    <a:moveTo>
                      <a:pt x="0" y="0"/>
                    </a:moveTo>
                    <a:lnTo>
                      <a:pt x="57" y="163"/>
                    </a:lnTo>
                    <a:lnTo>
                      <a:pt x="28" y="272"/>
                    </a:lnTo>
                    <a:lnTo>
                      <a:pt x="201" y="516"/>
                    </a:lnTo>
                    <a:lnTo>
                      <a:pt x="172" y="571"/>
                    </a:lnTo>
                    <a:lnTo>
                      <a:pt x="258" y="678"/>
                    </a:lnTo>
                    <a:lnTo>
                      <a:pt x="316" y="678"/>
                    </a:lnTo>
                    <a:lnTo>
                      <a:pt x="316" y="624"/>
                    </a:lnTo>
                    <a:lnTo>
                      <a:pt x="373" y="597"/>
                    </a:lnTo>
                    <a:lnTo>
                      <a:pt x="431" y="597"/>
                    </a:lnTo>
                    <a:lnTo>
                      <a:pt x="459" y="516"/>
                    </a:lnTo>
                    <a:lnTo>
                      <a:pt x="603" y="516"/>
                    </a:lnTo>
                    <a:lnTo>
                      <a:pt x="603" y="326"/>
                    </a:lnTo>
                    <a:lnTo>
                      <a:pt x="517" y="326"/>
                    </a:lnTo>
                    <a:lnTo>
                      <a:pt x="517" y="135"/>
                    </a:lnTo>
                    <a:lnTo>
                      <a:pt x="402" y="135"/>
                    </a:lnTo>
                    <a:lnTo>
                      <a:pt x="402"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67" name="Freeform 422">
                <a:extLst>
                  <a:ext uri="{FF2B5EF4-FFF2-40B4-BE49-F238E27FC236}">
                    <a16:creationId xmlns:a16="http://schemas.microsoft.com/office/drawing/2014/main" id="{B1290633-6C09-24F1-0C19-CA6585BE9D22}"/>
                  </a:ext>
                </a:extLst>
              </p:cNvPr>
              <p:cNvSpPr>
                <a:spLocks/>
              </p:cNvSpPr>
              <p:nvPr/>
            </p:nvSpPr>
            <p:spPr bwMode="auto">
              <a:xfrm>
                <a:off x="323" y="1390"/>
                <a:ext cx="603" cy="678"/>
              </a:xfrm>
              <a:custGeom>
                <a:avLst/>
                <a:gdLst/>
                <a:ahLst/>
                <a:cxnLst>
                  <a:cxn ang="0">
                    <a:pos x="0" y="0"/>
                  </a:cxn>
                  <a:cxn ang="0">
                    <a:pos x="57" y="163"/>
                  </a:cxn>
                  <a:cxn ang="0">
                    <a:pos x="28" y="272"/>
                  </a:cxn>
                  <a:cxn ang="0">
                    <a:pos x="201" y="516"/>
                  </a:cxn>
                  <a:cxn ang="0">
                    <a:pos x="172" y="571"/>
                  </a:cxn>
                  <a:cxn ang="0">
                    <a:pos x="258" y="678"/>
                  </a:cxn>
                  <a:cxn ang="0">
                    <a:pos x="316" y="678"/>
                  </a:cxn>
                  <a:cxn ang="0">
                    <a:pos x="316" y="624"/>
                  </a:cxn>
                  <a:cxn ang="0">
                    <a:pos x="373" y="597"/>
                  </a:cxn>
                  <a:cxn ang="0">
                    <a:pos x="431" y="597"/>
                  </a:cxn>
                  <a:cxn ang="0">
                    <a:pos x="459" y="516"/>
                  </a:cxn>
                  <a:cxn ang="0">
                    <a:pos x="603" y="516"/>
                  </a:cxn>
                  <a:cxn ang="0">
                    <a:pos x="603" y="326"/>
                  </a:cxn>
                  <a:cxn ang="0">
                    <a:pos x="517" y="326"/>
                  </a:cxn>
                  <a:cxn ang="0">
                    <a:pos x="517" y="135"/>
                  </a:cxn>
                  <a:cxn ang="0">
                    <a:pos x="402" y="135"/>
                  </a:cxn>
                  <a:cxn ang="0">
                    <a:pos x="402" y="0"/>
                  </a:cxn>
                  <a:cxn ang="0">
                    <a:pos x="0" y="0"/>
                  </a:cxn>
                </a:cxnLst>
                <a:rect l="0" t="0" r="r" b="b"/>
                <a:pathLst>
                  <a:path w="603" h="678">
                    <a:moveTo>
                      <a:pt x="0" y="0"/>
                    </a:moveTo>
                    <a:lnTo>
                      <a:pt x="57" y="163"/>
                    </a:lnTo>
                    <a:lnTo>
                      <a:pt x="28" y="272"/>
                    </a:lnTo>
                    <a:lnTo>
                      <a:pt x="201" y="516"/>
                    </a:lnTo>
                    <a:lnTo>
                      <a:pt x="172" y="571"/>
                    </a:lnTo>
                    <a:lnTo>
                      <a:pt x="258" y="678"/>
                    </a:lnTo>
                    <a:lnTo>
                      <a:pt x="316" y="678"/>
                    </a:lnTo>
                    <a:lnTo>
                      <a:pt x="316" y="624"/>
                    </a:lnTo>
                    <a:lnTo>
                      <a:pt x="373" y="597"/>
                    </a:lnTo>
                    <a:lnTo>
                      <a:pt x="431" y="597"/>
                    </a:lnTo>
                    <a:lnTo>
                      <a:pt x="459" y="516"/>
                    </a:lnTo>
                    <a:lnTo>
                      <a:pt x="603" y="516"/>
                    </a:lnTo>
                    <a:lnTo>
                      <a:pt x="603" y="326"/>
                    </a:lnTo>
                    <a:lnTo>
                      <a:pt x="517" y="326"/>
                    </a:lnTo>
                    <a:lnTo>
                      <a:pt x="517" y="135"/>
                    </a:lnTo>
                    <a:lnTo>
                      <a:pt x="402" y="135"/>
                    </a:lnTo>
                    <a:lnTo>
                      <a:pt x="402"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90" name="Group 426">
              <a:extLst>
                <a:ext uri="{FF2B5EF4-FFF2-40B4-BE49-F238E27FC236}">
                  <a16:creationId xmlns:a16="http://schemas.microsoft.com/office/drawing/2014/main" id="{84E4DD3A-2B08-3E26-E2E8-B0DA95660487}"/>
                </a:ext>
              </a:extLst>
            </p:cNvPr>
            <p:cNvGrpSpPr>
              <a:grpSpLocks/>
            </p:cNvGrpSpPr>
            <p:nvPr/>
          </p:nvGrpSpPr>
          <p:grpSpPr bwMode="auto">
            <a:xfrm>
              <a:off x="1827871" y="3413461"/>
              <a:ext cx="922560" cy="717802"/>
              <a:chOff x="1184" y="1743"/>
              <a:chExt cx="802" cy="624"/>
            </a:xfrm>
            <a:solidFill>
              <a:schemeClr val="bg1">
                <a:lumMod val="85000"/>
              </a:schemeClr>
            </a:solidFill>
          </p:grpSpPr>
          <p:sp>
            <p:nvSpPr>
              <p:cNvPr id="464" name="Freeform 427">
                <a:extLst>
                  <a:ext uri="{FF2B5EF4-FFF2-40B4-BE49-F238E27FC236}">
                    <a16:creationId xmlns:a16="http://schemas.microsoft.com/office/drawing/2014/main" id="{EBBB694D-9B33-037F-D6B1-336F0672AA65}"/>
                  </a:ext>
                </a:extLst>
              </p:cNvPr>
              <p:cNvSpPr>
                <a:spLocks/>
              </p:cNvSpPr>
              <p:nvPr/>
            </p:nvSpPr>
            <p:spPr bwMode="auto">
              <a:xfrm>
                <a:off x="1184" y="1743"/>
                <a:ext cx="802" cy="624"/>
              </a:xfrm>
              <a:custGeom>
                <a:avLst/>
                <a:gdLst/>
                <a:ahLst/>
                <a:cxnLst>
                  <a:cxn ang="0">
                    <a:pos x="229" y="0"/>
                  </a:cxn>
                  <a:cxn ang="0">
                    <a:pos x="0" y="190"/>
                  </a:cxn>
                  <a:cxn ang="0">
                    <a:pos x="143" y="270"/>
                  </a:cxn>
                  <a:cxn ang="0">
                    <a:pos x="143" y="624"/>
                  </a:cxn>
                  <a:cxn ang="0">
                    <a:pos x="430" y="624"/>
                  </a:cxn>
                  <a:cxn ang="0">
                    <a:pos x="545" y="542"/>
                  </a:cxn>
                  <a:cxn ang="0">
                    <a:pos x="631" y="570"/>
                  </a:cxn>
                  <a:cxn ang="0">
                    <a:pos x="688" y="570"/>
                  </a:cxn>
                  <a:cxn ang="0">
                    <a:pos x="688" y="217"/>
                  </a:cxn>
                  <a:cxn ang="0">
                    <a:pos x="773" y="217"/>
                  </a:cxn>
                  <a:cxn ang="0">
                    <a:pos x="802" y="190"/>
                  </a:cxn>
                  <a:cxn ang="0">
                    <a:pos x="717" y="54"/>
                  </a:cxn>
                  <a:cxn ang="0">
                    <a:pos x="316" y="136"/>
                  </a:cxn>
                  <a:cxn ang="0">
                    <a:pos x="258" y="108"/>
                  </a:cxn>
                  <a:cxn ang="0">
                    <a:pos x="229" y="0"/>
                  </a:cxn>
                </a:cxnLst>
                <a:rect l="0" t="0" r="r" b="b"/>
                <a:pathLst>
                  <a:path w="802" h="624">
                    <a:moveTo>
                      <a:pt x="229" y="0"/>
                    </a:moveTo>
                    <a:lnTo>
                      <a:pt x="0" y="190"/>
                    </a:lnTo>
                    <a:lnTo>
                      <a:pt x="143" y="270"/>
                    </a:lnTo>
                    <a:lnTo>
                      <a:pt x="143" y="624"/>
                    </a:lnTo>
                    <a:lnTo>
                      <a:pt x="430" y="624"/>
                    </a:lnTo>
                    <a:lnTo>
                      <a:pt x="545" y="542"/>
                    </a:lnTo>
                    <a:lnTo>
                      <a:pt x="631" y="570"/>
                    </a:lnTo>
                    <a:lnTo>
                      <a:pt x="688" y="570"/>
                    </a:lnTo>
                    <a:lnTo>
                      <a:pt x="688" y="217"/>
                    </a:lnTo>
                    <a:lnTo>
                      <a:pt x="773" y="217"/>
                    </a:lnTo>
                    <a:lnTo>
                      <a:pt x="802" y="190"/>
                    </a:lnTo>
                    <a:lnTo>
                      <a:pt x="717" y="54"/>
                    </a:lnTo>
                    <a:lnTo>
                      <a:pt x="316" y="136"/>
                    </a:lnTo>
                    <a:lnTo>
                      <a:pt x="258" y="108"/>
                    </a:lnTo>
                    <a:lnTo>
                      <a:pt x="229"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65" name="Freeform 428">
                <a:extLst>
                  <a:ext uri="{FF2B5EF4-FFF2-40B4-BE49-F238E27FC236}">
                    <a16:creationId xmlns:a16="http://schemas.microsoft.com/office/drawing/2014/main" id="{392EA303-F861-0EB1-72CF-B3119B3AA177}"/>
                  </a:ext>
                </a:extLst>
              </p:cNvPr>
              <p:cNvSpPr>
                <a:spLocks/>
              </p:cNvSpPr>
              <p:nvPr/>
            </p:nvSpPr>
            <p:spPr bwMode="auto">
              <a:xfrm>
                <a:off x="1184" y="1743"/>
                <a:ext cx="802" cy="624"/>
              </a:xfrm>
              <a:custGeom>
                <a:avLst/>
                <a:gdLst/>
                <a:ahLst/>
                <a:cxnLst>
                  <a:cxn ang="0">
                    <a:pos x="229" y="0"/>
                  </a:cxn>
                  <a:cxn ang="0">
                    <a:pos x="0" y="190"/>
                  </a:cxn>
                  <a:cxn ang="0">
                    <a:pos x="143" y="270"/>
                  </a:cxn>
                  <a:cxn ang="0">
                    <a:pos x="143" y="624"/>
                  </a:cxn>
                  <a:cxn ang="0">
                    <a:pos x="430" y="624"/>
                  </a:cxn>
                  <a:cxn ang="0">
                    <a:pos x="545" y="542"/>
                  </a:cxn>
                  <a:cxn ang="0">
                    <a:pos x="631" y="570"/>
                  </a:cxn>
                  <a:cxn ang="0">
                    <a:pos x="688" y="570"/>
                  </a:cxn>
                  <a:cxn ang="0">
                    <a:pos x="688" y="217"/>
                  </a:cxn>
                  <a:cxn ang="0">
                    <a:pos x="773" y="217"/>
                  </a:cxn>
                  <a:cxn ang="0">
                    <a:pos x="802" y="190"/>
                  </a:cxn>
                  <a:cxn ang="0">
                    <a:pos x="717" y="54"/>
                  </a:cxn>
                  <a:cxn ang="0">
                    <a:pos x="316" y="136"/>
                  </a:cxn>
                  <a:cxn ang="0">
                    <a:pos x="258" y="108"/>
                  </a:cxn>
                  <a:cxn ang="0">
                    <a:pos x="229" y="0"/>
                  </a:cxn>
                </a:cxnLst>
                <a:rect l="0" t="0" r="r" b="b"/>
                <a:pathLst>
                  <a:path w="802" h="624">
                    <a:moveTo>
                      <a:pt x="229" y="0"/>
                    </a:moveTo>
                    <a:lnTo>
                      <a:pt x="0" y="190"/>
                    </a:lnTo>
                    <a:lnTo>
                      <a:pt x="143" y="270"/>
                    </a:lnTo>
                    <a:lnTo>
                      <a:pt x="143" y="624"/>
                    </a:lnTo>
                    <a:lnTo>
                      <a:pt x="430" y="624"/>
                    </a:lnTo>
                    <a:lnTo>
                      <a:pt x="545" y="542"/>
                    </a:lnTo>
                    <a:lnTo>
                      <a:pt x="631" y="570"/>
                    </a:lnTo>
                    <a:lnTo>
                      <a:pt x="688" y="570"/>
                    </a:lnTo>
                    <a:lnTo>
                      <a:pt x="688" y="217"/>
                    </a:lnTo>
                    <a:lnTo>
                      <a:pt x="773" y="217"/>
                    </a:lnTo>
                    <a:lnTo>
                      <a:pt x="802" y="190"/>
                    </a:lnTo>
                    <a:lnTo>
                      <a:pt x="717" y="54"/>
                    </a:lnTo>
                    <a:lnTo>
                      <a:pt x="316" y="136"/>
                    </a:lnTo>
                    <a:lnTo>
                      <a:pt x="258" y="108"/>
                    </a:lnTo>
                    <a:lnTo>
                      <a:pt x="229"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91" name="Group 429">
              <a:extLst>
                <a:ext uri="{FF2B5EF4-FFF2-40B4-BE49-F238E27FC236}">
                  <a16:creationId xmlns:a16="http://schemas.microsoft.com/office/drawing/2014/main" id="{DE2942DD-3449-A37A-5112-37341BEAD89D}"/>
                </a:ext>
              </a:extLst>
            </p:cNvPr>
            <p:cNvGrpSpPr>
              <a:grpSpLocks/>
            </p:cNvGrpSpPr>
            <p:nvPr/>
          </p:nvGrpSpPr>
          <p:grpSpPr bwMode="auto">
            <a:xfrm>
              <a:off x="2554876" y="3630872"/>
              <a:ext cx="659136" cy="562509"/>
              <a:chOff x="1816" y="1932"/>
              <a:chExt cx="573" cy="489"/>
            </a:xfrm>
            <a:solidFill>
              <a:srgbClr val="D9D9D9"/>
            </a:solidFill>
          </p:grpSpPr>
          <p:sp>
            <p:nvSpPr>
              <p:cNvPr id="462" name="Freeform 430">
                <a:extLst>
                  <a:ext uri="{FF2B5EF4-FFF2-40B4-BE49-F238E27FC236}">
                    <a16:creationId xmlns:a16="http://schemas.microsoft.com/office/drawing/2014/main" id="{AA0A1937-6AF2-34AD-0FB5-F11891C763DC}"/>
                  </a:ext>
                </a:extLst>
              </p:cNvPr>
              <p:cNvSpPr>
                <a:spLocks/>
              </p:cNvSpPr>
              <p:nvPr/>
            </p:nvSpPr>
            <p:spPr bwMode="auto">
              <a:xfrm>
                <a:off x="1816" y="1932"/>
                <a:ext cx="573" cy="489"/>
              </a:xfrm>
              <a:custGeom>
                <a:avLst/>
                <a:gdLst/>
                <a:ahLst/>
                <a:cxnLst>
                  <a:cxn ang="0">
                    <a:pos x="171" y="0"/>
                  </a:cxn>
                  <a:cxn ang="0">
                    <a:pos x="142" y="28"/>
                  </a:cxn>
                  <a:cxn ang="0">
                    <a:pos x="57" y="28"/>
                  </a:cxn>
                  <a:cxn ang="0">
                    <a:pos x="57" y="380"/>
                  </a:cxn>
                  <a:cxn ang="0">
                    <a:pos x="0" y="380"/>
                  </a:cxn>
                  <a:cxn ang="0">
                    <a:pos x="0" y="407"/>
                  </a:cxn>
                  <a:cxn ang="0">
                    <a:pos x="57" y="461"/>
                  </a:cxn>
                  <a:cxn ang="0">
                    <a:pos x="57" y="489"/>
                  </a:cxn>
                  <a:cxn ang="0">
                    <a:pos x="430" y="489"/>
                  </a:cxn>
                  <a:cxn ang="0">
                    <a:pos x="458" y="352"/>
                  </a:cxn>
                  <a:cxn ang="0">
                    <a:pos x="548" y="273"/>
                  </a:cxn>
                  <a:cxn ang="0">
                    <a:pos x="573" y="135"/>
                  </a:cxn>
                  <a:cxn ang="0">
                    <a:pos x="430" y="54"/>
                  </a:cxn>
                  <a:cxn ang="0">
                    <a:pos x="315" y="28"/>
                  </a:cxn>
                  <a:cxn ang="0">
                    <a:pos x="315" y="108"/>
                  </a:cxn>
                  <a:cxn ang="0">
                    <a:pos x="257" y="54"/>
                  </a:cxn>
                  <a:cxn ang="0">
                    <a:pos x="257" y="0"/>
                  </a:cxn>
                  <a:cxn ang="0">
                    <a:pos x="171" y="0"/>
                  </a:cxn>
                </a:cxnLst>
                <a:rect l="0" t="0" r="r" b="b"/>
                <a:pathLst>
                  <a:path w="573" h="489">
                    <a:moveTo>
                      <a:pt x="171" y="0"/>
                    </a:moveTo>
                    <a:lnTo>
                      <a:pt x="142" y="28"/>
                    </a:lnTo>
                    <a:lnTo>
                      <a:pt x="57" y="28"/>
                    </a:lnTo>
                    <a:lnTo>
                      <a:pt x="57" y="380"/>
                    </a:lnTo>
                    <a:lnTo>
                      <a:pt x="0" y="380"/>
                    </a:lnTo>
                    <a:lnTo>
                      <a:pt x="0" y="407"/>
                    </a:lnTo>
                    <a:lnTo>
                      <a:pt x="57" y="461"/>
                    </a:lnTo>
                    <a:lnTo>
                      <a:pt x="57" y="489"/>
                    </a:lnTo>
                    <a:lnTo>
                      <a:pt x="430" y="489"/>
                    </a:lnTo>
                    <a:lnTo>
                      <a:pt x="458" y="352"/>
                    </a:lnTo>
                    <a:lnTo>
                      <a:pt x="548" y="273"/>
                    </a:lnTo>
                    <a:lnTo>
                      <a:pt x="573" y="135"/>
                    </a:lnTo>
                    <a:lnTo>
                      <a:pt x="430" y="54"/>
                    </a:lnTo>
                    <a:lnTo>
                      <a:pt x="315" y="28"/>
                    </a:lnTo>
                    <a:lnTo>
                      <a:pt x="315" y="108"/>
                    </a:lnTo>
                    <a:lnTo>
                      <a:pt x="257" y="54"/>
                    </a:lnTo>
                    <a:lnTo>
                      <a:pt x="257" y="0"/>
                    </a:lnTo>
                    <a:lnTo>
                      <a:pt x="171"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63" name="Freeform 431">
                <a:extLst>
                  <a:ext uri="{FF2B5EF4-FFF2-40B4-BE49-F238E27FC236}">
                    <a16:creationId xmlns:a16="http://schemas.microsoft.com/office/drawing/2014/main" id="{4B784037-0CAD-8773-7C33-E6DC8895C49A}"/>
                  </a:ext>
                </a:extLst>
              </p:cNvPr>
              <p:cNvSpPr>
                <a:spLocks/>
              </p:cNvSpPr>
              <p:nvPr/>
            </p:nvSpPr>
            <p:spPr bwMode="auto">
              <a:xfrm>
                <a:off x="1816" y="1932"/>
                <a:ext cx="573" cy="489"/>
              </a:xfrm>
              <a:custGeom>
                <a:avLst/>
                <a:gdLst/>
                <a:ahLst/>
                <a:cxnLst>
                  <a:cxn ang="0">
                    <a:pos x="171" y="0"/>
                  </a:cxn>
                  <a:cxn ang="0">
                    <a:pos x="142" y="28"/>
                  </a:cxn>
                  <a:cxn ang="0">
                    <a:pos x="57" y="28"/>
                  </a:cxn>
                  <a:cxn ang="0">
                    <a:pos x="57" y="380"/>
                  </a:cxn>
                  <a:cxn ang="0">
                    <a:pos x="0" y="380"/>
                  </a:cxn>
                  <a:cxn ang="0">
                    <a:pos x="0" y="407"/>
                  </a:cxn>
                  <a:cxn ang="0">
                    <a:pos x="57" y="461"/>
                  </a:cxn>
                  <a:cxn ang="0">
                    <a:pos x="57" y="489"/>
                  </a:cxn>
                  <a:cxn ang="0">
                    <a:pos x="430" y="489"/>
                  </a:cxn>
                  <a:cxn ang="0">
                    <a:pos x="458" y="352"/>
                  </a:cxn>
                  <a:cxn ang="0">
                    <a:pos x="548" y="273"/>
                  </a:cxn>
                  <a:cxn ang="0">
                    <a:pos x="573" y="135"/>
                  </a:cxn>
                  <a:cxn ang="0">
                    <a:pos x="430" y="54"/>
                  </a:cxn>
                  <a:cxn ang="0">
                    <a:pos x="315" y="28"/>
                  </a:cxn>
                  <a:cxn ang="0">
                    <a:pos x="315" y="108"/>
                  </a:cxn>
                  <a:cxn ang="0">
                    <a:pos x="257" y="54"/>
                  </a:cxn>
                  <a:cxn ang="0">
                    <a:pos x="257" y="0"/>
                  </a:cxn>
                  <a:cxn ang="0">
                    <a:pos x="171" y="0"/>
                  </a:cxn>
                </a:cxnLst>
                <a:rect l="0" t="0" r="r" b="b"/>
                <a:pathLst>
                  <a:path w="573" h="489">
                    <a:moveTo>
                      <a:pt x="171" y="0"/>
                    </a:moveTo>
                    <a:lnTo>
                      <a:pt x="142" y="28"/>
                    </a:lnTo>
                    <a:lnTo>
                      <a:pt x="57" y="28"/>
                    </a:lnTo>
                    <a:lnTo>
                      <a:pt x="57" y="380"/>
                    </a:lnTo>
                    <a:lnTo>
                      <a:pt x="0" y="380"/>
                    </a:lnTo>
                    <a:lnTo>
                      <a:pt x="0" y="407"/>
                    </a:lnTo>
                    <a:lnTo>
                      <a:pt x="57" y="461"/>
                    </a:lnTo>
                    <a:lnTo>
                      <a:pt x="57" y="489"/>
                    </a:lnTo>
                    <a:lnTo>
                      <a:pt x="430" y="489"/>
                    </a:lnTo>
                    <a:lnTo>
                      <a:pt x="458" y="352"/>
                    </a:lnTo>
                    <a:lnTo>
                      <a:pt x="548" y="273"/>
                    </a:lnTo>
                    <a:lnTo>
                      <a:pt x="573" y="135"/>
                    </a:lnTo>
                    <a:lnTo>
                      <a:pt x="430" y="54"/>
                    </a:lnTo>
                    <a:lnTo>
                      <a:pt x="315" y="28"/>
                    </a:lnTo>
                    <a:lnTo>
                      <a:pt x="315" y="108"/>
                    </a:lnTo>
                    <a:lnTo>
                      <a:pt x="257" y="54"/>
                    </a:lnTo>
                    <a:lnTo>
                      <a:pt x="257" y="0"/>
                    </a:lnTo>
                    <a:lnTo>
                      <a:pt x="171"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92" name="Group 444">
              <a:extLst>
                <a:ext uri="{FF2B5EF4-FFF2-40B4-BE49-F238E27FC236}">
                  <a16:creationId xmlns:a16="http://schemas.microsoft.com/office/drawing/2014/main" id="{40371CC6-7FA6-C172-4F36-B0E696E92603}"/>
                </a:ext>
              </a:extLst>
            </p:cNvPr>
            <p:cNvGrpSpPr>
              <a:grpSpLocks/>
            </p:cNvGrpSpPr>
            <p:nvPr/>
          </p:nvGrpSpPr>
          <p:grpSpPr bwMode="auto">
            <a:xfrm>
              <a:off x="3049514" y="3973670"/>
              <a:ext cx="601620" cy="624627"/>
              <a:chOff x="2246" y="2230"/>
              <a:chExt cx="523" cy="543"/>
            </a:xfrm>
            <a:solidFill>
              <a:schemeClr val="bg1">
                <a:lumMod val="85000"/>
              </a:schemeClr>
            </a:solidFill>
          </p:grpSpPr>
          <p:sp>
            <p:nvSpPr>
              <p:cNvPr id="460" name="Freeform 445">
                <a:extLst>
                  <a:ext uri="{FF2B5EF4-FFF2-40B4-BE49-F238E27FC236}">
                    <a16:creationId xmlns:a16="http://schemas.microsoft.com/office/drawing/2014/main" id="{2477AE5B-20CF-8986-F912-C6D608CDDB8D}"/>
                  </a:ext>
                </a:extLst>
              </p:cNvPr>
              <p:cNvSpPr>
                <a:spLocks/>
              </p:cNvSpPr>
              <p:nvPr/>
            </p:nvSpPr>
            <p:spPr bwMode="auto">
              <a:xfrm>
                <a:off x="2246" y="2230"/>
                <a:ext cx="523" cy="543"/>
              </a:xfrm>
              <a:custGeom>
                <a:avLst/>
                <a:gdLst/>
                <a:ahLst/>
                <a:cxnLst>
                  <a:cxn ang="0">
                    <a:pos x="88" y="2"/>
                  </a:cxn>
                  <a:cxn ang="0">
                    <a:pos x="29" y="53"/>
                  </a:cxn>
                  <a:cxn ang="0">
                    <a:pos x="0" y="188"/>
                  </a:cxn>
                  <a:cxn ang="0">
                    <a:pos x="86" y="248"/>
                  </a:cxn>
                  <a:cxn ang="0">
                    <a:pos x="112" y="360"/>
                  </a:cxn>
                  <a:cxn ang="0">
                    <a:pos x="114" y="542"/>
                  </a:cxn>
                  <a:cxn ang="0">
                    <a:pos x="379" y="543"/>
                  </a:cxn>
                  <a:cxn ang="0">
                    <a:pos x="437" y="515"/>
                  </a:cxn>
                  <a:cxn ang="0">
                    <a:pos x="523" y="381"/>
                  </a:cxn>
                  <a:cxn ang="0">
                    <a:pos x="466" y="272"/>
                  </a:cxn>
                  <a:cxn ang="0">
                    <a:pos x="264" y="272"/>
                  </a:cxn>
                  <a:cxn ang="0">
                    <a:pos x="322" y="190"/>
                  </a:cxn>
                  <a:cxn ang="0">
                    <a:pos x="322" y="109"/>
                  </a:cxn>
                  <a:cxn ang="0">
                    <a:pos x="236" y="109"/>
                  </a:cxn>
                  <a:cxn ang="0">
                    <a:pos x="293" y="136"/>
                  </a:cxn>
                  <a:cxn ang="0">
                    <a:pos x="293" y="190"/>
                  </a:cxn>
                  <a:cxn ang="0">
                    <a:pos x="207" y="163"/>
                  </a:cxn>
                  <a:cxn ang="0">
                    <a:pos x="149" y="27"/>
                  </a:cxn>
                  <a:cxn ang="0">
                    <a:pos x="92" y="0"/>
                  </a:cxn>
                  <a:cxn ang="0">
                    <a:pos x="88" y="2"/>
                  </a:cxn>
                </a:cxnLst>
                <a:rect l="0" t="0" r="r" b="b"/>
                <a:pathLst>
                  <a:path w="523" h="543">
                    <a:moveTo>
                      <a:pt x="88" y="2"/>
                    </a:moveTo>
                    <a:lnTo>
                      <a:pt x="29" y="53"/>
                    </a:lnTo>
                    <a:lnTo>
                      <a:pt x="0" y="188"/>
                    </a:lnTo>
                    <a:lnTo>
                      <a:pt x="86" y="248"/>
                    </a:lnTo>
                    <a:lnTo>
                      <a:pt x="112" y="360"/>
                    </a:lnTo>
                    <a:lnTo>
                      <a:pt x="114" y="542"/>
                    </a:lnTo>
                    <a:lnTo>
                      <a:pt x="379" y="543"/>
                    </a:lnTo>
                    <a:lnTo>
                      <a:pt x="437" y="515"/>
                    </a:lnTo>
                    <a:lnTo>
                      <a:pt x="523" y="381"/>
                    </a:lnTo>
                    <a:lnTo>
                      <a:pt x="466" y="272"/>
                    </a:lnTo>
                    <a:lnTo>
                      <a:pt x="264" y="272"/>
                    </a:lnTo>
                    <a:lnTo>
                      <a:pt x="322" y="190"/>
                    </a:lnTo>
                    <a:lnTo>
                      <a:pt x="322" y="109"/>
                    </a:lnTo>
                    <a:lnTo>
                      <a:pt x="236" y="109"/>
                    </a:lnTo>
                    <a:lnTo>
                      <a:pt x="293" y="136"/>
                    </a:lnTo>
                    <a:lnTo>
                      <a:pt x="293" y="190"/>
                    </a:lnTo>
                    <a:lnTo>
                      <a:pt x="207" y="163"/>
                    </a:lnTo>
                    <a:lnTo>
                      <a:pt x="149" y="27"/>
                    </a:lnTo>
                    <a:lnTo>
                      <a:pt x="92" y="0"/>
                    </a:lnTo>
                    <a:lnTo>
                      <a:pt x="88" y="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61" name="Freeform 446">
                <a:extLst>
                  <a:ext uri="{FF2B5EF4-FFF2-40B4-BE49-F238E27FC236}">
                    <a16:creationId xmlns:a16="http://schemas.microsoft.com/office/drawing/2014/main" id="{5C004DE3-EF92-38EB-B2FF-C7C5AD04D744}"/>
                  </a:ext>
                </a:extLst>
              </p:cNvPr>
              <p:cNvSpPr>
                <a:spLocks/>
              </p:cNvSpPr>
              <p:nvPr/>
            </p:nvSpPr>
            <p:spPr bwMode="auto">
              <a:xfrm>
                <a:off x="2246" y="2230"/>
                <a:ext cx="523" cy="543"/>
              </a:xfrm>
              <a:custGeom>
                <a:avLst/>
                <a:gdLst/>
                <a:ahLst/>
                <a:cxnLst>
                  <a:cxn ang="0">
                    <a:pos x="88" y="2"/>
                  </a:cxn>
                  <a:cxn ang="0">
                    <a:pos x="29" y="53"/>
                  </a:cxn>
                  <a:cxn ang="0">
                    <a:pos x="0" y="188"/>
                  </a:cxn>
                  <a:cxn ang="0">
                    <a:pos x="86" y="248"/>
                  </a:cxn>
                  <a:cxn ang="0">
                    <a:pos x="112" y="360"/>
                  </a:cxn>
                  <a:cxn ang="0">
                    <a:pos x="114" y="542"/>
                  </a:cxn>
                  <a:cxn ang="0">
                    <a:pos x="379" y="543"/>
                  </a:cxn>
                  <a:cxn ang="0">
                    <a:pos x="437" y="515"/>
                  </a:cxn>
                  <a:cxn ang="0">
                    <a:pos x="523" y="381"/>
                  </a:cxn>
                  <a:cxn ang="0">
                    <a:pos x="466" y="272"/>
                  </a:cxn>
                  <a:cxn ang="0">
                    <a:pos x="264" y="272"/>
                  </a:cxn>
                  <a:cxn ang="0">
                    <a:pos x="322" y="190"/>
                  </a:cxn>
                  <a:cxn ang="0">
                    <a:pos x="322" y="109"/>
                  </a:cxn>
                  <a:cxn ang="0">
                    <a:pos x="236" y="109"/>
                  </a:cxn>
                  <a:cxn ang="0">
                    <a:pos x="293" y="136"/>
                  </a:cxn>
                  <a:cxn ang="0">
                    <a:pos x="293" y="190"/>
                  </a:cxn>
                  <a:cxn ang="0">
                    <a:pos x="207" y="163"/>
                  </a:cxn>
                  <a:cxn ang="0">
                    <a:pos x="149" y="27"/>
                  </a:cxn>
                  <a:cxn ang="0">
                    <a:pos x="92" y="0"/>
                  </a:cxn>
                </a:cxnLst>
                <a:rect l="0" t="0" r="r" b="b"/>
                <a:pathLst>
                  <a:path w="523" h="543">
                    <a:moveTo>
                      <a:pt x="88" y="2"/>
                    </a:moveTo>
                    <a:lnTo>
                      <a:pt x="29" y="53"/>
                    </a:lnTo>
                    <a:lnTo>
                      <a:pt x="0" y="188"/>
                    </a:lnTo>
                    <a:lnTo>
                      <a:pt x="86" y="248"/>
                    </a:lnTo>
                    <a:lnTo>
                      <a:pt x="112" y="360"/>
                    </a:lnTo>
                    <a:lnTo>
                      <a:pt x="114" y="542"/>
                    </a:lnTo>
                    <a:lnTo>
                      <a:pt x="379" y="543"/>
                    </a:lnTo>
                    <a:lnTo>
                      <a:pt x="437" y="515"/>
                    </a:lnTo>
                    <a:lnTo>
                      <a:pt x="523" y="381"/>
                    </a:lnTo>
                    <a:lnTo>
                      <a:pt x="466" y="272"/>
                    </a:lnTo>
                    <a:lnTo>
                      <a:pt x="264" y="272"/>
                    </a:lnTo>
                    <a:lnTo>
                      <a:pt x="322" y="190"/>
                    </a:lnTo>
                    <a:lnTo>
                      <a:pt x="322" y="109"/>
                    </a:lnTo>
                    <a:lnTo>
                      <a:pt x="236" y="109"/>
                    </a:lnTo>
                    <a:lnTo>
                      <a:pt x="293" y="136"/>
                    </a:lnTo>
                    <a:lnTo>
                      <a:pt x="293" y="190"/>
                    </a:lnTo>
                    <a:lnTo>
                      <a:pt x="207" y="163"/>
                    </a:lnTo>
                    <a:lnTo>
                      <a:pt x="149" y="27"/>
                    </a:lnTo>
                    <a:lnTo>
                      <a:pt x="92"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93" name="Group 474">
              <a:extLst>
                <a:ext uri="{FF2B5EF4-FFF2-40B4-BE49-F238E27FC236}">
                  <a16:creationId xmlns:a16="http://schemas.microsoft.com/office/drawing/2014/main" id="{31DC2B77-EF27-3631-5416-7E302CFA2440}"/>
                </a:ext>
              </a:extLst>
            </p:cNvPr>
            <p:cNvGrpSpPr>
              <a:grpSpLocks/>
            </p:cNvGrpSpPr>
            <p:nvPr/>
          </p:nvGrpSpPr>
          <p:grpSpPr bwMode="auto">
            <a:xfrm>
              <a:off x="3247371" y="4598294"/>
              <a:ext cx="727005" cy="531451"/>
              <a:chOff x="2418" y="2773"/>
              <a:chExt cx="632" cy="462"/>
            </a:xfrm>
            <a:solidFill>
              <a:schemeClr val="bg1">
                <a:lumMod val="85000"/>
              </a:schemeClr>
            </a:solidFill>
          </p:grpSpPr>
          <p:sp>
            <p:nvSpPr>
              <p:cNvPr id="458" name="Freeform 475">
                <a:extLst>
                  <a:ext uri="{FF2B5EF4-FFF2-40B4-BE49-F238E27FC236}">
                    <a16:creationId xmlns:a16="http://schemas.microsoft.com/office/drawing/2014/main" id="{AF173B39-4DC0-F370-5BE0-802B2F80AE3A}"/>
                  </a:ext>
                </a:extLst>
              </p:cNvPr>
              <p:cNvSpPr>
                <a:spLocks/>
              </p:cNvSpPr>
              <p:nvPr/>
            </p:nvSpPr>
            <p:spPr bwMode="auto">
              <a:xfrm>
                <a:off x="2418" y="2773"/>
                <a:ext cx="632" cy="462"/>
              </a:xfrm>
              <a:custGeom>
                <a:avLst/>
                <a:gdLst/>
                <a:ahLst/>
                <a:cxnLst>
                  <a:cxn ang="0">
                    <a:pos x="0" y="0"/>
                  </a:cxn>
                  <a:cxn ang="0">
                    <a:pos x="58" y="54"/>
                  </a:cxn>
                  <a:cxn ang="0">
                    <a:pos x="115" y="271"/>
                  </a:cxn>
                  <a:cxn ang="0">
                    <a:pos x="202" y="271"/>
                  </a:cxn>
                  <a:cxn ang="0">
                    <a:pos x="230" y="407"/>
                  </a:cxn>
                  <a:cxn ang="0">
                    <a:pos x="317" y="407"/>
                  </a:cxn>
                  <a:cxn ang="0">
                    <a:pos x="317" y="434"/>
                  </a:cxn>
                  <a:cxn ang="0">
                    <a:pos x="402" y="434"/>
                  </a:cxn>
                  <a:cxn ang="0">
                    <a:pos x="459" y="462"/>
                  </a:cxn>
                  <a:cxn ang="0">
                    <a:pos x="546" y="434"/>
                  </a:cxn>
                  <a:cxn ang="0">
                    <a:pos x="632" y="190"/>
                  </a:cxn>
                  <a:cxn ang="0">
                    <a:pos x="345" y="190"/>
                  </a:cxn>
                  <a:cxn ang="0">
                    <a:pos x="202" y="0"/>
                  </a:cxn>
                  <a:cxn ang="0">
                    <a:pos x="0" y="0"/>
                  </a:cxn>
                </a:cxnLst>
                <a:rect l="0" t="0" r="r" b="b"/>
                <a:pathLst>
                  <a:path w="632" h="462">
                    <a:moveTo>
                      <a:pt x="0" y="0"/>
                    </a:moveTo>
                    <a:lnTo>
                      <a:pt x="58" y="54"/>
                    </a:lnTo>
                    <a:lnTo>
                      <a:pt x="115" y="271"/>
                    </a:lnTo>
                    <a:lnTo>
                      <a:pt x="202" y="271"/>
                    </a:lnTo>
                    <a:lnTo>
                      <a:pt x="230" y="407"/>
                    </a:lnTo>
                    <a:lnTo>
                      <a:pt x="317" y="407"/>
                    </a:lnTo>
                    <a:lnTo>
                      <a:pt x="317" y="434"/>
                    </a:lnTo>
                    <a:lnTo>
                      <a:pt x="402" y="434"/>
                    </a:lnTo>
                    <a:lnTo>
                      <a:pt x="459" y="462"/>
                    </a:lnTo>
                    <a:lnTo>
                      <a:pt x="546" y="434"/>
                    </a:lnTo>
                    <a:lnTo>
                      <a:pt x="632" y="190"/>
                    </a:lnTo>
                    <a:lnTo>
                      <a:pt x="345" y="190"/>
                    </a:lnTo>
                    <a:lnTo>
                      <a:pt x="202" y="0"/>
                    </a:lnTo>
                    <a:lnTo>
                      <a:pt x="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solidFill>
                      <a:sysClr val="windowText" lastClr="000000"/>
                    </a:solidFill>
                  </a:ln>
                  <a:solidFill>
                    <a:sysClr val="windowText" lastClr="000000"/>
                  </a:solidFill>
                  <a:effectLst/>
                  <a:uLnTx/>
                  <a:uFillTx/>
                  <a:latin typeface="Calibri"/>
                  <a:ea typeface="+mn-ea"/>
                  <a:cs typeface="+mn-cs"/>
                </a:endParaRPr>
              </a:p>
            </p:txBody>
          </p:sp>
          <p:sp>
            <p:nvSpPr>
              <p:cNvPr id="459" name="Freeform 476">
                <a:extLst>
                  <a:ext uri="{FF2B5EF4-FFF2-40B4-BE49-F238E27FC236}">
                    <a16:creationId xmlns:a16="http://schemas.microsoft.com/office/drawing/2014/main" id="{DFCB82BF-3F98-AA42-F88E-D8C920B57A03}"/>
                  </a:ext>
                </a:extLst>
              </p:cNvPr>
              <p:cNvSpPr>
                <a:spLocks/>
              </p:cNvSpPr>
              <p:nvPr/>
            </p:nvSpPr>
            <p:spPr bwMode="auto">
              <a:xfrm>
                <a:off x="2418" y="2773"/>
                <a:ext cx="632" cy="462"/>
              </a:xfrm>
              <a:custGeom>
                <a:avLst/>
                <a:gdLst/>
                <a:ahLst/>
                <a:cxnLst>
                  <a:cxn ang="0">
                    <a:pos x="0" y="0"/>
                  </a:cxn>
                  <a:cxn ang="0">
                    <a:pos x="58" y="54"/>
                  </a:cxn>
                  <a:cxn ang="0">
                    <a:pos x="115" y="271"/>
                  </a:cxn>
                  <a:cxn ang="0">
                    <a:pos x="202" y="271"/>
                  </a:cxn>
                  <a:cxn ang="0">
                    <a:pos x="230" y="407"/>
                  </a:cxn>
                  <a:cxn ang="0">
                    <a:pos x="317" y="407"/>
                  </a:cxn>
                  <a:cxn ang="0">
                    <a:pos x="317" y="434"/>
                  </a:cxn>
                  <a:cxn ang="0">
                    <a:pos x="402" y="434"/>
                  </a:cxn>
                  <a:cxn ang="0">
                    <a:pos x="459" y="462"/>
                  </a:cxn>
                  <a:cxn ang="0">
                    <a:pos x="546" y="434"/>
                  </a:cxn>
                  <a:cxn ang="0">
                    <a:pos x="632" y="190"/>
                  </a:cxn>
                  <a:cxn ang="0">
                    <a:pos x="345" y="190"/>
                  </a:cxn>
                  <a:cxn ang="0">
                    <a:pos x="202" y="0"/>
                  </a:cxn>
                  <a:cxn ang="0">
                    <a:pos x="0" y="0"/>
                  </a:cxn>
                </a:cxnLst>
                <a:rect l="0" t="0" r="r" b="b"/>
                <a:pathLst>
                  <a:path w="632" h="462">
                    <a:moveTo>
                      <a:pt x="0" y="0"/>
                    </a:moveTo>
                    <a:lnTo>
                      <a:pt x="58" y="54"/>
                    </a:lnTo>
                    <a:lnTo>
                      <a:pt x="115" y="271"/>
                    </a:lnTo>
                    <a:lnTo>
                      <a:pt x="202" y="271"/>
                    </a:lnTo>
                    <a:lnTo>
                      <a:pt x="230" y="407"/>
                    </a:lnTo>
                    <a:lnTo>
                      <a:pt x="317" y="407"/>
                    </a:lnTo>
                    <a:lnTo>
                      <a:pt x="317" y="434"/>
                    </a:lnTo>
                    <a:lnTo>
                      <a:pt x="402" y="434"/>
                    </a:lnTo>
                    <a:lnTo>
                      <a:pt x="459" y="462"/>
                    </a:lnTo>
                    <a:lnTo>
                      <a:pt x="546" y="434"/>
                    </a:lnTo>
                    <a:lnTo>
                      <a:pt x="632" y="190"/>
                    </a:lnTo>
                    <a:lnTo>
                      <a:pt x="345" y="190"/>
                    </a:lnTo>
                    <a:lnTo>
                      <a:pt x="202" y="0"/>
                    </a:lnTo>
                    <a:lnTo>
                      <a:pt x="0" y="0"/>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solidFill>
                      <a:sysClr val="windowText" lastClr="000000"/>
                    </a:solidFill>
                  </a:ln>
                  <a:solidFill>
                    <a:sysClr val="windowText" lastClr="000000"/>
                  </a:solidFill>
                  <a:effectLst/>
                  <a:uLnTx/>
                  <a:uFillTx/>
                  <a:latin typeface="Calibri"/>
                  <a:ea typeface="+mn-ea"/>
                  <a:cs typeface="+mn-cs"/>
                </a:endParaRPr>
              </a:p>
            </p:txBody>
          </p:sp>
        </p:grpSp>
        <p:grpSp>
          <p:nvGrpSpPr>
            <p:cNvPr id="294" name="Group 477">
              <a:extLst>
                <a:ext uri="{FF2B5EF4-FFF2-40B4-BE49-F238E27FC236}">
                  <a16:creationId xmlns:a16="http://schemas.microsoft.com/office/drawing/2014/main" id="{ED41AD56-3274-FD15-D173-B92BDDB7441A}"/>
                </a:ext>
              </a:extLst>
            </p:cNvPr>
            <p:cNvGrpSpPr>
              <a:grpSpLocks/>
            </p:cNvGrpSpPr>
            <p:nvPr/>
          </p:nvGrpSpPr>
          <p:grpSpPr bwMode="auto">
            <a:xfrm>
              <a:off x="3477434" y="4411942"/>
              <a:ext cx="362353" cy="404915"/>
              <a:chOff x="2618" y="2611"/>
              <a:chExt cx="315" cy="352"/>
            </a:xfrm>
            <a:solidFill>
              <a:schemeClr val="bg1">
                <a:lumMod val="85000"/>
              </a:schemeClr>
            </a:solidFill>
          </p:grpSpPr>
          <p:sp>
            <p:nvSpPr>
              <p:cNvPr id="456" name="Freeform 478">
                <a:extLst>
                  <a:ext uri="{FF2B5EF4-FFF2-40B4-BE49-F238E27FC236}">
                    <a16:creationId xmlns:a16="http://schemas.microsoft.com/office/drawing/2014/main" id="{343700EF-6ABC-5EC3-5640-54D4C6368742}"/>
                  </a:ext>
                </a:extLst>
              </p:cNvPr>
              <p:cNvSpPr>
                <a:spLocks/>
              </p:cNvSpPr>
              <p:nvPr/>
            </p:nvSpPr>
            <p:spPr bwMode="auto">
              <a:xfrm>
                <a:off x="2618" y="2611"/>
                <a:ext cx="315" cy="352"/>
              </a:xfrm>
              <a:custGeom>
                <a:avLst/>
                <a:gdLst/>
                <a:ahLst/>
                <a:cxnLst>
                  <a:cxn ang="0">
                    <a:pos x="0" y="162"/>
                  </a:cxn>
                  <a:cxn ang="0">
                    <a:pos x="144" y="352"/>
                  </a:cxn>
                  <a:cxn ang="0">
                    <a:pos x="315" y="352"/>
                  </a:cxn>
                  <a:cxn ang="0">
                    <a:pos x="315" y="325"/>
                  </a:cxn>
                  <a:cxn ang="0">
                    <a:pos x="229" y="325"/>
                  </a:cxn>
                  <a:cxn ang="0">
                    <a:pos x="258" y="216"/>
                  </a:cxn>
                  <a:cxn ang="0">
                    <a:pos x="258" y="135"/>
                  </a:cxn>
                  <a:cxn ang="0">
                    <a:pos x="200" y="81"/>
                  </a:cxn>
                  <a:cxn ang="0">
                    <a:pos x="144" y="81"/>
                  </a:cxn>
                  <a:cxn ang="0">
                    <a:pos x="144" y="0"/>
                  </a:cxn>
                  <a:cxn ang="0">
                    <a:pos x="57" y="135"/>
                  </a:cxn>
                  <a:cxn ang="0">
                    <a:pos x="0" y="162"/>
                  </a:cxn>
                </a:cxnLst>
                <a:rect l="0" t="0" r="r" b="b"/>
                <a:pathLst>
                  <a:path w="315" h="352">
                    <a:moveTo>
                      <a:pt x="0" y="162"/>
                    </a:moveTo>
                    <a:lnTo>
                      <a:pt x="144" y="352"/>
                    </a:lnTo>
                    <a:lnTo>
                      <a:pt x="315" y="352"/>
                    </a:lnTo>
                    <a:lnTo>
                      <a:pt x="315" y="325"/>
                    </a:lnTo>
                    <a:lnTo>
                      <a:pt x="229" y="325"/>
                    </a:lnTo>
                    <a:lnTo>
                      <a:pt x="258" y="216"/>
                    </a:lnTo>
                    <a:lnTo>
                      <a:pt x="258" y="135"/>
                    </a:lnTo>
                    <a:lnTo>
                      <a:pt x="200" y="81"/>
                    </a:lnTo>
                    <a:lnTo>
                      <a:pt x="144" y="81"/>
                    </a:lnTo>
                    <a:lnTo>
                      <a:pt x="144" y="0"/>
                    </a:lnTo>
                    <a:lnTo>
                      <a:pt x="57" y="135"/>
                    </a:lnTo>
                    <a:lnTo>
                      <a:pt x="0" y="162"/>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57" name="Freeform 479">
                <a:extLst>
                  <a:ext uri="{FF2B5EF4-FFF2-40B4-BE49-F238E27FC236}">
                    <a16:creationId xmlns:a16="http://schemas.microsoft.com/office/drawing/2014/main" id="{0A995A68-6812-FE5A-FAB2-E86969E2018F}"/>
                  </a:ext>
                </a:extLst>
              </p:cNvPr>
              <p:cNvSpPr>
                <a:spLocks/>
              </p:cNvSpPr>
              <p:nvPr/>
            </p:nvSpPr>
            <p:spPr bwMode="auto">
              <a:xfrm>
                <a:off x="2618" y="2611"/>
                <a:ext cx="315" cy="352"/>
              </a:xfrm>
              <a:custGeom>
                <a:avLst/>
                <a:gdLst/>
                <a:ahLst/>
                <a:cxnLst>
                  <a:cxn ang="0">
                    <a:pos x="0" y="162"/>
                  </a:cxn>
                  <a:cxn ang="0">
                    <a:pos x="144" y="352"/>
                  </a:cxn>
                  <a:cxn ang="0">
                    <a:pos x="315" y="352"/>
                  </a:cxn>
                  <a:cxn ang="0">
                    <a:pos x="315" y="325"/>
                  </a:cxn>
                  <a:cxn ang="0">
                    <a:pos x="229" y="325"/>
                  </a:cxn>
                  <a:cxn ang="0">
                    <a:pos x="258" y="216"/>
                  </a:cxn>
                  <a:cxn ang="0">
                    <a:pos x="258" y="135"/>
                  </a:cxn>
                  <a:cxn ang="0">
                    <a:pos x="200" y="81"/>
                  </a:cxn>
                  <a:cxn ang="0">
                    <a:pos x="144" y="81"/>
                  </a:cxn>
                  <a:cxn ang="0">
                    <a:pos x="144" y="0"/>
                  </a:cxn>
                  <a:cxn ang="0">
                    <a:pos x="57" y="135"/>
                  </a:cxn>
                  <a:cxn ang="0">
                    <a:pos x="0" y="162"/>
                  </a:cxn>
                </a:cxnLst>
                <a:rect l="0" t="0" r="r" b="b"/>
                <a:pathLst>
                  <a:path w="315" h="352">
                    <a:moveTo>
                      <a:pt x="0" y="162"/>
                    </a:moveTo>
                    <a:lnTo>
                      <a:pt x="144" y="352"/>
                    </a:lnTo>
                    <a:lnTo>
                      <a:pt x="315" y="352"/>
                    </a:lnTo>
                    <a:lnTo>
                      <a:pt x="315" y="325"/>
                    </a:lnTo>
                    <a:lnTo>
                      <a:pt x="229" y="325"/>
                    </a:lnTo>
                    <a:lnTo>
                      <a:pt x="258" y="216"/>
                    </a:lnTo>
                    <a:lnTo>
                      <a:pt x="258" y="135"/>
                    </a:lnTo>
                    <a:lnTo>
                      <a:pt x="200" y="81"/>
                    </a:lnTo>
                    <a:lnTo>
                      <a:pt x="144" y="81"/>
                    </a:lnTo>
                    <a:lnTo>
                      <a:pt x="144" y="0"/>
                    </a:lnTo>
                    <a:lnTo>
                      <a:pt x="57" y="135"/>
                    </a:lnTo>
                    <a:lnTo>
                      <a:pt x="0" y="162"/>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95" name="Group 480">
              <a:extLst>
                <a:ext uri="{FF2B5EF4-FFF2-40B4-BE49-F238E27FC236}">
                  <a16:creationId xmlns:a16="http://schemas.microsoft.com/office/drawing/2014/main" id="{13BD9AFF-4633-7E11-2171-97C1BF35E282}"/>
                </a:ext>
              </a:extLst>
            </p:cNvPr>
            <p:cNvGrpSpPr>
              <a:grpSpLocks/>
            </p:cNvGrpSpPr>
            <p:nvPr/>
          </p:nvGrpSpPr>
          <p:grpSpPr bwMode="auto">
            <a:xfrm>
              <a:off x="3643080" y="4349825"/>
              <a:ext cx="526849" cy="467032"/>
              <a:chOff x="2762" y="2557"/>
              <a:chExt cx="458" cy="406"/>
            </a:xfrm>
            <a:solidFill>
              <a:schemeClr val="accent6"/>
            </a:solidFill>
          </p:grpSpPr>
          <p:sp>
            <p:nvSpPr>
              <p:cNvPr id="454" name="Freeform 481">
                <a:extLst>
                  <a:ext uri="{FF2B5EF4-FFF2-40B4-BE49-F238E27FC236}">
                    <a16:creationId xmlns:a16="http://schemas.microsoft.com/office/drawing/2014/main" id="{17B8B357-9069-D2B0-6A46-F8F48CE64440}"/>
                  </a:ext>
                </a:extLst>
              </p:cNvPr>
              <p:cNvSpPr>
                <a:spLocks/>
              </p:cNvSpPr>
              <p:nvPr/>
            </p:nvSpPr>
            <p:spPr bwMode="auto">
              <a:xfrm>
                <a:off x="2762" y="2557"/>
                <a:ext cx="458" cy="406"/>
              </a:xfrm>
              <a:custGeom>
                <a:avLst/>
                <a:gdLst/>
                <a:ahLst/>
                <a:cxnLst>
                  <a:cxn ang="0">
                    <a:pos x="0" y="54"/>
                  </a:cxn>
                  <a:cxn ang="0">
                    <a:pos x="0" y="135"/>
                  </a:cxn>
                  <a:cxn ang="0">
                    <a:pos x="56" y="135"/>
                  </a:cxn>
                  <a:cxn ang="0">
                    <a:pos x="114" y="189"/>
                  </a:cxn>
                  <a:cxn ang="0">
                    <a:pos x="114" y="270"/>
                  </a:cxn>
                  <a:cxn ang="0">
                    <a:pos x="85" y="379"/>
                  </a:cxn>
                  <a:cxn ang="0">
                    <a:pos x="171" y="379"/>
                  </a:cxn>
                  <a:cxn ang="0">
                    <a:pos x="171" y="406"/>
                  </a:cxn>
                  <a:cxn ang="0">
                    <a:pos x="286" y="406"/>
                  </a:cxn>
                  <a:cxn ang="0">
                    <a:pos x="343" y="379"/>
                  </a:cxn>
                  <a:cxn ang="0">
                    <a:pos x="430" y="352"/>
                  </a:cxn>
                  <a:cxn ang="0">
                    <a:pos x="343" y="243"/>
                  </a:cxn>
                  <a:cxn ang="0">
                    <a:pos x="315" y="135"/>
                  </a:cxn>
                  <a:cxn ang="0">
                    <a:pos x="401" y="54"/>
                  </a:cxn>
                  <a:cxn ang="0">
                    <a:pos x="458" y="0"/>
                  </a:cxn>
                  <a:cxn ang="0">
                    <a:pos x="56" y="0"/>
                  </a:cxn>
                  <a:cxn ang="0">
                    <a:pos x="0" y="54"/>
                  </a:cxn>
                </a:cxnLst>
                <a:rect l="0" t="0" r="r" b="b"/>
                <a:pathLst>
                  <a:path w="458" h="406">
                    <a:moveTo>
                      <a:pt x="0" y="54"/>
                    </a:moveTo>
                    <a:lnTo>
                      <a:pt x="0" y="135"/>
                    </a:lnTo>
                    <a:lnTo>
                      <a:pt x="56" y="135"/>
                    </a:lnTo>
                    <a:lnTo>
                      <a:pt x="114" y="189"/>
                    </a:lnTo>
                    <a:lnTo>
                      <a:pt x="114" y="270"/>
                    </a:lnTo>
                    <a:lnTo>
                      <a:pt x="85" y="379"/>
                    </a:lnTo>
                    <a:lnTo>
                      <a:pt x="171" y="379"/>
                    </a:lnTo>
                    <a:lnTo>
                      <a:pt x="171" y="406"/>
                    </a:lnTo>
                    <a:lnTo>
                      <a:pt x="286" y="406"/>
                    </a:lnTo>
                    <a:lnTo>
                      <a:pt x="343" y="379"/>
                    </a:lnTo>
                    <a:lnTo>
                      <a:pt x="430" y="352"/>
                    </a:lnTo>
                    <a:lnTo>
                      <a:pt x="343" y="243"/>
                    </a:lnTo>
                    <a:lnTo>
                      <a:pt x="315" y="135"/>
                    </a:lnTo>
                    <a:lnTo>
                      <a:pt x="401" y="54"/>
                    </a:lnTo>
                    <a:lnTo>
                      <a:pt x="458" y="0"/>
                    </a:lnTo>
                    <a:lnTo>
                      <a:pt x="56" y="0"/>
                    </a:lnTo>
                    <a:lnTo>
                      <a:pt x="0" y="5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55" name="Freeform 482">
                <a:extLst>
                  <a:ext uri="{FF2B5EF4-FFF2-40B4-BE49-F238E27FC236}">
                    <a16:creationId xmlns:a16="http://schemas.microsoft.com/office/drawing/2014/main" id="{043E3C9E-CFBE-F7AC-E303-CFA7BF502717}"/>
                  </a:ext>
                </a:extLst>
              </p:cNvPr>
              <p:cNvSpPr>
                <a:spLocks/>
              </p:cNvSpPr>
              <p:nvPr/>
            </p:nvSpPr>
            <p:spPr bwMode="auto">
              <a:xfrm>
                <a:off x="2762" y="2557"/>
                <a:ext cx="458" cy="406"/>
              </a:xfrm>
              <a:custGeom>
                <a:avLst/>
                <a:gdLst/>
                <a:ahLst/>
                <a:cxnLst>
                  <a:cxn ang="0">
                    <a:pos x="0" y="54"/>
                  </a:cxn>
                  <a:cxn ang="0">
                    <a:pos x="0" y="135"/>
                  </a:cxn>
                  <a:cxn ang="0">
                    <a:pos x="56" y="135"/>
                  </a:cxn>
                  <a:cxn ang="0">
                    <a:pos x="114" y="189"/>
                  </a:cxn>
                  <a:cxn ang="0">
                    <a:pos x="114" y="270"/>
                  </a:cxn>
                  <a:cxn ang="0">
                    <a:pos x="85" y="379"/>
                  </a:cxn>
                  <a:cxn ang="0">
                    <a:pos x="171" y="379"/>
                  </a:cxn>
                  <a:cxn ang="0">
                    <a:pos x="171" y="406"/>
                  </a:cxn>
                  <a:cxn ang="0">
                    <a:pos x="286" y="406"/>
                  </a:cxn>
                  <a:cxn ang="0">
                    <a:pos x="343" y="379"/>
                  </a:cxn>
                  <a:cxn ang="0">
                    <a:pos x="430" y="352"/>
                  </a:cxn>
                  <a:cxn ang="0">
                    <a:pos x="343" y="243"/>
                  </a:cxn>
                  <a:cxn ang="0">
                    <a:pos x="315" y="135"/>
                  </a:cxn>
                  <a:cxn ang="0">
                    <a:pos x="401" y="54"/>
                  </a:cxn>
                  <a:cxn ang="0">
                    <a:pos x="458" y="0"/>
                  </a:cxn>
                  <a:cxn ang="0">
                    <a:pos x="56" y="0"/>
                  </a:cxn>
                  <a:cxn ang="0">
                    <a:pos x="0" y="54"/>
                  </a:cxn>
                </a:cxnLst>
                <a:rect l="0" t="0" r="r" b="b"/>
                <a:pathLst>
                  <a:path w="458" h="406">
                    <a:moveTo>
                      <a:pt x="0" y="54"/>
                    </a:moveTo>
                    <a:lnTo>
                      <a:pt x="0" y="135"/>
                    </a:lnTo>
                    <a:lnTo>
                      <a:pt x="56" y="135"/>
                    </a:lnTo>
                    <a:lnTo>
                      <a:pt x="114" y="189"/>
                    </a:lnTo>
                    <a:lnTo>
                      <a:pt x="114" y="270"/>
                    </a:lnTo>
                    <a:lnTo>
                      <a:pt x="85" y="379"/>
                    </a:lnTo>
                    <a:lnTo>
                      <a:pt x="171" y="379"/>
                    </a:lnTo>
                    <a:lnTo>
                      <a:pt x="171" y="406"/>
                    </a:lnTo>
                    <a:lnTo>
                      <a:pt x="286" y="406"/>
                    </a:lnTo>
                    <a:lnTo>
                      <a:pt x="343" y="379"/>
                    </a:lnTo>
                    <a:lnTo>
                      <a:pt x="430" y="352"/>
                    </a:lnTo>
                    <a:lnTo>
                      <a:pt x="343" y="243"/>
                    </a:lnTo>
                    <a:lnTo>
                      <a:pt x="315" y="135"/>
                    </a:lnTo>
                    <a:lnTo>
                      <a:pt x="401" y="54"/>
                    </a:lnTo>
                    <a:lnTo>
                      <a:pt x="458" y="0"/>
                    </a:lnTo>
                    <a:lnTo>
                      <a:pt x="56" y="0"/>
                    </a:lnTo>
                    <a:lnTo>
                      <a:pt x="0" y="54"/>
                    </a:lnTo>
                  </a:path>
                </a:pathLst>
              </a:custGeom>
              <a:solidFill>
                <a:schemeClr val="bg1">
                  <a:lumMod val="85000"/>
                </a:schemeClr>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296" name="Group 486">
              <a:extLst>
                <a:ext uri="{FF2B5EF4-FFF2-40B4-BE49-F238E27FC236}">
                  <a16:creationId xmlns:a16="http://schemas.microsoft.com/office/drawing/2014/main" id="{63A70D3E-9B85-4840-FA73-C4AA7FBE5563}"/>
                </a:ext>
              </a:extLst>
            </p:cNvPr>
            <p:cNvGrpSpPr>
              <a:grpSpLocks/>
            </p:cNvGrpSpPr>
            <p:nvPr/>
          </p:nvGrpSpPr>
          <p:grpSpPr bwMode="auto">
            <a:xfrm>
              <a:off x="3874299" y="4754740"/>
              <a:ext cx="527999" cy="343947"/>
              <a:chOff x="2963" y="2909"/>
              <a:chExt cx="459" cy="299"/>
            </a:xfrm>
            <a:solidFill>
              <a:schemeClr val="accent6"/>
            </a:solidFill>
          </p:grpSpPr>
          <p:sp>
            <p:nvSpPr>
              <p:cNvPr id="452" name="Freeform 487">
                <a:extLst>
                  <a:ext uri="{FF2B5EF4-FFF2-40B4-BE49-F238E27FC236}">
                    <a16:creationId xmlns:a16="http://schemas.microsoft.com/office/drawing/2014/main" id="{0B9446DD-32DE-9EBC-BA67-425DACF7E4B4}"/>
                  </a:ext>
                </a:extLst>
              </p:cNvPr>
              <p:cNvSpPr>
                <a:spLocks/>
              </p:cNvSpPr>
              <p:nvPr/>
            </p:nvSpPr>
            <p:spPr bwMode="auto">
              <a:xfrm>
                <a:off x="2963" y="2909"/>
                <a:ext cx="459" cy="299"/>
              </a:xfrm>
              <a:custGeom>
                <a:avLst/>
                <a:gdLst/>
                <a:ahLst/>
                <a:cxnLst>
                  <a:cxn ang="0">
                    <a:pos x="230" y="0"/>
                  </a:cxn>
                  <a:cxn ang="0">
                    <a:pos x="144" y="27"/>
                  </a:cxn>
                  <a:cxn ang="0">
                    <a:pos x="86" y="54"/>
                  </a:cxn>
                  <a:cxn ang="0">
                    <a:pos x="0" y="299"/>
                  </a:cxn>
                  <a:cxn ang="0">
                    <a:pos x="144" y="299"/>
                  </a:cxn>
                  <a:cxn ang="0">
                    <a:pos x="201" y="245"/>
                  </a:cxn>
                  <a:cxn ang="0">
                    <a:pos x="459" y="190"/>
                  </a:cxn>
                  <a:cxn ang="0">
                    <a:pos x="459" y="136"/>
                  </a:cxn>
                  <a:cxn ang="0">
                    <a:pos x="401" y="163"/>
                  </a:cxn>
                  <a:cxn ang="0">
                    <a:pos x="230" y="0"/>
                  </a:cxn>
                </a:cxnLst>
                <a:rect l="0" t="0" r="r" b="b"/>
                <a:pathLst>
                  <a:path w="459" h="299">
                    <a:moveTo>
                      <a:pt x="230" y="0"/>
                    </a:moveTo>
                    <a:lnTo>
                      <a:pt x="144" y="27"/>
                    </a:lnTo>
                    <a:lnTo>
                      <a:pt x="86" y="54"/>
                    </a:lnTo>
                    <a:lnTo>
                      <a:pt x="0" y="299"/>
                    </a:lnTo>
                    <a:lnTo>
                      <a:pt x="144" y="299"/>
                    </a:lnTo>
                    <a:lnTo>
                      <a:pt x="201" y="245"/>
                    </a:lnTo>
                    <a:lnTo>
                      <a:pt x="459" y="190"/>
                    </a:lnTo>
                    <a:lnTo>
                      <a:pt x="459" y="136"/>
                    </a:lnTo>
                    <a:lnTo>
                      <a:pt x="401" y="163"/>
                    </a:lnTo>
                    <a:lnTo>
                      <a:pt x="230"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53" name="Freeform 488">
                <a:extLst>
                  <a:ext uri="{FF2B5EF4-FFF2-40B4-BE49-F238E27FC236}">
                    <a16:creationId xmlns:a16="http://schemas.microsoft.com/office/drawing/2014/main" id="{BEEE5F62-EC4E-097F-CD33-597970F259F0}"/>
                  </a:ext>
                </a:extLst>
              </p:cNvPr>
              <p:cNvSpPr>
                <a:spLocks/>
              </p:cNvSpPr>
              <p:nvPr/>
            </p:nvSpPr>
            <p:spPr bwMode="auto">
              <a:xfrm>
                <a:off x="2963" y="2909"/>
                <a:ext cx="459" cy="299"/>
              </a:xfrm>
              <a:custGeom>
                <a:avLst/>
                <a:gdLst/>
                <a:ahLst/>
                <a:cxnLst>
                  <a:cxn ang="0">
                    <a:pos x="230" y="0"/>
                  </a:cxn>
                  <a:cxn ang="0">
                    <a:pos x="144" y="27"/>
                  </a:cxn>
                  <a:cxn ang="0">
                    <a:pos x="86" y="54"/>
                  </a:cxn>
                  <a:cxn ang="0">
                    <a:pos x="0" y="299"/>
                  </a:cxn>
                  <a:cxn ang="0">
                    <a:pos x="144" y="299"/>
                  </a:cxn>
                  <a:cxn ang="0">
                    <a:pos x="201" y="245"/>
                  </a:cxn>
                  <a:cxn ang="0">
                    <a:pos x="459" y="190"/>
                  </a:cxn>
                  <a:cxn ang="0">
                    <a:pos x="459" y="136"/>
                  </a:cxn>
                  <a:cxn ang="0">
                    <a:pos x="401" y="163"/>
                  </a:cxn>
                  <a:cxn ang="0">
                    <a:pos x="230" y="0"/>
                  </a:cxn>
                </a:cxnLst>
                <a:rect l="0" t="0" r="r" b="b"/>
                <a:pathLst>
                  <a:path w="459" h="299">
                    <a:moveTo>
                      <a:pt x="230" y="0"/>
                    </a:moveTo>
                    <a:lnTo>
                      <a:pt x="144" y="27"/>
                    </a:lnTo>
                    <a:lnTo>
                      <a:pt x="86" y="54"/>
                    </a:lnTo>
                    <a:lnTo>
                      <a:pt x="0" y="299"/>
                    </a:lnTo>
                    <a:lnTo>
                      <a:pt x="144" y="299"/>
                    </a:lnTo>
                    <a:lnTo>
                      <a:pt x="201" y="245"/>
                    </a:lnTo>
                    <a:lnTo>
                      <a:pt x="459" y="190"/>
                    </a:lnTo>
                    <a:lnTo>
                      <a:pt x="459" y="136"/>
                    </a:lnTo>
                    <a:lnTo>
                      <a:pt x="401" y="163"/>
                    </a:lnTo>
                    <a:lnTo>
                      <a:pt x="230" y="0"/>
                    </a:lnTo>
                  </a:path>
                </a:pathLst>
              </a:custGeom>
              <a:solidFill>
                <a:srgbClr val="002060"/>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grpSp>
        <p:sp>
          <p:nvSpPr>
            <p:cNvPr id="297" name="Rectangle 543">
              <a:extLst>
                <a:ext uri="{FF2B5EF4-FFF2-40B4-BE49-F238E27FC236}">
                  <a16:creationId xmlns:a16="http://schemas.microsoft.com/office/drawing/2014/main" id="{980C0382-2CA5-9060-9E14-0509F51B386D}"/>
                </a:ext>
              </a:extLst>
            </p:cNvPr>
            <p:cNvSpPr>
              <a:spLocks noChangeArrowheads="1"/>
            </p:cNvSpPr>
            <p:nvPr/>
          </p:nvSpPr>
          <p:spPr bwMode="auto">
            <a:xfrm>
              <a:off x="720007" y="2162410"/>
              <a:ext cx="187239"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CADDO</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98" name="Rectangle 544">
              <a:extLst>
                <a:ext uri="{FF2B5EF4-FFF2-40B4-BE49-F238E27FC236}">
                  <a16:creationId xmlns:a16="http://schemas.microsoft.com/office/drawing/2014/main" id="{483A22EB-48E3-3D3D-B0A9-916F91FCCD77}"/>
                </a:ext>
              </a:extLst>
            </p:cNvPr>
            <p:cNvSpPr>
              <a:spLocks noChangeArrowheads="1"/>
            </p:cNvSpPr>
            <p:nvPr/>
          </p:nvSpPr>
          <p:spPr bwMode="auto">
            <a:xfrm>
              <a:off x="1001086" y="1775472"/>
              <a:ext cx="210108"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BOSSIER</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299" name="Rectangle 545">
              <a:extLst>
                <a:ext uri="{FF2B5EF4-FFF2-40B4-BE49-F238E27FC236}">
                  <a16:creationId xmlns:a16="http://schemas.microsoft.com/office/drawing/2014/main" id="{9892BB61-5133-9487-C5F6-263F9FAA9D47}"/>
                </a:ext>
              </a:extLst>
            </p:cNvPr>
            <p:cNvSpPr>
              <a:spLocks noChangeArrowheads="1"/>
            </p:cNvSpPr>
            <p:nvPr/>
          </p:nvSpPr>
          <p:spPr bwMode="auto">
            <a:xfrm>
              <a:off x="1623113" y="1777108"/>
              <a:ext cx="287290"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CLAIBORN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00" name="Rectangle 546">
              <a:extLst>
                <a:ext uri="{FF2B5EF4-FFF2-40B4-BE49-F238E27FC236}">
                  <a16:creationId xmlns:a16="http://schemas.microsoft.com/office/drawing/2014/main" id="{CB81F147-37DF-2319-C9AD-3096B70D676B}"/>
                </a:ext>
              </a:extLst>
            </p:cNvPr>
            <p:cNvSpPr>
              <a:spLocks noChangeArrowheads="1"/>
            </p:cNvSpPr>
            <p:nvPr/>
          </p:nvSpPr>
          <p:spPr bwMode="auto">
            <a:xfrm>
              <a:off x="2344001" y="1774684"/>
              <a:ext cx="177233"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UNI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01" name="Rectangle 547">
              <a:extLst>
                <a:ext uri="{FF2B5EF4-FFF2-40B4-BE49-F238E27FC236}">
                  <a16:creationId xmlns:a16="http://schemas.microsoft.com/office/drawing/2014/main" id="{F280D736-3E82-FC94-55AE-158BE6C5826C}"/>
                </a:ext>
              </a:extLst>
            </p:cNvPr>
            <p:cNvSpPr>
              <a:spLocks noChangeArrowheads="1"/>
            </p:cNvSpPr>
            <p:nvPr/>
          </p:nvSpPr>
          <p:spPr bwMode="auto">
            <a:xfrm>
              <a:off x="2835963" y="1777107"/>
              <a:ext cx="33588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MOREHOUS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02" name="Rectangle 548">
              <a:extLst>
                <a:ext uri="{FF2B5EF4-FFF2-40B4-BE49-F238E27FC236}">
                  <a16:creationId xmlns:a16="http://schemas.microsoft.com/office/drawing/2014/main" id="{19610F89-D24D-9B1C-8345-9AB919DF0E6A}"/>
                </a:ext>
              </a:extLst>
            </p:cNvPr>
            <p:cNvSpPr>
              <a:spLocks noChangeArrowheads="1"/>
            </p:cNvSpPr>
            <p:nvPr/>
          </p:nvSpPr>
          <p:spPr bwMode="auto">
            <a:xfrm>
              <a:off x="3332493" y="1777108"/>
              <a:ext cx="142930"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WES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03" name="Rectangle 549">
              <a:extLst>
                <a:ext uri="{FF2B5EF4-FFF2-40B4-BE49-F238E27FC236}">
                  <a16:creationId xmlns:a16="http://schemas.microsoft.com/office/drawing/2014/main" id="{064607DF-E955-13FE-1D53-21B8A42BD9F2}"/>
                </a:ext>
              </a:extLst>
            </p:cNvPr>
            <p:cNvSpPr>
              <a:spLocks noChangeArrowheads="1"/>
            </p:cNvSpPr>
            <p:nvPr/>
          </p:nvSpPr>
          <p:spPr bwMode="auto">
            <a:xfrm>
              <a:off x="3585328" y="1777108"/>
              <a:ext cx="124350"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EAS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04" name="Rectangle 550">
              <a:extLst>
                <a:ext uri="{FF2B5EF4-FFF2-40B4-BE49-F238E27FC236}">
                  <a16:creationId xmlns:a16="http://schemas.microsoft.com/office/drawing/2014/main" id="{84392B94-2ED9-F63D-95F0-72E7091B6C5B}"/>
                </a:ext>
              </a:extLst>
            </p:cNvPr>
            <p:cNvSpPr>
              <a:spLocks noChangeArrowheads="1"/>
            </p:cNvSpPr>
            <p:nvPr/>
          </p:nvSpPr>
          <p:spPr bwMode="auto">
            <a:xfrm>
              <a:off x="855576" y="2737482"/>
              <a:ext cx="210108"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DESOTO</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05" name="Rectangle 551">
              <a:extLst>
                <a:ext uri="{FF2B5EF4-FFF2-40B4-BE49-F238E27FC236}">
                  <a16:creationId xmlns:a16="http://schemas.microsoft.com/office/drawing/2014/main" id="{4ABA56C5-F868-C9DF-564E-205EE5061BA7}"/>
                </a:ext>
              </a:extLst>
            </p:cNvPr>
            <p:cNvSpPr>
              <a:spLocks noChangeArrowheads="1"/>
            </p:cNvSpPr>
            <p:nvPr/>
          </p:nvSpPr>
          <p:spPr bwMode="auto">
            <a:xfrm>
              <a:off x="1360960" y="2676617"/>
              <a:ext cx="101481"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RED</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06" name="Rectangle 552">
              <a:extLst>
                <a:ext uri="{FF2B5EF4-FFF2-40B4-BE49-F238E27FC236}">
                  <a16:creationId xmlns:a16="http://schemas.microsoft.com/office/drawing/2014/main" id="{796BAC0B-F0B9-6F7E-282F-4A5FB5740334}"/>
                </a:ext>
              </a:extLst>
            </p:cNvPr>
            <p:cNvSpPr>
              <a:spLocks noChangeArrowheads="1"/>
            </p:cNvSpPr>
            <p:nvPr/>
          </p:nvSpPr>
          <p:spPr bwMode="auto">
            <a:xfrm>
              <a:off x="1349659" y="2749725"/>
              <a:ext cx="147219"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RIVER</a:t>
              </a:r>
              <a:endParaRPr kumimoji="0" lang="en-US" sz="5054"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endParaRPr>
            </a:p>
          </p:txBody>
        </p:sp>
        <p:sp>
          <p:nvSpPr>
            <p:cNvPr id="307" name="Rectangle 553">
              <a:extLst>
                <a:ext uri="{FF2B5EF4-FFF2-40B4-BE49-F238E27FC236}">
                  <a16:creationId xmlns:a16="http://schemas.microsoft.com/office/drawing/2014/main" id="{756397F2-E0B5-BEFF-0558-646FB19DAA75}"/>
                </a:ext>
              </a:extLst>
            </p:cNvPr>
            <p:cNvSpPr>
              <a:spLocks noChangeArrowheads="1"/>
            </p:cNvSpPr>
            <p:nvPr/>
          </p:nvSpPr>
          <p:spPr bwMode="auto">
            <a:xfrm>
              <a:off x="1609309" y="2430380"/>
              <a:ext cx="251557"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BIENVILL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08" name="Rectangle 554">
              <a:extLst>
                <a:ext uri="{FF2B5EF4-FFF2-40B4-BE49-F238E27FC236}">
                  <a16:creationId xmlns:a16="http://schemas.microsoft.com/office/drawing/2014/main" id="{5CD3A8B9-6665-DE3D-DBE5-412F6B85C824}"/>
                </a:ext>
              </a:extLst>
            </p:cNvPr>
            <p:cNvSpPr>
              <a:spLocks noChangeArrowheads="1"/>
            </p:cNvSpPr>
            <p:nvPr/>
          </p:nvSpPr>
          <p:spPr bwMode="auto">
            <a:xfrm>
              <a:off x="2103521" y="2428967"/>
              <a:ext cx="230118"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JACKS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09" name="Rectangle 555">
              <a:extLst>
                <a:ext uri="{FF2B5EF4-FFF2-40B4-BE49-F238E27FC236}">
                  <a16:creationId xmlns:a16="http://schemas.microsoft.com/office/drawing/2014/main" id="{32A5F183-AEAF-82E0-5F19-324F70F136EB}"/>
                </a:ext>
              </a:extLst>
            </p:cNvPr>
            <p:cNvSpPr>
              <a:spLocks noChangeArrowheads="1"/>
            </p:cNvSpPr>
            <p:nvPr/>
          </p:nvSpPr>
          <p:spPr bwMode="auto">
            <a:xfrm>
              <a:off x="2038976" y="2124310"/>
              <a:ext cx="221542"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LINCOL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10" name="Rectangle 556">
              <a:extLst>
                <a:ext uri="{FF2B5EF4-FFF2-40B4-BE49-F238E27FC236}">
                  <a16:creationId xmlns:a16="http://schemas.microsoft.com/office/drawing/2014/main" id="{62F3AA72-96F7-06E3-AB07-BA19C6D64D16}"/>
                </a:ext>
              </a:extLst>
            </p:cNvPr>
            <p:cNvSpPr>
              <a:spLocks noChangeArrowheads="1"/>
            </p:cNvSpPr>
            <p:nvPr/>
          </p:nvSpPr>
          <p:spPr bwMode="auto">
            <a:xfrm>
              <a:off x="2495688" y="2267739"/>
              <a:ext cx="270138"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OUACHIT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11" name="Rectangle 557">
              <a:extLst>
                <a:ext uri="{FF2B5EF4-FFF2-40B4-BE49-F238E27FC236}">
                  <a16:creationId xmlns:a16="http://schemas.microsoft.com/office/drawing/2014/main" id="{8A3A0A95-05B1-A3DE-EEC8-1E8FAECABAF1}"/>
                </a:ext>
              </a:extLst>
            </p:cNvPr>
            <p:cNvSpPr>
              <a:spLocks noChangeArrowheads="1"/>
            </p:cNvSpPr>
            <p:nvPr/>
          </p:nvSpPr>
          <p:spPr bwMode="auto">
            <a:xfrm>
              <a:off x="3045269" y="2258537"/>
              <a:ext cx="260133"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RICHLAND</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12" name="Rectangle 558">
              <a:extLst>
                <a:ext uri="{FF2B5EF4-FFF2-40B4-BE49-F238E27FC236}">
                  <a16:creationId xmlns:a16="http://schemas.microsoft.com/office/drawing/2014/main" id="{A5CF5263-B55E-26B9-AD60-2674F7474FE9}"/>
                </a:ext>
              </a:extLst>
            </p:cNvPr>
            <p:cNvSpPr>
              <a:spLocks noChangeArrowheads="1"/>
            </p:cNvSpPr>
            <p:nvPr/>
          </p:nvSpPr>
          <p:spPr bwMode="auto">
            <a:xfrm>
              <a:off x="3531323" y="2379842"/>
              <a:ext cx="252987"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MADIS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13" name="Rectangle 559">
              <a:extLst>
                <a:ext uri="{FF2B5EF4-FFF2-40B4-BE49-F238E27FC236}">
                  <a16:creationId xmlns:a16="http://schemas.microsoft.com/office/drawing/2014/main" id="{3CBDE5C6-9713-4E3C-CD6C-FB2F1EB7A3E7}"/>
                </a:ext>
              </a:extLst>
            </p:cNvPr>
            <p:cNvSpPr>
              <a:spLocks noChangeArrowheads="1"/>
            </p:cNvSpPr>
            <p:nvPr/>
          </p:nvSpPr>
          <p:spPr bwMode="auto">
            <a:xfrm>
              <a:off x="1134823" y="3415083"/>
              <a:ext cx="182950"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SABIN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14" name="Rectangle 572">
              <a:extLst>
                <a:ext uri="{FF2B5EF4-FFF2-40B4-BE49-F238E27FC236}">
                  <a16:creationId xmlns:a16="http://schemas.microsoft.com/office/drawing/2014/main" id="{443513C6-C7FB-34B6-3860-DB70EBC4FCE7}"/>
                </a:ext>
              </a:extLst>
            </p:cNvPr>
            <p:cNvSpPr>
              <a:spLocks noChangeArrowheads="1"/>
            </p:cNvSpPr>
            <p:nvPr/>
          </p:nvSpPr>
          <p:spPr bwMode="auto">
            <a:xfrm>
              <a:off x="1385510" y="1716734"/>
              <a:ext cx="54313"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W</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15" name="Rectangle 573">
              <a:extLst>
                <a:ext uri="{FF2B5EF4-FFF2-40B4-BE49-F238E27FC236}">
                  <a16:creationId xmlns:a16="http://schemas.microsoft.com/office/drawing/2014/main" id="{F87C42C2-3AB4-60AB-6A48-F6CEA8CD4468}"/>
                </a:ext>
              </a:extLst>
            </p:cNvPr>
            <p:cNvSpPr>
              <a:spLocks noChangeArrowheads="1"/>
            </p:cNvSpPr>
            <p:nvPr/>
          </p:nvSpPr>
          <p:spPr bwMode="auto">
            <a:xfrm>
              <a:off x="1394196" y="1783451"/>
              <a:ext cx="3001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E</a:t>
              </a:r>
              <a:endParaRPr kumimoji="0" lang="en-US" sz="5054"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endParaRPr>
            </a:p>
          </p:txBody>
        </p:sp>
        <p:sp>
          <p:nvSpPr>
            <p:cNvPr id="316" name="Rectangle 574">
              <a:extLst>
                <a:ext uri="{FF2B5EF4-FFF2-40B4-BE49-F238E27FC236}">
                  <a16:creationId xmlns:a16="http://schemas.microsoft.com/office/drawing/2014/main" id="{B83BD347-ECBC-0187-FD56-832DE0D3CCC9}"/>
                </a:ext>
              </a:extLst>
            </p:cNvPr>
            <p:cNvSpPr>
              <a:spLocks noChangeArrowheads="1"/>
            </p:cNvSpPr>
            <p:nvPr/>
          </p:nvSpPr>
          <p:spPr bwMode="auto">
            <a:xfrm>
              <a:off x="1393047" y="1851322"/>
              <a:ext cx="32875"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B</a:t>
              </a:r>
              <a:endParaRPr kumimoji="0" lang="en-US" sz="5054"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endParaRPr>
            </a:p>
          </p:txBody>
        </p:sp>
        <p:sp>
          <p:nvSpPr>
            <p:cNvPr id="317" name="Rectangle 575">
              <a:extLst>
                <a:ext uri="{FF2B5EF4-FFF2-40B4-BE49-F238E27FC236}">
                  <a16:creationId xmlns:a16="http://schemas.microsoft.com/office/drawing/2014/main" id="{21DAE3B8-15FA-2B7A-32D2-83EDDC8DE8F5}"/>
                </a:ext>
              </a:extLst>
            </p:cNvPr>
            <p:cNvSpPr>
              <a:spLocks noChangeArrowheads="1"/>
            </p:cNvSpPr>
            <p:nvPr/>
          </p:nvSpPr>
          <p:spPr bwMode="auto">
            <a:xfrm>
              <a:off x="1394196" y="1918039"/>
              <a:ext cx="28586"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18" name="Rectangle 576">
              <a:extLst>
                <a:ext uri="{FF2B5EF4-FFF2-40B4-BE49-F238E27FC236}">
                  <a16:creationId xmlns:a16="http://schemas.microsoft.com/office/drawing/2014/main" id="{2157FCBD-979F-8A5B-CC39-0F9DACE41B7A}"/>
                </a:ext>
              </a:extLst>
            </p:cNvPr>
            <p:cNvSpPr>
              <a:spLocks noChangeArrowheads="1"/>
            </p:cNvSpPr>
            <p:nvPr/>
          </p:nvSpPr>
          <p:spPr bwMode="auto">
            <a:xfrm>
              <a:off x="1395347" y="1985909"/>
              <a:ext cx="30016"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19" name="Rectangle 577">
              <a:extLst>
                <a:ext uri="{FF2B5EF4-FFF2-40B4-BE49-F238E27FC236}">
                  <a16:creationId xmlns:a16="http://schemas.microsoft.com/office/drawing/2014/main" id="{6876A110-A134-CE37-65BC-F0A823FE1FE9}"/>
                </a:ext>
              </a:extLst>
            </p:cNvPr>
            <p:cNvSpPr>
              <a:spLocks noChangeArrowheads="1"/>
            </p:cNvSpPr>
            <p:nvPr/>
          </p:nvSpPr>
          <p:spPr bwMode="auto">
            <a:xfrm>
              <a:off x="1394196" y="2053780"/>
              <a:ext cx="30016"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E</a:t>
              </a:r>
              <a:endParaRPr kumimoji="0" lang="en-US" sz="5054"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endParaRPr>
            </a:p>
          </p:txBody>
        </p:sp>
        <p:sp>
          <p:nvSpPr>
            <p:cNvPr id="320" name="Rectangle 578">
              <a:extLst>
                <a:ext uri="{FF2B5EF4-FFF2-40B4-BE49-F238E27FC236}">
                  <a16:creationId xmlns:a16="http://schemas.microsoft.com/office/drawing/2014/main" id="{3DE4A935-EC65-2F20-80E3-77EFA024440E}"/>
                </a:ext>
              </a:extLst>
            </p:cNvPr>
            <p:cNvSpPr>
              <a:spLocks noChangeArrowheads="1"/>
            </p:cNvSpPr>
            <p:nvPr/>
          </p:nvSpPr>
          <p:spPr bwMode="auto">
            <a:xfrm>
              <a:off x="1393047" y="2120497"/>
              <a:ext cx="32875"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R</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21" name="Rectangle 579">
              <a:extLst>
                <a:ext uri="{FF2B5EF4-FFF2-40B4-BE49-F238E27FC236}">
                  <a16:creationId xmlns:a16="http://schemas.microsoft.com/office/drawing/2014/main" id="{0358CA61-D220-A6C5-8EF2-D26EEA3C3A40}"/>
                </a:ext>
              </a:extLst>
            </p:cNvPr>
            <p:cNvSpPr>
              <a:spLocks noChangeArrowheads="1"/>
            </p:cNvSpPr>
            <p:nvPr/>
          </p:nvSpPr>
          <p:spPr bwMode="auto">
            <a:xfrm>
              <a:off x="3386297" y="1883733"/>
              <a:ext cx="227259"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CARROLL</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22" name="Rectangle 580">
              <a:extLst>
                <a:ext uri="{FF2B5EF4-FFF2-40B4-BE49-F238E27FC236}">
                  <a16:creationId xmlns:a16="http://schemas.microsoft.com/office/drawing/2014/main" id="{040AA84E-42B7-D7E0-4A73-92DA5CBC1B91}"/>
                </a:ext>
              </a:extLst>
            </p:cNvPr>
            <p:cNvSpPr>
              <a:spLocks noChangeArrowheads="1"/>
            </p:cNvSpPr>
            <p:nvPr/>
          </p:nvSpPr>
          <p:spPr bwMode="auto">
            <a:xfrm>
              <a:off x="2143058" y="2876260"/>
              <a:ext cx="150077"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WIN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23" name="Rectangle 581">
              <a:extLst>
                <a:ext uri="{FF2B5EF4-FFF2-40B4-BE49-F238E27FC236}">
                  <a16:creationId xmlns:a16="http://schemas.microsoft.com/office/drawing/2014/main" id="{19682745-267D-4197-AAE1-31BF48D5BBE6}"/>
                </a:ext>
              </a:extLst>
            </p:cNvPr>
            <p:cNvSpPr>
              <a:spLocks noChangeArrowheads="1"/>
            </p:cNvSpPr>
            <p:nvPr/>
          </p:nvSpPr>
          <p:spPr bwMode="auto">
            <a:xfrm>
              <a:off x="2557847" y="2711527"/>
              <a:ext cx="268709"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CALDWELL</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24" name="Rectangle 582">
              <a:extLst>
                <a:ext uri="{FF2B5EF4-FFF2-40B4-BE49-F238E27FC236}">
                  <a16:creationId xmlns:a16="http://schemas.microsoft.com/office/drawing/2014/main" id="{8EE277C6-A75B-2B48-DA10-9FAD701DE315}"/>
                </a:ext>
              </a:extLst>
            </p:cNvPr>
            <p:cNvSpPr>
              <a:spLocks noChangeArrowheads="1"/>
            </p:cNvSpPr>
            <p:nvPr/>
          </p:nvSpPr>
          <p:spPr bwMode="auto">
            <a:xfrm>
              <a:off x="3043762" y="2715215"/>
              <a:ext cx="250128"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FRANKLI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25" name="Rectangle 583">
              <a:extLst>
                <a:ext uri="{FF2B5EF4-FFF2-40B4-BE49-F238E27FC236}">
                  <a16:creationId xmlns:a16="http://schemas.microsoft.com/office/drawing/2014/main" id="{B9A7B34D-F24B-E091-3550-E0D0945D0571}"/>
                </a:ext>
              </a:extLst>
            </p:cNvPr>
            <p:cNvSpPr>
              <a:spLocks noChangeArrowheads="1"/>
            </p:cNvSpPr>
            <p:nvPr/>
          </p:nvSpPr>
          <p:spPr bwMode="auto">
            <a:xfrm>
              <a:off x="3465932" y="2716365"/>
              <a:ext cx="192956"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TENSA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26" name="Rectangle 584">
              <a:extLst>
                <a:ext uri="{FF2B5EF4-FFF2-40B4-BE49-F238E27FC236}">
                  <a16:creationId xmlns:a16="http://schemas.microsoft.com/office/drawing/2014/main" id="{0EF0EEC9-1D50-F03D-1B6A-9460BA2F7047}"/>
                </a:ext>
              </a:extLst>
            </p:cNvPr>
            <p:cNvSpPr>
              <a:spLocks noChangeArrowheads="1"/>
            </p:cNvSpPr>
            <p:nvPr/>
          </p:nvSpPr>
          <p:spPr bwMode="auto">
            <a:xfrm>
              <a:off x="2203944" y="3308388"/>
              <a:ext cx="1772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GRANT</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27" name="Rectangle 585">
              <a:extLst>
                <a:ext uri="{FF2B5EF4-FFF2-40B4-BE49-F238E27FC236}">
                  <a16:creationId xmlns:a16="http://schemas.microsoft.com/office/drawing/2014/main" id="{9D597333-AD75-E32D-6299-DDBE6AA311EB}"/>
                </a:ext>
              </a:extLst>
            </p:cNvPr>
            <p:cNvSpPr>
              <a:spLocks noChangeArrowheads="1"/>
            </p:cNvSpPr>
            <p:nvPr/>
          </p:nvSpPr>
          <p:spPr bwMode="auto">
            <a:xfrm>
              <a:off x="2543280" y="3228375"/>
              <a:ext cx="207249"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LASALL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28" name="Rectangle 586">
              <a:extLst>
                <a:ext uri="{FF2B5EF4-FFF2-40B4-BE49-F238E27FC236}">
                  <a16:creationId xmlns:a16="http://schemas.microsoft.com/office/drawing/2014/main" id="{0302ED96-F811-D660-FCB3-2B77C011F646}"/>
                </a:ext>
              </a:extLst>
            </p:cNvPr>
            <p:cNvSpPr>
              <a:spLocks noChangeArrowheads="1"/>
            </p:cNvSpPr>
            <p:nvPr/>
          </p:nvSpPr>
          <p:spPr bwMode="auto">
            <a:xfrm>
              <a:off x="2893070" y="3018900"/>
              <a:ext cx="315876"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TAHOUL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29" name="Rectangle 587">
              <a:extLst>
                <a:ext uri="{FF2B5EF4-FFF2-40B4-BE49-F238E27FC236}">
                  <a16:creationId xmlns:a16="http://schemas.microsoft.com/office/drawing/2014/main" id="{D560F299-CCE8-6556-13AB-DE40E0E47FB5}"/>
                </a:ext>
              </a:extLst>
            </p:cNvPr>
            <p:cNvSpPr>
              <a:spLocks noChangeArrowheads="1"/>
            </p:cNvSpPr>
            <p:nvPr/>
          </p:nvSpPr>
          <p:spPr bwMode="auto">
            <a:xfrm>
              <a:off x="3212860" y="3182246"/>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0" name="Rectangle 588">
              <a:extLst>
                <a:ext uri="{FF2B5EF4-FFF2-40B4-BE49-F238E27FC236}">
                  <a16:creationId xmlns:a16="http://schemas.microsoft.com/office/drawing/2014/main" id="{BB964CC5-D0A0-64A8-1400-DE0C60DA86E4}"/>
                </a:ext>
              </a:extLst>
            </p:cNvPr>
            <p:cNvSpPr>
              <a:spLocks noChangeArrowheads="1"/>
            </p:cNvSpPr>
            <p:nvPr/>
          </p:nvSpPr>
          <p:spPr bwMode="auto">
            <a:xfrm>
              <a:off x="3212860" y="3250114"/>
              <a:ext cx="4145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O</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1" name="Rectangle 589">
              <a:extLst>
                <a:ext uri="{FF2B5EF4-FFF2-40B4-BE49-F238E27FC236}">
                  <a16:creationId xmlns:a16="http://schemas.microsoft.com/office/drawing/2014/main" id="{80360609-E84D-A166-96BB-C28FDB79A54A}"/>
                </a:ext>
              </a:extLst>
            </p:cNvPr>
            <p:cNvSpPr>
              <a:spLocks noChangeArrowheads="1"/>
            </p:cNvSpPr>
            <p:nvPr/>
          </p:nvSpPr>
          <p:spPr bwMode="auto">
            <a:xfrm>
              <a:off x="3212860" y="3316835"/>
              <a:ext cx="4002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2" name="Rectangle 590">
              <a:extLst>
                <a:ext uri="{FF2B5EF4-FFF2-40B4-BE49-F238E27FC236}">
                  <a16:creationId xmlns:a16="http://schemas.microsoft.com/office/drawing/2014/main" id="{436A351A-A070-3B02-41A0-EB07C822F17A}"/>
                </a:ext>
              </a:extLst>
            </p:cNvPr>
            <p:cNvSpPr>
              <a:spLocks noChangeArrowheads="1"/>
            </p:cNvSpPr>
            <p:nvPr/>
          </p:nvSpPr>
          <p:spPr bwMode="auto">
            <a:xfrm>
              <a:off x="3212860" y="3384703"/>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3" name="Rectangle 591">
              <a:extLst>
                <a:ext uri="{FF2B5EF4-FFF2-40B4-BE49-F238E27FC236}">
                  <a16:creationId xmlns:a16="http://schemas.microsoft.com/office/drawing/2014/main" id="{1D3ECFC3-046C-7F01-7B24-0C24AE84760A}"/>
                </a:ext>
              </a:extLst>
            </p:cNvPr>
            <p:cNvSpPr>
              <a:spLocks noChangeArrowheads="1"/>
            </p:cNvSpPr>
            <p:nvPr/>
          </p:nvSpPr>
          <p:spPr bwMode="auto">
            <a:xfrm>
              <a:off x="3212860" y="3451423"/>
              <a:ext cx="4145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O</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4" name="Rectangle 592">
              <a:extLst>
                <a:ext uri="{FF2B5EF4-FFF2-40B4-BE49-F238E27FC236}">
                  <a16:creationId xmlns:a16="http://schemas.microsoft.com/office/drawing/2014/main" id="{697E7CC7-2D78-6FF5-25D2-7C9B023A70EB}"/>
                </a:ext>
              </a:extLst>
            </p:cNvPr>
            <p:cNvSpPr>
              <a:spLocks noChangeArrowheads="1"/>
            </p:cNvSpPr>
            <p:nvPr/>
          </p:nvSpPr>
          <p:spPr bwMode="auto">
            <a:xfrm>
              <a:off x="3212860" y="3518140"/>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R</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5" name="Rectangle 593">
              <a:extLst>
                <a:ext uri="{FF2B5EF4-FFF2-40B4-BE49-F238E27FC236}">
                  <a16:creationId xmlns:a16="http://schemas.microsoft.com/office/drawing/2014/main" id="{C9F023F7-21FC-4BBD-A6FA-31D7A765BAF9}"/>
                </a:ext>
              </a:extLst>
            </p:cNvPr>
            <p:cNvSpPr>
              <a:spLocks noChangeArrowheads="1"/>
            </p:cNvSpPr>
            <p:nvPr/>
          </p:nvSpPr>
          <p:spPr bwMode="auto">
            <a:xfrm>
              <a:off x="3212860" y="3586011"/>
              <a:ext cx="3859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D</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6" name="Rectangle 594">
              <a:extLst>
                <a:ext uri="{FF2B5EF4-FFF2-40B4-BE49-F238E27FC236}">
                  <a16:creationId xmlns:a16="http://schemas.microsoft.com/office/drawing/2014/main" id="{CD4067E2-5B26-297E-E7DA-DA5260DD6B9F}"/>
                </a:ext>
              </a:extLst>
            </p:cNvPr>
            <p:cNvSpPr>
              <a:spLocks noChangeArrowheads="1"/>
            </p:cNvSpPr>
            <p:nvPr/>
          </p:nvSpPr>
          <p:spPr bwMode="auto">
            <a:xfrm>
              <a:off x="3228963" y="3652729"/>
              <a:ext cx="1572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I</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7" name="Rectangle 595">
              <a:extLst>
                <a:ext uri="{FF2B5EF4-FFF2-40B4-BE49-F238E27FC236}">
                  <a16:creationId xmlns:a16="http://schemas.microsoft.com/office/drawing/2014/main" id="{0F564133-B523-5708-6F62-3C85ECCC01F7}"/>
                </a:ext>
              </a:extLst>
            </p:cNvPr>
            <p:cNvSpPr>
              <a:spLocks noChangeArrowheads="1"/>
            </p:cNvSpPr>
            <p:nvPr/>
          </p:nvSpPr>
          <p:spPr bwMode="auto">
            <a:xfrm>
              <a:off x="3212860" y="3721747"/>
              <a:ext cx="357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8" name="Rectangle 596">
              <a:extLst>
                <a:ext uri="{FF2B5EF4-FFF2-40B4-BE49-F238E27FC236}">
                  <a16:creationId xmlns:a16="http://schemas.microsoft.com/office/drawing/2014/main" id="{765225C5-C51F-A6DA-F40C-FF590B155905}"/>
                </a:ext>
              </a:extLst>
            </p:cNvPr>
            <p:cNvSpPr>
              <a:spLocks noChangeArrowheads="1"/>
            </p:cNvSpPr>
            <p:nvPr/>
          </p:nvSpPr>
          <p:spPr bwMode="auto">
            <a:xfrm>
              <a:off x="1458617" y="3856335"/>
              <a:ext cx="220112" cy="74095"/>
            </a:xfrm>
            <a:prstGeom prst="rect">
              <a:avLst/>
            </a:prstGeom>
            <a:no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VERN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39" name="Rectangle 597">
              <a:extLst>
                <a:ext uri="{FF2B5EF4-FFF2-40B4-BE49-F238E27FC236}">
                  <a16:creationId xmlns:a16="http://schemas.microsoft.com/office/drawing/2014/main" id="{9100ABE3-C99C-EDBF-D8DB-696688CC930F}"/>
                </a:ext>
              </a:extLst>
            </p:cNvPr>
            <p:cNvSpPr>
              <a:spLocks noChangeArrowheads="1"/>
            </p:cNvSpPr>
            <p:nvPr/>
          </p:nvSpPr>
          <p:spPr bwMode="auto">
            <a:xfrm>
              <a:off x="2160314" y="3806873"/>
              <a:ext cx="21296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RAPIDE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40" name="Rectangle 598">
              <a:extLst>
                <a:ext uri="{FF2B5EF4-FFF2-40B4-BE49-F238E27FC236}">
                  <a16:creationId xmlns:a16="http://schemas.microsoft.com/office/drawing/2014/main" id="{78B1F63A-254D-360B-8FE0-30419EADD9CB}"/>
                </a:ext>
              </a:extLst>
            </p:cNvPr>
            <p:cNvSpPr>
              <a:spLocks noChangeArrowheads="1"/>
            </p:cNvSpPr>
            <p:nvPr/>
          </p:nvSpPr>
          <p:spPr bwMode="auto">
            <a:xfrm>
              <a:off x="2732024" y="3887396"/>
              <a:ext cx="28300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AVOYELLE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41" name="Rectangle 604">
              <a:extLst>
                <a:ext uri="{FF2B5EF4-FFF2-40B4-BE49-F238E27FC236}">
                  <a16:creationId xmlns:a16="http://schemas.microsoft.com/office/drawing/2014/main" id="{B40D25FF-1307-6C0C-A925-287374F33054}"/>
                </a:ext>
              </a:extLst>
            </p:cNvPr>
            <p:cNvSpPr>
              <a:spLocks noChangeArrowheads="1"/>
            </p:cNvSpPr>
            <p:nvPr/>
          </p:nvSpPr>
          <p:spPr bwMode="auto">
            <a:xfrm>
              <a:off x="3240468" y="4361328"/>
              <a:ext cx="188667"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POINT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42" name="Rectangle 605">
              <a:extLst>
                <a:ext uri="{FF2B5EF4-FFF2-40B4-BE49-F238E27FC236}">
                  <a16:creationId xmlns:a16="http://schemas.microsoft.com/office/drawing/2014/main" id="{348989D8-8651-474E-78A5-EDE779B96B1F}"/>
                </a:ext>
              </a:extLst>
            </p:cNvPr>
            <p:cNvSpPr>
              <a:spLocks noChangeArrowheads="1"/>
            </p:cNvSpPr>
            <p:nvPr/>
          </p:nvSpPr>
          <p:spPr bwMode="auto">
            <a:xfrm>
              <a:off x="3234009" y="4435655"/>
              <a:ext cx="205819"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COUPE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43" name="Rectangle 607">
              <a:extLst>
                <a:ext uri="{FF2B5EF4-FFF2-40B4-BE49-F238E27FC236}">
                  <a16:creationId xmlns:a16="http://schemas.microsoft.com/office/drawing/2014/main" id="{C103FB8F-F11B-CEBA-1720-5E5776C4D777}"/>
                </a:ext>
              </a:extLst>
            </p:cNvPr>
            <p:cNvSpPr>
              <a:spLocks noChangeArrowheads="1"/>
            </p:cNvSpPr>
            <p:nvPr/>
          </p:nvSpPr>
          <p:spPr bwMode="auto">
            <a:xfrm>
              <a:off x="3403137" y="4119889"/>
              <a:ext cx="2601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FELICIANA</a:t>
              </a: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4" name="Rectangle 610">
              <a:extLst>
                <a:ext uri="{FF2B5EF4-FFF2-40B4-BE49-F238E27FC236}">
                  <a16:creationId xmlns:a16="http://schemas.microsoft.com/office/drawing/2014/main" id="{5DDF5D04-E467-A0DD-C49B-518133E3EF03}"/>
                </a:ext>
              </a:extLst>
            </p:cNvPr>
            <p:cNvSpPr>
              <a:spLocks noChangeArrowheads="1"/>
            </p:cNvSpPr>
            <p:nvPr/>
          </p:nvSpPr>
          <p:spPr bwMode="auto">
            <a:xfrm>
              <a:off x="4268077" y="4035826"/>
              <a:ext cx="5860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ST</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45" name="Rectangle 611">
              <a:extLst>
                <a:ext uri="{FF2B5EF4-FFF2-40B4-BE49-F238E27FC236}">
                  <a16:creationId xmlns:a16="http://schemas.microsoft.com/office/drawing/2014/main" id="{AC8B8CDA-BF85-0BEF-F760-B06DFB15E1B7}"/>
                </a:ext>
              </a:extLst>
            </p:cNvPr>
            <p:cNvSpPr>
              <a:spLocks noChangeArrowheads="1"/>
            </p:cNvSpPr>
            <p:nvPr/>
          </p:nvSpPr>
          <p:spPr bwMode="auto">
            <a:xfrm>
              <a:off x="4191665" y="4129324"/>
              <a:ext cx="20010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HELENA</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46" name="Rectangle 615">
              <a:extLst>
                <a:ext uri="{FF2B5EF4-FFF2-40B4-BE49-F238E27FC236}">
                  <a16:creationId xmlns:a16="http://schemas.microsoft.com/office/drawing/2014/main" id="{66E0B3A8-10FB-32C6-E46F-E9E932A2541F}"/>
                </a:ext>
              </a:extLst>
            </p:cNvPr>
            <p:cNvSpPr>
              <a:spLocks noChangeArrowheads="1"/>
            </p:cNvSpPr>
            <p:nvPr/>
          </p:nvSpPr>
          <p:spPr bwMode="auto">
            <a:xfrm>
              <a:off x="4605830" y="4264700"/>
              <a:ext cx="1572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I</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47" name="Rectangle 617">
              <a:extLst>
                <a:ext uri="{FF2B5EF4-FFF2-40B4-BE49-F238E27FC236}">
                  <a16:creationId xmlns:a16="http://schemas.microsoft.com/office/drawing/2014/main" id="{D3730487-D4B8-9F27-805C-97F914B213E5}"/>
                </a:ext>
              </a:extLst>
            </p:cNvPr>
            <p:cNvSpPr>
              <a:spLocks noChangeArrowheads="1"/>
            </p:cNvSpPr>
            <p:nvPr/>
          </p:nvSpPr>
          <p:spPr bwMode="auto">
            <a:xfrm>
              <a:off x="4593248" y="4399288"/>
              <a:ext cx="357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A</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48" name="Rectangle 618">
              <a:extLst>
                <a:ext uri="{FF2B5EF4-FFF2-40B4-BE49-F238E27FC236}">
                  <a16:creationId xmlns:a16="http://schemas.microsoft.com/office/drawing/2014/main" id="{F4E827EB-2D7A-D2FC-1D7F-33A8B3D86628}"/>
                </a:ext>
              </a:extLst>
            </p:cNvPr>
            <p:cNvSpPr>
              <a:spLocks noChangeArrowheads="1"/>
            </p:cNvSpPr>
            <p:nvPr/>
          </p:nvSpPr>
          <p:spPr bwMode="auto">
            <a:xfrm>
              <a:off x="4593248" y="4467158"/>
              <a:ext cx="3859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H</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49" name="Rectangle 636">
              <a:extLst>
                <a:ext uri="{FF2B5EF4-FFF2-40B4-BE49-F238E27FC236}">
                  <a16:creationId xmlns:a16="http://schemas.microsoft.com/office/drawing/2014/main" id="{BE71D74E-8FD6-E39A-A92B-16FBDA773C9C}"/>
                </a:ext>
              </a:extLst>
            </p:cNvPr>
            <p:cNvSpPr>
              <a:spLocks noChangeArrowheads="1"/>
            </p:cNvSpPr>
            <p:nvPr/>
          </p:nvSpPr>
          <p:spPr bwMode="auto">
            <a:xfrm>
              <a:off x="3817694" y="4480324"/>
              <a:ext cx="105768"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EAST</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50" name="Rectangle 637">
              <a:extLst>
                <a:ext uri="{FF2B5EF4-FFF2-40B4-BE49-F238E27FC236}">
                  <a16:creationId xmlns:a16="http://schemas.microsoft.com/office/drawing/2014/main" id="{16250850-CE52-9029-DD77-D9F4D6ACCE32}"/>
                </a:ext>
              </a:extLst>
            </p:cNvPr>
            <p:cNvSpPr>
              <a:spLocks noChangeArrowheads="1"/>
            </p:cNvSpPr>
            <p:nvPr/>
          </p:nvSpPr>
          <p:spPr bwMode="auto">
            <a:xfrm>
              <a:off x="3808531" y="4543397"/>
              <a:ext cx="151506"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BAT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51" name="Rectangle 638">
              <a:extLst>
                <a:ext uri="{FF2B5EF4-FFF2-40B4-BE49-F238E27FC236}">
                  <a16:creationId xmlns:a16="http://schemas.microsoft.com/office/drawing/2014/main" id="{97CCE161-1BFA-43E3-F5DC-A30B7A865055}"/>
                </a:ext>
              </a:extLst>
            </p:cNvPr>
            <p:cNvSpPr>
              <a:spLocks noChangeArrowheads="1"/>
            </p:cNvSpPr>
            <p:nvPr/>
          </p:nvSpPr>
          <p:spPr bwMode="auto">
            <a:xfrm>
              <a:off x="3813654" y="4607618"/>
              <a:ext cx="154364"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ROUG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52" name="Rectangle 640">
              <a:extLst>
                <a:ext uri="{FF2B5EF4-FFF2-40B4-BE49-F238E27FC236}">
                  <a16:creationId xmlns:a16="http://schemas.microsoft.com/office/drawing/2014/main" id="{ECCC79D1-FF37-C4AA-D3DB-74C3D2072071}"/>
                </a:ext>
              </a:extLst>
            </p:cNvPr>
            <p:cNvSpPr>
              <a:spLocks noChangeArrowheads="1"/>
            </p:cNvSpPr>
            <p:nvPr/>
          </p:nvSpPr>
          <p:spPr bwMode="auto">
            <a:xfrm>
              <a:off x="5073998" y="4498420"/>
              <a:ext cx="69721" cy="7998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a:ea typeface="+mn-ea"/>
                  <a:cs typeface="+mn-cs"/>
                </a:rPr>
                <a:t>ST</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353" name="Rectangle 641">
              <a:extLst>
                <a:ext uri="{FF2B5EF4-FFF2-40B4-BE49-F238E27FC236}">
                  <a16:creationId xmlns:a16="http://schemas.microsoft.com/office/drawing/2014/main" id="{36CF6B44-13B1-18BE-7F23-760DEA6C8C57}"/>
                </a:ext>
              </a:extLst>
            </p:cNvPr>
            <p:cNvSpPr>
              <a:spLocks noChangeArrowheads="1"/>
            </p:cNvSpPr>
            <p:nvPr/>
          </p:nvSpPr>
          <p:spPr bwMode="auto">
            <a:xfrm>
              <a:off x="4970554" y="4587986"/>
              <a:ext cx="329897" cy="7998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a:ea typeface="+mn-ea"/>
                  <a:cs typeface="+mn-cs"/>
                </a:rPr>
                <a:t>TAMMANY</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354" name="Rectangle 642">
              <a:extLst>
                <a:ext uri="{FF2B5EF4-FFF2-40B4-BE49-F238E27FC236}">
                  <a16:creationId xmlns:a16="http://schemas.microsoft.com/office/drawing/2014/main" id="{1C4CC7DB-2A6B-06D9-6FF7-1E9320301EE0}"/>
                </a:ext>
              </a:extLst>
            </p:cNvPr>
            <p:cNvSpPr>
              <a:spLocks noChangeArrowheads="1"/>
            </p:cNvSpPr>
            <p:nvPr/>
          </p:nvSpPr>
          <p:spPr bwMode="auto">
            <a:xfrm>
              <a:off x="3546259" y="4910229"/>
              <a:ext cx="244411"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IBERVILL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55" name="Rectangle 643">
              <a:extLst>
                <a:ext uri="{FF2B5EF4-FFF2-40B4-BE49-F238E27FC236}">
                  <a16:creationId xmlns:a16="http://schemas.microsoft.com/office/drawing/2014/main" id="{BAD5D7EC-929B-3015-9B6C-26A946C0B89D}"/>
                </a:ext>
              </a:extLst>
            </p:cNvPr>
            <p:cNvSpPr>
              <a:spLocks noChangeArrowheads="1"/>
            </p:cNvSpPr>
            <p:nvPr/>
          </p:nvSpPr>
          <p:spPr bwMode="auto">
            <a:xfrm>
              <a:off x="3562558" y="4540779"/>
              <a:ext cx="121491"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WEST</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56" name="Rectangle 644">
              <a:extLst>
                <a:ext uri="{FF2B5EF4-FFF2-40B4-BE49-F238E27FC236}">
                  <a16:creationId xmlns:a16="http://schemas.microsoft.com/office/drawing/2014/main" id="{39002638-9BFB-5D08-0AA5-2C3CEBEA81C6}"/>
                </a:ext>
              </a:extLst>
            </p:cNvPr>
            <p:cNvSpPr>
              <a:spLocks noChangeArrowheads="1"/>
            </p:cNvSpPr>
            <p:nvPr/>
          </p:nvSpPr>
          <p:spPr bwMode="auto">
            <a:xfrm>
              <a:off x="3558872" y="4604166"/>
              <a:ext cx="151506"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BAT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57" name="Rectangle 645">
              <a:extLst>
                <a:ext uri="{FF2B5EF4-FFF2-40B4-BE49-F238E27FC236}">
                  <a16:creationId xmlns:a16="http://schemas.microsoft.com/office/drawing/2014/main" id="{1EC8DF5D-9290-50AA-D5A4-4D3531C807B9}"/>
                </a:ext>
              </a:extLst>
            </p:cNvPr>
            <p:cNvSpPr>
              <a:spLocks noChangeArrowheads="1"/>
            </p:cNvSpPr>
            <p:nvPr/>
          </p:nvSpPr>
          <p:spPr bwMode="auto">
            <a:xfrm>
              <a:off x="3570798" y="4666304"/>
              <a:ext cx="154364"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ROUG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58" name="Rectangle 646">
              <a:extLst>
                <a:ext uri="{FF2B5EF4-FFF2-40B4-BE49-F238E27FC236}">
                  <a16:creationId xmlns:a16="http://schemas.microsoft.com/office/drawing/2014/main" id="{3229B69B-623C-362A-BED5-79F7FFBF867C}"/>
                </a:ext>
              </a:extLst>
            </p:cNvPr>
            <p:cNvSpPr>
              <a:spLocks noChangeArrowheads="1"/>
            </p:cNvSpPr>
            <p:nvPr/>
          </p:nvSpPr>
          <p:spPr bwMode="auto">
            <a:xfrm>
              <a:off x="3951518" y="4907097"/>
              <a:ext cx="348603" cy="7998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a:ea typeface="+mn-ea"/>
                  <a:cs typeface="+mn-cs"/>
                </a:rPr>
                <a:t>ASCENSION</a:t>
              </a:r>
              <a:endParaRPr kumimoji="0" lang="en-US" sz="1800" b="0" i="0" u="none" strike="noStrike" kern="1200" cap="none" spc="0" normalizeH="0" baseline="0" noProof="0">
                <a:ln>
                  <a:noFill/>
                </a:ln>
                <a:solidFill>
                  <a:schemeClr val="bg1"/>
                </a:solidFill>
                <a:effectLst/>
                <a:uLnTx/>
                <a:uFillTx/>
                <a:latin typeface="Calibri"/>
                <a:ea typeface="+mn-ea"/>
                <a:cs typeface="+mn-cs"/>
              </a:endParaRPr>
            </a:p>
          </p:txBody>
        </p:sp>
        <p:sp>
          <p:nvSpPr>
            <p:cNvPr id="359" name="Rectangle 688">
              <a:extLst>
                <a:ext uri="{FF2B5EF4-FFF2-40B4-BE49-F238E27FC236}">
                  <a16:creationId xmlns:a16="http://schemas.microsoft.com/office/drawing/2014/main" id="{F5CBEFD1-9E14-3517-2CEE-1B0B0C78DC7B}"/>
                </a:ext>
              </a:extLst>
            </p:cNvPr>
            <p:cNvSpPr>
              <a:spLocks noChangeArrowheads="1"/>
            </p:cNvSpPr>
            <p:nvPr/>
          </p:nvSpPr>
          <p:spPr bwMode="auto">
            <a:xfrm>
              <a:off x="4597850" y="4003578"/>
              <a:ext cx="3001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T</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grpSp>
          <p:nvGrpSpPr>
            <p:cNvPr id="360" name="Group 359">
              <a:extLst>
                <a:ext uri="{FF2B5EF4-FFF2-40B4-BE49-F238E27FC236}">
                  <a16:creationId xmlns:a16="http://schemas.microsoft.com/office/drawing/2014/main" id="{5CD16FAC-534D-0526-7859-43EC064860F3}"/>
                </a:ext>
              </a:extLst>
            </p:cNvPr>
            <p:cNvGrpSpPr/>
            <p:nvPr/>
          </p:nvGrpSpPr>
          <p:grpSpPr>
            <a:xfrm>
              <a:off x="766250" y="4132274"/>
              <a:ext cx="1519579" cy="1559841"/>
              <a:chOff x="2070316" y="4033527"/>
              <a:chExt cx="1893615" cy="1943787"/>
            </a:xfrm>
            <a:solidFill>
              <a:schemeClr val="bg1">
                <a:lumMod val="85000"/>
              </a:schemeClr>
            </a:solidFill>
          </p:grpSpPr>
          <p:grpSp>
            <p:nvGrpSpPr>
              <p:cNvPr id="425" name="Group 90">
                <a:extLst>
                  <a:ext uri="{FF2B5EF4-FFF2-40B4-BE49-F238E27FC236}">
                    <a16:creationId xmlns:a16="http://schemas.microsoft.com/office/drawing/2014/main" id="{D1AE92F9-4439-3F15-C92C-05F4D5D3A81F}"/>
                  </a:ext>
                </a:extLst>
              </p:cNvPr>
              <p:cNvGrpSpPr>
                <a:grpSpLocks/>
              </p:cNvGrpSpPr>
              <p:nvPr/>
            </p:nvGrpSpPr>
            <p:grpSpPr bwMode="auto">
              <a:xfrm>
                <a:off x="2400015" y="4033527"/>
                <a:ext cx="1029231" cy="738237"/>
                <a:chOff x="495" y="2367"/>
                <a:chExt cx="718" cy="515"/>
              </a:xfrm>
              <a:grpFill/>
            </p:grpSpPr>
            <p:sp>
              <p:nvSpPr>
                <p:cNvPr id="450" name="Freeform 91">
                  <a:extLst>
                    <a:ext uri="{FF2B5EF4-FFF2-40B4-BE49-F238E27FC236}">
                      <a16:creationId xmlns:a16="http://schemas.microsoft.com/office/drawing/2014/main" id="{5123FAB8-9182-7451-0BB0-06FAFD361938}"/>
                    </a:ext>
                  </a:extLst>
                </p:cNvPr>
                <p:cNvSpPr>
                  <a:spLocks/>
                </p:cNvSpPr>
                <p:nvPr/>
              </p:nvSpPr>
              <p:spPr bwMode="auto">
                <a:xfrm>
                  <a:off x="495" y="2367"/>
                  <a:ext cx="718" cy="515"/>
                </a:xfrm>
                <a:custGeom>
                  <a:avLst/>
                  <a:gdLst/>
                  <a:ahLst/>
                  <a:cxnLst>
                    <a:cxn ang="0">
                      <a:pos x="115" y="27"/>
                    </a:cxn>
                    <a:cxn ang="0">
                      <a:pos x="173" y="82"/>
                    </a:cxn>
                    <a:cxn ang="0">
                      <a:pos x="0" y="325"/>
                    </a:cxn>
                    <a:cxn ang="0">
                      <a:pos x="0" y="515"/>
                    </a:cxn>
                    <a:cxn ang="0">
                      <a:pos x="230" y="515"/>
                    </a:cxn>
                    <a:cxn ang="0">
                      <a:pos x="230" y="407"/>
                    </a:cxn>
                    <a:cxn ang="0">
                      <a:pos x="316" y="407"/>
                    </a:cxn>
                    <a:cxn ang="0">
                      <a:pos x="316" y="515"/>
                    </a:cxn>
                    <a:cxn ang="0">
                      <a:pos x="574" y="515"/>
                    </a:cxn>
                    <a:cxn ang="0">
                      <a:pos x="574" y="325"/>
                    </a:cxn>
                    <a:cxn ang="0">
                      <a:pos x="718" y="325"/>
                    </a:cxn>
                    <a:cxn ang="0">
                      <a:pos x="718" y="0"/>
                    </a:cxn>
                    <a:cxn ang="0">
                      <a:pos x="230" y="0"/>
                    </a:cxn>
                    <a:cxn ang="0">
                      <a:pos x="115" y="27"/>
                    </a:cxn>
                  </a:cxnLst>
                  <a:rect l="0" t="0" r="r" b="b"/>
                  <a:pathLst>
                    <a:path w="718" h="515">
                      <a:moveTo>
                        <a:pt x="115" y="27"/>
                      </a:moveTo>
                      <a:lnTo>
                        <a:pt x="173" y="82"/>
                      </a:lnTo>
                      <a:lnTo>
                        <a:pt x="0" y="325"/>
                      </a:lnTo>
                      <a:lnTo>
                        <a:pt x="0" y="515"/>
                      </a:lnTo>
                      <a:lnTo>
                        <a:pt x="230" y="515"/>
                      </a:lnTo>
                      <a:lnTo>
                        <a:pt x="230" y="407"/>
                      </a:lnTo>
                      <a:lnTo>
                        <a:pt x="316" y="407"/>
                      </a:lnTo>
                      <a:lnTo>
                        <a:pt x="316" y="515"/>
                      </a:lnTo>
                      <a:lnTo>
                        <a:pt x="574" y="515"/>
                      </a:lnTo>
                      <a:lnTo>
                        <a:pt x="574" y="325"/>
                      </a:lnTo>
                      <a:lnTo>
                        <a:pt x="718" y="325"/>
                      </a:lnTo>
                      <a:lnTo>
                        <a:pt x="718" y="0"/>
                      </a:lnTo>
                      <a:lnTo>
                        <a:pt x="230" y="0"/>
                      </a:lnTo>
                      <a:lnTo>
                        <a:pt x="115" y="27"/>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51" name="Freeform 92">
                  <a:extLst>
                    <a:ext uri="{FF2B5EF4-FFF2-40B4-BE49-F238E27FC236}">
                      <a16:creationId xmlns:a16="http://schemas.microsoft.com/office/drawing/2014/main" id="{52289573-FD66-3431-9E8D-AA283CCA817E}"/>
                    </a:ext>
                  </a:extLst>
                </p:cNvPr>
                <p:cNvSpPr>
                  <a:spLocks/>
                </p:cNvSpPr>
                <p:nvPr/>
              </p:nvSpPr>
              <p:spPr bwMode="auto">
                <a:xfrm>
                  <a:off x="495" y="2367"/>
                  <a:ext cx="718" cy="515"/>
                </a:xfrm>
                <a:custGeom>
                  <a:avLst/>
                  <a:gdLst/>
                  <a:ahLst/>
                  <a:cxnLst>
                    <a:cxn ang="0">
                      <a:pos x="115" y="27"/>
                    </a:cxn>
                    <a:cxn ang="0">
                      <a:pos x="173" y="82"/>
                    </a:cxn>
                    <a:cxn ang="0">
                      <a:pos x="0" y="325"/>
                    </a:cxn>
                    <a:cxn ang="0">
                      <a:pos x="0" y="515"/>
                    </a:cxn>
                    <a:cxn ang="0">
                      <a:pos x="230" y="515"/>
                    </a:cxn>
                    <a:cxn ang="0">
                      <a:pos x="230" y="407"/>
                    </a:cxn>
                    <a:cxn ang="0">
                      <a:pos x="316" y="407"/>
                    </a:cxn>
                    <a:cxn ang="0">
                      <a:pos x="316" y="515"/>
                    </a:cxn>
                    <a:cxn ang="0">
                      <a:pos x="574" y="515"/>
                    </a:cxn>
                    <a:cxn ang="0">
                      <a:pos x="574" y="325"/>
                    </a:cxn>
                    <a:cxn ang="0">
                      <a:pos x="718" y="325"/>
                    </a:cxn>
                    <a:cxn ang="0">
                      <a:pos x="718" y="0"/>
                    </a:cxn>
                    <a:cxn ang="0">
                      <a:pos x="230" y="0"/>
                    </a:cxn>
                    <a:cxn ang="0">
                      <a:pos x="115" y="27"/>
                    </a:cxn>
                  </a:cxnLst>
                  <a:rect l="0" t="0" r="r" b="b"/>
                  <a:pathLst>
                    <a:path w="718" h="515">
                      <a:moveTo>
                        <a:pt x="115" y="27"/>
                      </a:moveTo>
                      <a:lnTo>
                        <a:pt x="173" y="82"/>
                      </a:lnTo>
                      <a:lnTo>
                        <a:pt x="0" y="325"/>
                      </a:lnTo>
                      <a:lnTo>
                        <a:pt x="0" y="515"/>
                      </a:lnTo>
                      <a:lnTo>
                        <a:pt x="230" y="515"/>
                      </a:lnTo>
                      <a:lnTo>
                        <a:pt x="230" y="407"/>
                      </a:lnTo>
                      <a:lnTo>
                        <a:pt x="316" y="407"/>
                      </a:lnTo>
                      <a:lnTo>
                        <a:pt x="316" y="515"/>
                      </a:lnTo>
                      <a:lnTo>
                        <a:pt x="574" y="515"/>
                      </a:lnTo>
                      <a:lnTo>
                        <a:pt x="574" y="325"/>
                      </a:lnTo>
                      <a:lnTo>
                        <a:pt x="718" y="325"/>
                      </a:lnTo>
                      <a:lnTo>
                        <a:pt x="718" y="0"/>
                      </a:lnTo>
                      <a:lnTo>
                        <a:pt x="230" y="0"/>
                      </a:lnTo>
                      <a:lnTo>
                        <a:pt x="115" y="27"/>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26" name="Group 93">
                <a:extLst>
                  <a:ext uri="{FF2B5EF4-FFF2-40B4-BE49-F238E27FC236}">
                    <a16:creationId xmlns:a16="http://schemas.microsoft.com/office/drawing/2014/main" id="{47A8AA15-322D-57AE-B9B3-CD63CC135C94}"/>
                  </a:ext>
                </a:extLst>
              </p:cNvPr>
              <p:cNvGrpSpPr>
                <a:grpSpLocks/>
              </p:cNvGrpSpPr>
              <p:nvPr/>
            </p:nvGrpSpPr>
            <p:grpSpPr bwMode="auto">
              <a:xfrm>
                <a:off x="3221393" y="4033527"/>
                <a:ext cx="699534" cy="699534"/>
                <a:chOff x="1068" y="2367"/>
                <a:chExt cx="488" cy="488"/>
              </a:xfrm>
              <a:grpFill/>
            </p:grpSpPr>
            <p:sp>
              <p:nvSpPr>
                <p:cNvPr id="448" name="Freeform 94">
                  <a:extLst>
                    <a:ext uri="{FF2B5EF4-FFF2-40B4-BE49-F238E27FC236}">
                      <a16:creationId xmlns:a16="http://schemas.microsoft.com/office/drawing/2014/main" id="{B0B10FFC-8110-3B3D-C8B5-D9089E2CE079}"/>
                    </a:ext>
                  </a:extLst>
                </p:cNvPr>
                <p:cNvSpPr>
                  <a:spLocks/>
                </p:cNvSpPr>
                <p:nvPr/>
              </p:nvSpPr>
              <p:spPr bwMode="auto">
                <a:xfrm>
                  <a:off x="1068" y="2367"/>
                  <a:ext cx="488" cy="488"/>
                </a:xfrm>
                <a:custGeom>
                  <a:avLst/>
                  <a:gdLst/>
                  <a:ahLst/>
                  <a:cxnLst>
                    <a:cxn ang="0">
                      <a:pos x="144" y="0"/>
                    </a:cxn>
                    <a:cxn ang="0">
                      <a:pos x="144" y="325"/>
                    </a:cxn>
                    <a:cxn ang="0">
                      <a:pos x="0" y="325"/>
                    </a:cxn>
                    <a:cxn ang="0">
                      <a:pos x="0" y="488"/>
                    </a:cxn>
                    <a:cxn ang="0">
                      <a:pos x="344" y="488"/>
                    </a:cxn>
                    <a:cxn ang="0">
                      <a:pos x="344" y="434"/>
                    </a:cxn>
                    <a:cxn ang="0">
                      <a:pos x="459" y="434"/>
                    </a:cxn>
                    <a:cxn ang="0">
                      <a:pos x="488" y="352"/>
                    </a:cxn>
                    <a:cxn ang="0">
                      <a:pos x="488" y="0"/>
                    </a:cxn>
                    <a:cxn ang="0">
                      <a:pos x="144" y="0"/>
                    </a:cxn>
                  </a:cxnLst>
                  <a:rect l="0" t="0" r="r" b="b"/>
                  <a:pathLst>
                    <a:path w="488" h="488">
                      <a:moveTo>
                        <a:pt x="144" y="0"/>
                      </a:moveTo>
                      <a:lnTo>
                        <a:pt x="144" y="325"/>
                      </a:lnTo>
                      <a:lnTo>
                        <a:pt x="0" y="325"/>
                      </a:lnTo>
                      <a:lnTo>
                        <a:pt x="0" y="488"/>
                      </a:lnTo>
                      <a:lnTo>
                        <a:pt x="344" y="488"/>
                      </a:lnTo>
                      <a:lnTo>
                        <a:pt x="344" y="434"/>
                      </a:lnTo>
                      <a:lnTo>
                        <a:pt x="459" y="434"/>
                      </a:lnTo>
                      <a:lnTo>
                        <a:pt x="488" y="352"/>
                      </a:lnTo>
                      <a:lnTo>
                        <a:pt x="488" y="0"/>
                      </a:lnTo>
                      <a:lnTo>
                        <a:pt x="144" y="0"/>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49" name="Freeform 95">
                  <a:extLst>
                    <a:ext uri="{FF2B5EF4-FFF2-40B4-BE49-F238E27FC236}">
                      <a16:creationId xmlns:a16="http://schemas.microsoft.com/office/drawing/2014/main" id="{8D570D13-7D61-3C2C-6008-889B1AE309BE}"/>
                    </a:ext>
                  </a:extLst>
                </p:cNvPr>
                <p:cNvSpPr>
                  <a:spLocks/>
                </p:cNvSpPr>
                <p:nvPr/>
              </p:nvSpPr>
              <p:spPr bwMode="auto">
                <a:xfrm>
                  <a:off x="1068" y="2367"/>
                  <a:ext cx="488" cy="488"/>
                </a:xfrm>
                <a:custGeom>
                  <a:avLst/>
                  <a:gdLst/>
                  <a:ahLst/>
                  <a:cxnLst>
                    <a:cxn ang="0">
                      <a:pos x="144" y="0"/>
                    </a:cxn>
                    <a:cxn ang="0">
                      <a:pos x="144" y="325"/>
                    </a:cxn>
                    <a:cxn ang="0">
                      <a:pos x="0" y="325"/>
                    </a:cxn>
                    <a:cxn ang="0">
                      <a:pos x="0" y="488"/>
                    </a:cxn>
                    <a:cxn ang="0">
                      <a:pos x="344" y="488"/>
                    </a:cxn>
                    <a:cxn ang="0">
                      <a:pos x="344" y="434"/>
                    </a:cxn>
                    <a:cxn ang="0">
                      <a:pos x="459" y="434"/>
                    </a:cxn>
                    <a:cxn ang="0">
                      <a:pos x="488" y="352"/>
                    </a:cxn>
                    <a:cxn ang="0">
                      <a:pos x="488" y="0"/>
                    </a:cxn>
                    <a:cxn ang="0">
                      <a:pos x="144" y="0"/>
                    </a:cxn>
                  </a:cxnLst>
                  <a:rect l="0" t="0" r="r" b="b"/>
                  <a:pathLst>
                    <a:path w="488" h="488">
                      <a:moveTo>
                        <a:pt x="144" y="0"/>
                      </a:moveTo>
                      <a:lnTo>
                        <a:pt x="144" y="325"/>
                      </a:lnTo>
                      <a:lnTo>
                        <a:pt x="0" y="325"/>
                      </a:lnTo>
                      <a:lnTo>
                        <a:pt x="0" y="488"/>
                      </a:lnTo>
                      <a:lnTo>
                        <a:pt x="344" y="488"/>
                      </a:lnTo>
                      <a:lnTo>
                        <a:pt x="344" y="434"/>
                      </a:lnTo>
                      <a:lnTo>
                        <a:pt x="459" y="434"/>
                      </a:lnTo>
                      <a:lnTo>
                        <a:pt x="488" y="352"/>
                      </a:lnTo>
                      <a:lnTo>
                        <a:pt x="488" y="0"/>
                      </a:lnTo>
                      <a:lnTo>
                        <a:pt x="144"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427" name="Group 120">
                <a:extLst>
                  <a:ext uri="{FF2B5EF4-FFF2-40B4-BE49-F238E27FC236}">
                    <a16:creationId xmlns:a16="http://schemas.microsoft.com/office/drawing/2014/main" id="{2694FB5A-86C2-021E-BBA5-B6508FF7A44E}"/>
                  </a:ext>
                </a:extLst>
              </p:cNvPr>
              <p:cNvGrpSpPr>
                <a:grpSpLocks/>
              </p:cNvGrpSpPr>
              <p:nvPr/>
            </p:nvGrpSpPr>
            <p:grpSpPr bwMode="auto">
              <a:xfrm>
                <a:off x="2359878" y="4616949"/>
                <a:ext cx="1149643" cy="700968"/>
                <a:chOff x="467" y="2774"/>
                <a:chExt cx="802" cy="489"/>
              </a:xfrm>
              <a:grpFill/>
            </p:grpSpPr>
            <p:sp>
              <p:nvSpPr>
                <p:cNvPr id="446" name="Freeform 121">
                  <a:extLst>
                    <a:ext uri="{FF2B5EF4-FFF2-40B4-BE49-F238E27FC236}">
                      <a16:creationId xmlns:a16="http://schemas.microsoft.com/office/drawing/2014/main" id="{8F3B751D-8635-A7F1-4139-A76ABD5E143A}"/>
                    </a:ext>
                  </a:extLst>
                </p:cNvPr>
                <p:cNvSpPr>
                  <a:spLocks/>
                </p:cNvSpPr>
                <p:nvPr/>
              </p:nvSpPr>
              <p:spPr bwMode="auto">
                <a:xfrm>
                  <a:off x="467" y="2774"/>
                  <a:ext cx="802" cy="489"/>
                </a:xfrm>
                <a:custGeom>
                  <a:avLst/>
                  <a:gdLst/>
                  <a:ahLst/>
                  <a:cxnLst>
                    <a:cxn ang="0">
                      <a:pos x="28" y="108"/>
                    </a:cxn>
                    <a:cxn ang="0">
                      <a:pos x="0" y="190"/>
                    </a:cxn>
                    <a:cxn ang="0">
                      <a:pos x="57" y="244"/>
                    </a:cxn>
                    <a:cxn ang="0">
                      <a:pos x="28" y="489"/>
                    </a:cxn>
                    <a:cxn ang="0">
                      <a:pos x="716" y="489"/>
                    </a:cxn>
                    <a:cxn ang="0">
                      <a:pos x="716" y="435"/>
                    </a:cxn>
                    <a:cxn ang="0">
                      <a:pos x="802" y="435"/>
                    </a:cxn>
                    <a:cxn ang="0">
                      <a:pos x="802" y="353"/>
                    </a:cxn>
                    <a:cxn ang="0">
                      <a:pos x="716" y="353"/>
                    </a:cxn>
                    <a:cxn ang="0">
                      <a:pos x="716" y="271"/>
                    </a:cxn>
                    <a:cxn ang="0">
                      <a:pos x="687" y="271"/>
                    </a:cxn>
                    <a:cxn ang="0">
                      <a:pos x="687" y="136"/>
                    </a:cxn>
                    <a:cxn ang="0">
                      <a:pos x="601" y="136"/>
                    </a:cxn>
                    <a:cxn ang="0">
                      <a:pos x="601" y="108"/>
                    </a:cxn>
                    <a:cxn ang="0">
                      <a:pos x="344" y="108"/>
                    </a:cxn>
                    <a:cxn ang="0">
                      <a:pos x="344" y="0"/>
                    </a:cxn>
                    <a:cxn ang="0">
                      <a:pos x="258" y="0"/>
                    </a:cxn>
                    <a:cxn ang="0">
                      <a:pos x="258" y="108"/>
                    </a:cxn>
                    <a:cxn ang="0">
                      <a:pos x="28" y="108"/>
                    </a:cxn>
                  </a:cxnLst>
                  <a:rect l="0" t="0" r="r" b="b"/>
                  <a:pathLst>
                    <a:path w="802" h="489">
                      <a:moveTo>
                        <a:pt x="28" y="108"/>
                      </a:moveTo>
                      <a:lnTo>
                        <a:pt x="0" y="190"/>
                      </a:lnTo>
                      <a:lnTo>
                        <a:pt x="57" y="244"/>
                      </a:lnTo>
                      <a:lnTo>
                        <a:pt x="28" y="489"/>
                      </a:lnTo>
                      <a:lnTo>
                        <a:pt x="716" y="489"/>
                      </a:lnTo>
                      <a:lnTo>
                        <a:pt x="716" y="435"/>
                      </a:lnTo>
                      <a:lnTo>
                        <a:pt x="802" y="435"/>
                      </a:lnTo>
                      <a:lnTo>
                        <a:pt x="802" y="353"/>
                      </a:lnTo>
                      <a:lnTo>
                        <a:pt x="716" y="353"/>
                      </a:lnTo>
                      <a:lnTo>
                        <a:pt x="716" y="271"/>
                      </a:lnTo>
                      <a:lnTo>
                        <a:pt x="687" y="271"/>
                      </a:lnTo>
                      <a:lnTo>
                        <a:pt x="687" y="136"/>
                      </a:lnTo>
                      <a:lnTo>
                        <a:pt x="601" y="136"/>
                      </a:lnTo>
                      <a:lnTo>
                        <a:pt x="601" y="108"/>
                      </a:lnTo>
                      <a:lnTo>
                        <a:pt x="344" y="108"/>
                      </a:lnTo>
                      <a:lnTo>
                        <a:pt x="344" y="0"/>
                      </a:lnTo>
                      <a:lnTo>
                        <a:pt x="258" y="0"/>
                      </a:lnTo>
                      <a:lnTo>
                        <a:pt x="258" y="108"/>
                      </a:lnTo>
                      <a:lnTo>
                        <a:pt x="28" y="108"/>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47" name="Freeform 122">
                  <a:extLst>
                    <a:ext uri="{FF2B5EF4-FFF2-40B4-BE49-F238E27FC236}">
                      <a16:creationId xmlns:a16="http://schemas.microsoft.com/office/drawing/2014/main" id="{F01C09A8-8942-CE56-7967-B34EC7D7FDD4}"/>
                    </a:ext>
                  </a:extLst>
                </p:cNvPr>
                <p:cNvSpPr>
                  <a:spLocks/>
                </p:cNvSpPr>
                <p:nvPr/>
              </p:nvSpPr>
              <p:spPr bwMode="auto">
                <a:xfrm>
                  <a:off x="467" y="2774"/>
                  <a:ext cx="802" cy="489"/>
                </a:xfrm>
                <a:custGeom>
                  <a:avLst/>
                  <a:gdLst/>
                  <a:ahLst/>
                  <a:cxnLst>
                    <a:cxn ang="0">
                      <a:pos x="28" y="108"/>
                    </a:cxn>
                    <a:cxn ang="0">
                      <a:pos x="0" y="190"/>
                    </a:cxn>
                    <a:cxn ang="0">
                      <a:pos x="57" y="244"/>
                    </a:cxn>
                    <a:cxn ang="0">
                      <a:pos x="28" y="489"/>
                    </a:cxn>
                    <a:cxn ang="0">
                      <a:pos x="716" y="489"/>
                    </a:cxn>
                    <a:cxn ang="0">
                      <a:pos x="716" y="435"/>
                    </a:cxn>
                    <a:cxn ang="0">
                      <a:pos x="802" y="435"/>
                    </a:cxn>
                    <a:cxn ang="0">
                      <a:pos x="802" y="353"/>
                    </a:cxn>
                    <a:cxn ang="0">
                      <a:pos x="716" y="353"/>
                    </a:cxn>
                    <a:cxn ang="0">
                      <a:pos x="716" y="271"/>
                    </a:cxn>
                    <a:cxn ang="0">
                      <a:pos x="687" y="271"/>
                    </a:cxn>
                    <a:cxn ang="0">
                      <a:pos x="687" y="136"/>
                    </a:cxn>
                    <a:cxn ang="0">
                      <a:pos x="601" y="136"/>
                    </a:cxn>
                    <a:cxn ang="0">
                      <a:pos x="601" y="108"/>
                    </a:cxn>
                    <a:cxn ang="0">
                      <a:pos x="344" y="108"/>
                    </a:cxn>
                    <a:cxn ang="0">
                      <a:pos x="344" y="0"/>
                    </a:cxn>
                    <a:cxn ang="0">
                      <a:pos x="258" y="0"/>
                    </a:cxn>
                    <a:cxn ang="0">
                      <a:pos x="258" y="108"/>
                    </a:cxn>
                    <a:cxn ang="0">
                      <a:pos x="28" y="108"/>
                    </a:cxn>
                  </a:cxnLst>
                  <a:rect l="0" t="0" r="r" b="b"/>
                  <a:pathLst>
                    <a:path w="802" h="489">
                      <a:moveTo>
                        <a:pt x="28" y="108"/>
                      </a:moveTo>
                      <a:lnTo>
                        <a:pt x="0" y="190"/>
                      </a:lnTo>
                      <a:lnTo>
                        <a:pt x="57" y="244"/>
                      </a:lnTo>
                      <a:lnTo>
                        <a:pt x="28" y="489"/>
                      </a:lnTo>
                      <a:lnTo>
                        <a:pt x="716" y="489"/>
                      </a:lnTo>
                      <a:lnTo>
                        <a:pt x="716" y="435"/>
                      </a:lnTo>
                      <a:lnTo>
                        <a:pt x="802" y="435"/>
                      </a:lnTo>
                      <a:lnTo>
                        <a:pt x="802" y="353"/>
                      </a:lnTo>
                      <a:lnTo>
                        <a:pt x="716" y="353"/>
                      </a:lnTo>
                      <a:lnTo>
                        <a:pt x="716" y="271"/>
                      </a:lnTo>
                      <a:lnTo>
                        <a:pt x="687" y="271"/>
                      </a:lnTo>
                      <a:lnTo>
                        <a:pt x="687" y="136"/>
                      </a:lnTo>
                      <a:lnTo>
                        <a:pt x="601" y="136"/>
                      </a:lnTo>
                      <a:lnTo>
                        <a:pt x="601" y="108"/>
                      </a:lnTo>
                      <a:lnTo>
                        <a:pt x="344" y="108"/>
                      </a:lnTo>
                      <a:lnTo>
                        <a:pt x="344" y="0"/>
                      </a:lnTo>
                      <a:lnTo>
                        <a:pt x="258" y="0"/>
                      </a:lnTo>
                      <a:lnTo>
                        <a:pt x="258" y="108"/>
                      </a:lnTo>
                      <a:lnTo>
                        <a:pt x="28" y="108"/>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428" name="Freeform 125">
                <a:extLst>
                  <a:ext uri="{FF2B5EF4-FFF2-40B4-BE49-F238E27FC236}">
                    <a16:creationId xmlns:a16="http://schemas.microsoft.com/office/drawing/2014/main" id="{1DE49C5E-8E95-CCC3-3D19-B4DD13E1F6BC}"/>
                  </a:ext>
                </a:extLst>
              </p:cNvPr>
              <p:cNvSpPr>
                <a:spLocks/>
              </p:cNvSpPr>
              <p:nvPr/>
            </p:nvSpPr>
            <p:spPr bwMode="auto">
              <a:xfrm>
                <a:off x="3221393" y="4655654"/>
                <a:ext cx="742538" cy="662264"/>
              </a:xfrm>
              <a:custGeom>
                <a:avLst/>
                <a:gdLst/>
                <a:ahLst/>
                <a:cxnLst>
                  <a:cxn ang="0">
                    <a:pos x="0" y="54"/>
                  </a:cxn>
                  <a:cxn ang="0">
                    <a:pos x="0" y="109"/>
                  </a:cxn>
                  <a:cxn ang="0">
                    <a:pos x="86" y="109"/>
                  </a:cxn>
                  <a:cxn ang="0">
                    <a:pos x="86" y="245"/>
                  </a:cxn>
                  <a:cxn ang="0">
                    <a:pos x="115" y="245"/>
                  </a:cxn>
                  <a:cxn ang="0">
                    <a:pos x="115" y="326"/>
                  </a:cxn>
                  <a:cxn ang="0">
                    <a:pos x="201" y="326"/>
                  </a:cxn>
                  <a:cxn ang="0">
                    <a:pos x="201" y="408"/>
                  </a:cxn>
                  <a:cxn ang="0">
                    <a:pos x="115" y="408"/>
                  </a:cxn>
                  <a:cxn ang="0">
                    <a:pos x="115" y="462"/>
                  </a:cxn>
                  <a:cxn ang="0">
                    <a:pos x="374" y="462"/>
                  </a:cxn>
                  <a:cxn ang="0">
                    <a:pos x="489" y="408"/>
                  </a:cxn>
                  <a:cxn ang="0">
                    <a:pos x="518" y="299"/>
                  </a:cxn>
                  <a:cxn ang="0">
                    <a:pos x="460" y="272"/>
                  </a:cxn>
                  <a:cxn ang="0">
                    <a:pos x="460" y="109"/>
                  </a:cxn>
                  <a:cxn ang="0">
                    <a:pos x="489" y="54"/>
                  </a:cxn>
                  <a:cxn ang="0">
                    <a:pos x="460" y="0"/>
                  </a:cxn>
                  <a:cxn ang="0">
                    <a:pos x="345" y="0"/>
                  </a:cxn>
                  <a:cxn ang="0">
                    <a:pos x="345" y="54"/>
                  </a:cxn>
                  <a:cxn ang="0">
                    <a:pos x="0" y="54"/>
                  </a:cxn>
                </a:cxnLst>
                <a:rect l="0" t="0" r="r" b="b"/>
                <a:pathLst>
                  <a:path w="518" h="462">
                    <a:moveTo>
                      <a:pt x="0" y="54"/>
                    </a:moveTo>
                    <a:lnTo>
                      <a:pt x="0" y="109"/>
                    </a:lnTo>
                    <a:lnTo>
                      <a:pt x="86" y="109"/>
                    </a:lnTo>
                    <a:lnTo>
                      <a:pt x="86" y="245"/>
                    </a:lnTo>
                    <a:lnTo>
                      <a:pt x="115" y="245"/>
                    </a:lnTo>
                    <a:lnTo>
                      <a:pt x="115" y="326"/>
                    </a:lnTo>
                    <a:lnTo>
                      <a:pt x="201" y="326"/>
                    </a:lnTo>
                    <a:lnTo>
                      <a:pt x="201" y="408"/>
                    </a:lnTo>
                    <a:lnTo>
                      <a:pt x="115" y="408"/>
                    </a:lnTo>
                    <a:lnTo>
                      <a:pt x="115" y="462"/>
                    </a:lnTo>
                    <a:lnTo>
                      <a:pt x="374" y="462"/>
                    </a:lnTo>
                    <a:lnTo>
                      <a:pt x="489" y="408"/>
                    </a:lnTo>
                    <a:lnTo>
                      <a:pt x="518" y="299"/>
                    </a:lnTo>
                    <a:lnTo>
                      <a:pt x="460" y="272"/>
                    </a:lnTo>
                    <a:lnTo>
                      <a:pt x="460" y="109"/>
                    </a:lnTo>
                    <a:lnTo>
                      <a:pt x="489" y="54"/>
                    </a:lnTo>
                    <a:lnTo>
                      <a:pt x="460" y="0"/>
                    </a:lnTo>
                    <a:lnTo>
                      <a:pt x="345" y="0"/>
                    </a:lnTo>
                    <a:lnTo>
                      <a:pt x="345" y="54"/>
                    </a:lnTo>
                    <a:lnTo>
                      <a:pt x="0" y="54"/>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29" name="Freeform 155">
                <a:extLst>
                  <a:ext uri="{FF2B5EF4-FFF2-40B4-BE49-F238E27FC236}">
                    <a16:creationId xmlns:a16="http://schemas.microsoft.com/office/drawing/2014/main" id="{3328B060-CD41-674E-8A77-E27AFD4158E7}"/>
                  </a:ext>
                </a:extLst>
              </p:cNvPr>
              <p:cNvSpPr>
                <a:spLocks/>
              </p:cNvSpPr>
              <p:nvPr/>
            </p:nvSpPr>
            <p:spPr bwMode="auto">
              <a:xfrm>
                <a:off x="2070316" y="5317917"/>
                <a:ext cx="1850610" cy="659397"/>
              </a:xfrm>
              <a:custGeom>
                <a:avLst/>
                <a:gdLst/>
                <a:ahLst/>
                <a:cxnLst>
                  <a:cxn ang="0">
                    <a:pos x="230" y="0"/>
                  </a:cxn>
                  <a:cxn ang="0">
                    <a:pos x="0" y="216"/>
                  </a:cxn>
                  <a:cxn ang="0">
                    <a:pos x="115" y="351"/>
                  </a:cxn>
                  <a:cxn ang="0">
                    <a:pos x="230" y="297"/>
                  </a:cxn>
                  <a:cxn ang="0">
                    <a:pos x="689" y="243"/>
                  </a:cxn>
                  <a:cxn ang="0">
                    <a:pos x="1291" y="460"/>
                  </a:cxn>
                  <a:cxn ang="0">
                    <a:pos x="1291" y="0"/>
                  </a:cxn>
                  <a:cxn ang="0">
                    <a:pos x="230" y="0"/>
                  </a:cxn>
                </a:cxnLst>
                <a:rect l="0" t="0" r="r" b="b"/>
                <a:pathLst>
                  <a:path w="1291" h="460">
                    <a:moveTo>
                      <a:pt x="230" y="0"/>
                    </a:moveTo>
                    <a:lnTo>
                      <a:pt x="0" y="216"/>
                    </a:lnTo>
                    <a:lnTo>
                      <a:pt x="115" y="351"/>
                    </a:lnTo>
                    <a:lnTo>
                      <a:pt x="230" y="297"/>
                    </a:lnTo>
                    <a:lnTo>
                      <a:pt x="689" y="243"/>
                    </a:lnTo>
                    <a:lnTo>
                      <a:pt x="1291" y="460"/>
                    </a:lnTo>
                    <a:lnTo>
                      <a:pt x="1291" y="0"/>
                    </a:lnTo>
                    <a:lnTo>
                      <a:pt x="230" y="0"/>
                    </a:lnTo>
                  </a:path>
                </a:pathLst>
              </a:custGeom>
              <a:grpFill/>
              <a:ln w="1270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0" name="Rectangle 257">
                <a:extLst>
                  <a:ext uri="{FF2B5EF4-FFF2-40B4-BE49-F238E27FC236}">
                    <a16:creationId xmlns:a16="http://schemas.microsoft.com/office/drawing/2014/main" id="{60B17F18-EB3D-D89B-F9FB-7D4624A8FE83}"/>
                  </a:ext>
                </a:extLst>
              </p:cNvPr>
              <p:cNvSpPr>
                <a:spLocks noChangeArrowheads="1"/>
              </p:cNvSpPr>
              <p:nvPr/>
            </p:nvSpPr>
            <p:spPr bwMode="auto">
              <a:xfrm>
                <a:off x="2711077" y="4241380"/>
                <a:ext cx="432811"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BEAUREGARD</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1" name="Rectangle 258">
                <a:extLst>
                  <a:ext uri="{FF2B5EF4-FFF2-40B4-BE49-F238E27FC236}">
                    <a16:creationId xmlns:a16="http://schemas.microsoft.com/office/drawing/2014/main" id="{4075404C-5CFC-FBD5-DA8F-841904217AFC}"/>
                  </a:ext>
                </a:extLst>
              </p:cNvPr>
              <p:cNvSpPr>
                <a:spLocks noChangeArrowheads="1"/>
              </p:cNvSpPr>
              <p:nvPr/>
            </p:nvSpPr>
            <p:spPr bwMode="auto">
              <a:xfrm>
                <a:off x="3535323" y="4378993"/>
                <a:ext cx="195922"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ALLE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2" name="Rectangle 279">
                <a:extLst>
                  <a:ext uri="{FF2B5EF4-FFF2-40B4-BE49-F238E27FC236}">
                    <a16:creationId xmlns:a16="http://schemas.microsoft.com/office/drawing/2014/main" id="{90570FF1-182B-24A6-D3B0-AEFED6D7312D}"/>
                  </a:ext>
                </a:extLst>
              </p:cNvPr>
              <p:cNvSpPr>
                <a:spLocks noChangeArrowheads="1"/>
              </p:cNvSpPr>
              <p:nvPr/>
            </p:nvSpPr>
            <p:spPr bwMode="auto">
              <a:xfrm>
                <a:off x="2656606" y="4926579"/>
                <a:ext cx="345537"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LCASIEU</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3" name="Rectangle 280">
                <a:extLst>
                  <a:ext uri="{FF2B5EF4-FFF2-40B4-BE49-F238E27FC236}">
                    <a16:creationId xmlns:a16="http://schemas.microsoft.com/office/drawing/2014/main" id="{B44AC208-E5A3-FFAB-415E-969D20EE8D70}"/>
                  </a:ext>
                </a:extLst>
              </p:cNvPr>
              <p:cNvSpPr>
                <a:spLocks noChangeArrowheads="1"/>
              </p:cNvSpPr>
              <p:nvPr/>
            </p:nvSpPr>
            <p:spPr bwMode="auto">
              <a:xfrm>
                <a:off x="3412044" y="4909377"/>
                <a:ext cx="349099"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JEFFERS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4" name="Rectangle 281">
                <a:extLst>
                  <a:ext uri="{FF2B5EF4-FFF2-40B4-BE49-F238E27FC236}">
                    <a16:creationId xmlns:a16="http://schemas.microsoft.com/office/drawing/2014/main" id="{D2C14323-75C1-C3D2-7347-57AA3A488E5A}"/>
                  </a:ext>
                </a:extLst>
              </p:cNvPr>
              <p:cNvSpPr>
                <a:spLocks noChangeArrowheads="1"/>
              </p:cNvSpPr>
              <p:nvPr/>
            </p:nvSpPr>
            <p:spPr bwMode="auto">
              <a:xfrm>
                <a:off x="3531023" y="4992519"/>
                <a:ext cx="192360"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DAVI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5" name="Rectangle 283">
                <a:extLst>
                  <a:ext uri="{FF2B5EF4-FFF2-40B4-BE49-F238E27FC236}">
                    <a16:creationId xmlns:a16="http://schemas.microsoft.com/office/drawing/2014/main" id="{B55AE6A6-D17F-E56B-3D5D-2FD87D77319C}"/>
                  </a:ext>
                </a:extLst>
              </p:cNvPr>
              <p:cNvSpPr>
                <a:spLocks noChangeArrowheads="1"/>
              </p:cNvSpPr>
              <p:nvPr/>
            </p:nvSpPr>
            <p:spPr bwMode="auto">
              <a:xfrm>
                <a:off x="2845824" y="5455531"/>
                <a:ext cx="331288" cy="92333"/>
              </a:xfrm>
              <a:prstGeom prst="rect">
                <a:avLst/>
              </a:prstGeom>
              <a:grpFill/>
              <a:ln w="9525">
                <a:solidFill>
                  <a:schemeClr val="bg1"/>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CAMERO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6" name="Freeform 434">
                <a:extLst>
                  <a:ext uri="{FF2B5EF4-FFF2-40B4-BE49-F238E27FC236}">
                    <a16:creationId xmlns:a16="http://schemas.microsoft.com/office/drawing/2014/main" id="{A0CEE1A7-EC81-704C-B290-951E7A980D8F}"/>
                  </a:ext>
                </a:extLst>
              </p:cNvPr>
              <p:cNvSpPr>
                <a:spLocks/>
              </p:cNvSpPr>
              <p:nvPr/>
            </p:nvSpPr>
            <p:spPr bwMode="auto">
              <a:xfrm>
                <a:off x="2400015" y="4033527"/>
                <a:ext cx="1029231" cy="738237"/>
              </a:xfrm>
              <a:custGeom>
                <a:avLst/>
                <a:gdLst/>
                <a:ahLst/>
                <a:cxnLst>
                  <a:cxn ang="0">
                    <a:pos x="115" y="27"/>
                  </a:cxn>
                  <a:cxn ang="0">
                    <a:pos x="173" y="82"/>
                  </a:cxn>
                  <a:cxn ang="0">
                    <a:pos x="0" y="325"/>
                  </a:cxn>
                  <a:cxn ang="0">
                    <a:pos x="0" y="515"/>
                  </a:cxn>
                  <a:cxn ang="0">
                    <a:pos x="230" y="515"/>
                  </a:cxn>
                  <a:cxn ang="0">
                    <a:pos x="230" y="407"/>
                  </a:cxn>
                  <a:cxn ang="0">
                    <a:pos x="316" y="407"/>
                  </a:cxn>
                  <a:cxn ang="0">
                    <a:pos x="316" y="515"/>
                  </a:cxn>
                  <a:cxn ang="0">
                    <a:pos x="574" y="515"/>
                  </a:cxn>
                  <a:cxn ang="0">
                    <a:pos x="574" y="325"/>
                  </a:cxn>
                  <a:cxn ang="0">
                    <a:pos x="718" y="325"/>
                  </a:cxn>
                  <a:cxn ang="0">
                    <a:pos x="718" y="0"/>
                  </a:cxn>
                  <a:cxn ang="0">
                    <a:pos x="230" y="0"/>
                  </a:cxn>
                  <a:cxn ang="0">
                    <a:pos x="115" y="27"/>
                  </a:cxn>
                </a:cxnLst>
                <a:rect l="0" t="0" r="r" b="b"/>
                <a:pathLst>
                  <a:path w="718" h="515">
                    <a:moveTo>
                      <a:pt x="115" y="27"/>
                    </a:moveTo>
                    <a:lnTo>
                      <a:pt x="173" y="82"/>
                    </a:lnTo>
                    <a:lnTo>
                      <a:pt x="0" y="325"/>
                    </a:lnTo>
                    <a:lnTo>
                      <a:pt x="0" y="515"/>
                    </a:lnTo>
                    <a:lnTo>
                      <a:pt x="230" y="515"/>
                    </a:lnTo>
                    <a:lnTo>
                      <a:pt x="230" y="407"/>
                    </a:lnTo>
                    <a:lnTo>
                      <a:pt x="316" y="407"/>
                    </a:lnTo>
                    <a:lnTo>
                      <a:pt x="316" y="515"/>
                    </a:lnTo>
                    <a:lnTo>
                      <a:pt x="574" y="515"/>
                    </a:lnTo>
                    <a:lnTo>
                      <a:pt x="574" y="325"/>
                    </a:lnTo>
                    <a:lnTo>
                      <a:pt x="718" y="325"/>
                    </a:lnTo>
                    <a:lnTo>
                      <a:pt x="718" y="0"/>
                    </a:lnTo>
                    <a:lnTo>
                      <a:pt x="230" y="0"/>
                    </a:lnTo>
                    <a:lnTo>
                      <a:pt x="115" y="27"/>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7" name="Freeform 437">
                <a:extLst>
                  <a:ext uri="{FF2B5EF4-FFF2-40B4-BE49-F238E27FC236}">
                    <a16:creationId xmlns:a16="http://schemas.microsoft.com/office/drawing/2014/main" id="{51582227-AC9E-AACC-DF6D-CC8845C0CB58}"/>
                  </a:ext>
                </a:extLst>
              </p:cNvPr>
              <p:cNvSpPr>
                <a:spLocks/>
              </p:cNvSpPr>
              <p:nvPr/>
            </p:nvSpPr>
            <p:spPr bwMode="auto">
              <a:xfrm>
                <a:off x="3221393" y="4033527"/>
                <a:ext cx="699534" cy="699534"/>
              </a:xfrm>
              <a:custGeom>
                <a:avLst/>
                <a:gdLst/>
                <a:ahLst/>
                <a:cxnLst>
                  <a:cxn ang="0">
                    <a:pos x="144" y="0"/>
                  </a:cxn>
                  <a:cxn ang="0">
                    <a:pos x="144" y="325"/>
                  </a:cxn>
                  <a:cxn ang="0">
                    <a:pos x="0" y="325"/>
                  </a:cxn>
                  <a:cxn ang="0">
                    <a:pos x="0" y="488"/>
                  </a:cxn>
                  <a:cxn ang="0">
                    <a:pos x="344" y="488"/>
                  </a:cxn>
                  <a:cxn ang="0">
                    <a:pos x="344" y="434"/>
                  </a:cxn>
                  <a:cxn ang="0">
                    <a:pos x="459" y="434"/>
                  </a:cxn>
                  <a:cxn ang="0">
                    <a:pos x="488" y="352"/>
                  </a:cxn>
                  <a:cxn ang="0">
                    <a:pos x="488" y="0"/>
                  </a:cxn>
                  <a:cxn ang="0">
                    <a:pos x="144" y="0"/>
                  </a:cxn>
                </a:cxnLst>
                <a:rect l="0" t="0" r="r" b="b"/>
                <a:pathLst>
                  <a:path w="488" h="488">
                    <a:moveTo>
                      <a:pt x="144" y="0"/>
                    </a:moveTo>
                    <a:lnTo>
                      <a:pt x="144" y="325"/>
                    </a:lnTo>
                    <a:lnTo>
                      <a:pt x="0" y="325"/>
                    </a:lnTo>
                    <a:lnTo>
                      <a:pt x="0" y="488"/>
                    </a:lnTo>
                    <a:lnTo>
                      <a:pt x="344" y="488"/>
                    </a:lnTo>
                    <a:lnTo>
                      <a:pt x="344" y="434"/>
                    </a:lnTo>
                    <a:lnTo>
                      <a:pt x="459" y="434"/>
                    </a:lnTo>
                    <a:lnTo>
                      <a:pt x="488" y="352"/>
                    </a:lnTo>
                    <a:lnTo>
                      <a:pt x="488" y="0"/>
                    </a:lnTo>
                    <a:lnTo>
                      <a:pt x="144" y="0"/>
                    </a:lnTo>
                  </a:path>
                </a:pathLst>
              </a:custGeom>
              <a:solidFill>
                <a:schemeClr val="bg1">
                  <a:lumMod val="85000"/>
                </a:schemeClr>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8" name="Freeform 464">
                <a:extLst>
                  <a:ext uri="{FF2B5EF4-FFF2-40B4-BE49-F238E27FC236}">
                    <a16:creationId xmlns:a16="http://schemas.microsoft.com/office/drawing/2014/main" id="{94ABB956-C7B6-8C3F-4CC0-13A6010394E5}"/>
                  </a:ext>
                </a:extLst>
              </p:cNvPr>
              <p:cNvSpPr>
                <a:spLocks/>
              </p:cNvSpPr>
              <p:nvPr/>
            </p:nvSpPr>
            <p:spPr bwMode="auto">
              <a:xfrm>
                <a:off x="2359878" y="4616949"/>
                <a:ext cx="1149643" cy="700968"/>
              </a:xfrm>
              <a:custGeom>
                <a:avLst/>
                <a:gdLst/>
                <a:ahLst/>
                <a:cxnLst>
                  <a:cxn ang="0">
                    <a:pos x="28" y="108"/>
                  </a:cxn>
                  <a:cxn ang="0">
                    <a:pos x="0" y="190"/>
                  </a:cxn>
                  <a:cxn ang="0">
                    <a:pos x="57" y="244"/>
                  </a:cxn>
                  <a:cxn ang="0">
                    <a:pos x="28" y="489"/>
                  </a:cxn>
                  <a:cxn ang="0">
                    <a:pos x="716" y="489"/>
                  </a:cxn>
                  <a:cxn ang="0">
                    <a:pos x="716" y="435"/>
                  </a:cxn>
                  <a:cxn ang="0">
                    <a:pos x="802" y="435"/>
                  </a:cxn>
                  <a:cxn ang="0">
                    <a:pos x="802" y="353"/>
                  </a:cxn>
                  <a:cxn ang="0">
                    <a:pos x="716" y="353"/>
                  </a:cxn>
                  <a:cxn ang="0">
                    <a:pos x="716" y="271"/>
                  </a:cxn>
                  <a:cxn ang="0">
                    <a:pos x="687" y="271"/>
                  </a:cxn>
                  <a:cxn ang="0">
                    <a:pos x="687" y="136"/>
                  </a:cxn>
                  <a:cxn ang="0">
                    <a:pos x="601" y="136"/>
                  </a:cxn>
                  <a:cxn ang="0">
                    <a:pos x="601" y="108"/>
                  </a:cxn>
                  <a:cxn ang="0">
                    <a:pos x="344" y="108"/>
                  </a:cxn>
                  <a:cxn ang="0">
                    <a:pos x="344" y="0"/>
                  </a:cxn>
                  <a:cxn ang="0">
                    <a:pos x="258" y="0"/>
                  </a:cxn>
                  <a:cxn ang="0">
                    <a:pos x="258" y="108"/>
                  </a:cxn>
                  <a:cxn ang="0">
                    <a:pos x="28" y="108"/>
                  </a:cxn>
                </a:cxnLst>
                <a:rect l="0" t="0" r="r" b="b"/>
                <a:pathLst>
                  <a:path w="802" h="489">
                    <a:moveTo>
                      <a:pt x="28" y="108"/>
                    </a:moveTo>
                    <a:lnTo>
                      <a:pt x="0" y="190"/>
                    </a:lnTo>
                    <a:lnTo>
                      <a:pt x="57" y="244"/>
                    </a:lnTo>
                    <a:lnTo>
                      <a:pt x="28" y="489"/>
                    </a:lnTo>
                    <a:lnTo>
                      <a:pt x="716" y="489"/>
                    </a:lnTo>
                    <a:lnTo>
                      <a:pt x="716" y="435"/>
                    </a:lnTo>
                    <a:lnTo>
                      <a:pt x="802" y="435"/>
                    </a:lnTo>
                    <a:lnTo>
                      <a:pt x="802" y="353"/>
                    </a:lnTo>
                    <a:lnTo>
                      <a:pt x="716" y="353"/>
                    </a:lnTo>
                    <a:lnTo>
                      <a:pt x="716" y="271"/>
                    </a:lnTo>
                    <a:lnTo>
                      <a:pt x="687" y="271"/>
                    </a:lnTo>
                    <a:lnTo>
                      <a:pt x="687" y="136"/>
                    </a:lnTo>
                    <a:lnTo>
                      <a:pt x="601" y="136"/>
                    </a:lnTo>
                    <a:lnTo>
                      <a:pt x="601" y="108"/>
                    </a:lnTo>
                    <a:lnTo>
                      <a:pt x="344" y="108"/>
                    </a:lnTo>
                    <a:lnTo>
                      <a:pt x="344" y="0"/>
                    </a:lnTo>
                    <a:lnTo>
                      <a:pt x="258" y="0"/>
                    </a:lnTo>
                    <a:lnTo>
                      <a:pt x="258" y="108"/>
                    </a:lnTo>
                    <a:lnTo>
                      <a:pt x="28" y="108"/>
                    </a:lnTo>
                  </a:path>
                </a:pathLst>
              </a:custGeom>
              <a:solidFill>
                <a:srgbClr val="002060"/>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39" name="Freeform 467">
                <a:extLst>
                  <a:ext uri="{FF2B5EF4-FFF2-40B4-BE49-F238E27FC236}">
                    <a16:creationId xmlns:a16="http://schemas.microsoft.com/office/drawing/2014/main" id="{EA923777-3F24-AD96-B4DD-9A16DB56FB44}"/>
                  </a:ext>
                </a:extLst>
              </p:cNvPr>
              <p:cNvSpPr>
                <a:spLocks/>
              </p:cNvSpPr>
              <p:nvPr/>
            </p:nvSpPr>
            <p:spPr bwMode="auto">
              <a:xfrm>
                <a:off x="3221393" y="4655654"/>
                <a:ext cx="742538" cy="662264"/>
              </a:xfrm>
              <a:custGeom>
                <a:avLst/>
                <a:gdLst/>
                <a:ahLst/>
                <a:cxnLst>
                  <a:cxn ang="0">
                    <a:pos x="0" y="54"/>
                  </a:cxn>
                  <a:cxn ang="0">
                    <a:pos x="0" y="109"/>
                  </a:cxn>
                  <a:cxn ang="0">
                    <a:pos x="86" y="109"/>
                  </a:cxn>
                  <a:cxn ang="0">
                    <a:pos x="86" y="245"/>
                  </a:cxn>
                  <a:cxn ang="0">
                    <a:pos x="115" y="245"/>
                  </a:cxn>
                  <a:cxn ang="0">
                    <a:pos x="115" y="326"/>
                  </a:cxn>
                  <a:cxn ang="0">
                    <a:pos x="201" y="326"/>
                  </a:cxn>
                  <a:cxn ang="0">
                    <a:pos x="201" y="408"/>
                  </a:cxn>
                  <a:cxn ang="0">
                    <a:pos x="115" y="408"/>
                  </a:cxn>
                  <a:cxn ang="0">
                    <a:pos x="115" y="462"/>
                  </a:cxn>
                  <a:cxn ang="0">
                    <a:pos x="374" y="462"/>
                  </a:cxn>
                  <a:cxn ang="0">
                    <a:pos x="489" y="408"/>
                  </a:cxn>
                  <a:cxn ang="0">
                    <a:pos x="518" y="299"/>
                  </a:cxn>
                  <a:cxn ang="0">
                    <a:pos x="460" y="272"/>
                  </a:cxn>
                  <a:cxn ang="0">
                    <a:pos x="460" y="109"/>
                  </a:cxn>
                  <a:cxn ang="0">
                    <a:pos x="489" y="54"/>
                  </a:cxn>
                  <a:cxn ang="0">
                    <a:pos x="460" y="0"/>
                  </a:cxn>
                  <a:cxn ang="0">
                    <a:pos x="345" y="0"/>
                  </a:cxn>
                  <a:cxn ang="0">
                    <a:pos x="345" y="54"/>
                  </a:cxn>
                  <a:cxn ang="0">
                    <a:pos x="0" y="54"/>
                  </a:cxn>
                </a:cxnLst>
                <a:rect l="0" t="0" r="r" b="b"/>
                <a:pathLst>
                  <a:path w="518" h="462">
                    <a:moveTo>
                      <a:pt x="0" y="54"/>
                    </a:moveTo>
                    <a:lnTo>
                      <a:pt x="0" y="109"/>
                    </a:lnTo>
                    <a:lnTo>
                      <a:pt x="86" y="109"/>
                    </a:lnTo>
                    <a:lnTo>
                      <a:pt x="86" y="245"/>
                    </a:lnTo>
                    <a:lnTo>
                      <a:pt x="115" y="245"/>
                    </a:lnTo>
                    <a:lnTo>
                      <a:pt x="115" y="326"/>
                    </a:lnTo>
                    <a:lnTo>
                      <a:pt x="201" y="326"/>
                    </a:lnTo>
                    <a:lnTo>
                      <a:pt x="201" y="408"/>
                    </a:lnTo>
                    <a:lnTo>
                      <a:pt x="115" y="408"/>
                    </a:lnTo>
                    <a:lnTo>
                      <a:pt x="115" y="462"/>
                    </a:lnTo>
                    <a:lnTo>
                      <a:pt x="374" y="462"/>
                    </a:lnTo>
                    <a:lnTo>
                      <a:pt x="489" y="408"/>
                    </a:lnTo>
                    <a:lnTo>
                      <a:pt x="518" y="299"/>
                    </a:lnTo>
                    <a:lnTo>
                      <a:pt x="460" y="272"/>
                    </a:lnTo>
                    <a:lnTo>
                      <a:pt x="460" y="109"/>
                    </a:lnTo>
                    <a:lnTo>
                      <a:pt x="489" y="54"/>
                    </a:lnTo>
                    <a:lnTo>
                      <a:pt x="460" y="0"/>
                    </a:lnTo>
                    <a:lnTo>
                      <a:pt x="345" y="0"/>
                    </a:lnTo>
                    <a:lnTo>
                      <a:pt x="345" y="54"/>
                    </a:lnTo>
                    <a:lnTo>
                      <a:pt x="0" y="54"/>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40" name="Freeform 497">
                <a:extLst>
                  <a:ext uri="{FF2B5EF4-FFF2-40B4-BE49-F238E27FC236}">
                    <a16:creationId xmlns:a16="http://schemas.microsoft.com/office/drawing/2014/main" id="{7725EC54-CD44-CCD1-A667-C26FCE1D8CED}"/>
                  </a:ext>
                </a:extLst>
              </p:cNvPr>
              <p:cNvSpPr>
                <a:spLocks/>
              </p:cNvSpPr>
              <p:nvPr/>
            </p:nvSpPr>
            <p:spPr bwMode="auto">
              <a:xfrm>
                <a:off x="2070316" y="5317917"/>
                <a:ext cx="1850610" cy="659397"/>
              </a:xfrm>
              <a:custGeom>
                <a:avLst/>
                <a:gdLst/>
                <a:ahLst/>
                <a:cxnLst>
                  <a:cxn ang="0">
                    <a:pos x="230" y="0"/>
                  </a:cxn>
                  <a:cxn ang="0">
                    <a:pos x="0" y="216"/>
                  </a:cxn>
                  <a:cxn ang="0">
                    <a:pos x="115" y="351"/>
                  </a:cxn>
                  <a:cxn ang="0">
                    <a:pos x="230" y="297"/>
                  </a:cxn>
                  <a:cxn ang="0">
                    <a:pos x="689" y="243"/>
                  </a:cxn>
                  <a:cxn ang="0">
                    <a:pos x="1291" y="460"/>
                  </a:cxn>
                  <a:cxn ang="0">
                    <a:pos x="1291" y="0"/>
                  </a:cxn>
                  <a:cxn ang="0">
                    <a:pos x="230" y="0"/>
                  </a:cxn>
                </a:cxnLst>
                <a:rect l="0" t="0" r="r" b="b"/>
                <a:pathLst>
                  <a:path w="1291" h="460">
                    <a:moveTo>
                      <a:pt x="230" y="0"/>
                    </a:moveTo>
                    <a:lnTo>
                      <a:pt x="0" y="216"/>
                    </a:lnTo>
                    <a:lnTo>
                      <a:pt x="115" y="351"/>
                    </a:lnTo>
                    <a:lnTo>
                      <a:pt x="230" y="297"/>
                    </a:lnTo>
                    <a:lnTo>
                      <a:pt x="689" y="243"/>
                    </a:lnTo>
                    <a:lnTo>
                      <a:pt x="1291" y="460"/>
                    </a:lnTo>
                    <a:lnTo>
                      <a:pt x="1291" y="0"/>
                    </a:lnTo>
                    <a:lnTo>
                      <a:pt x="230" y="0"/>
                    </a:lnTo>
                  </a:path>
                </a:pathLst>
              </a:custGeom>
              <a:solidFill>
                <a:schemeClr val="bg1">
                  <a:lumMod val="85000"/>
                </a:schemeClr>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41" name="Rectangle 599">
                <a:extLst>
                  <a:ext uri="{FF2B5EF4-FFF2-40B4-BE49-F238E27FC236}">
                    <a16:creationId xmlns:a16="http://schemas.microsoft.com/office/drawing/2014/main" id="{EDEA8DE7-7DD8-6CBF-82C1-1D3CE5298BB6}"/>
                  </a:ext>
                </a:extLst>
              </p:cNvPr>
              <p:cNvSpPr>
                <a:spLocks noChangeArrowheads="1"/>
              </p:cNvSpPr>
              <p:nvPr/>
            </p:nvSpPr>
            <p:spPr bwMode="auto">
              <a:xfrm>
                <a:off x="2711077" y="4275783"/>
                <a:ext cx="432811" cy="92333"/>
              </a:xfrm>
              <a:prstGeom prst="rect">
                <a:avLst/>
              </a:prstGeom>
              <a:grp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BEAUREGARD</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42" name="Rectangle 621">
                <a:extLst>
                  <a:ext uri="{FF2B5EF4-FFF2-40B4-BE49-F238E27FC236}">
                    <a16:creationId xmlns:a16="http://schemas.microsoft.com/office/drawing/2014/main" id="{B6490468-3ACC-8581-5BB4-597D4DB0B89D}"/>
                  </a:ext>
                </a:extLst>
              </p:cNvPr>
              <p:cNvSpPr>
                <a:spLocks noChangeArrowheads="1"/>
              </p:cNvSpPr>
              <p:nvPr/>
            </p:nvSpPr>
            <p:spPr bwMode="auto">
              <a:xfrm>
                <a:off x="2669928" y="4995004"/>
                <a:ext cx="446796" cy="99672"/>
              </a:xfrm>
              <a:prstGeom prst="rect">
                <a:avLst/>
              </a:prstGeom>
              <a:solidFill>
                <a:srgbClr val="002060"/>
              </a:solidFill>
              <a:ln w="9525">
                <a:solidFill>
                  <a:srgbClr val="002060"/>
                </a:solidFill>
                <a:miter lim="800000"/>
                <a:headEnd/>
                <a:tailEnd/>
              </a:ln>
            </p:spPr>
            <p:txBody>
              <a:bodyPr wrap="squar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schemeClr val="bg1"/>
                    </a:solidFill>
                    <a:effectLst>
                      <a:outerShdw blurRad="38100" dist="19050" dir="2700000" algn="tl" rotWithShape="0">
                        <a:prstClr val="black">
                          <a:alpha val="40000"/>
                        </a:prstClr>
                      </a:outerShdw>
                    </a:effectLst>
                    <a:uLnTx/>
                    <a:uFillTx/>
                    <a:latin typeface="Calibri"/>
                    <a:ea typeface="+mn-ea"/>
                    <a:cs typeface="+mn-cs"/>
                  </a:rPr>
                  <a:t>CALCASIEU</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443" name="Rectangle 622">
                <a:extLst>
                  <a:ext uri="{FF2B5EF4-FFF2-40B4-BE49-F238E27FC236}">
                    <a16:creationId xmlns:a16="http://schemas.microsoft.com/office/drawing/2014/main" id="{C6739CAD-AC02-4412-C7ED-F837F8B97D81}"/>
                  </a:ext>
                </a:extLst>
              </p:cNvPr>
              <p:cNvSpPr>
                <a:spLocks noChangeArrowheads="1"/>
              </p:cNvSpPr>
              <p:nvPr/>
            </p:nvSpPr>
            <p:spPr bwMode="auto">
              <a:xfrm>
                <a:off x="3412044" y="4896324"/>
                <a:ext cx="349099" cy="92333"/>
              </a:xfrm>
              <a:prstGeom prst="rect">
                <a:avLst/>
              </a:prstGeom>
              <a:grp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JEFFERS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44" name="Rectangle 623">
                <a:extLst>
                  <a:ext uri="{FF2B5EF4-FFF2-40B4-BE49-F238E27FC236}">
                    <a16:creationId xmlns:a16="http://schemas.microsoft.com/office/drawing/2014/main" id="{D84EEC82-F670-506C-D57C-6E4BB3A6C2CD}"/>
                  </a:ext>
                </a:extLst>
              </p:cNvPr>
              <p:cNvSpPr>
                <a:spLocks noChangeArrowheads="1"/>
              </p:cNvSpPr>
              <p:nvPr/>
            </p:nvSpPr>
            <p:spPr bwMode="auto">
              <a:xfrm>
                <a:off x="3531023" y="4992519"/>
                <a:ext cx="192360" cy="92333"/>
              </a:xfrm>
              <a:prstGeom prst="rect">
                <a:avLst/>
              </a:prstGeom>
              <a:grp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DAVIS</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45" name="Rectangle 625">
                <a:extLst>
                  <a:ext uri="{FF2B5EF4-FFF2-40B4-BE49-F238E27FC236}">
                    <a16:creationId xmlns:a16="http://schemas.microsoft.com/office/drawing/2014/main" id="{BE7655F5-441A-AEEE-E24D-D9708852E93B}"/>
                  </a:ext>
                </a:extLst>
              </p:cNvPr>
              <p:cNvSpPr>
                <a:spLocks noChangeArrowheads="1"/>
              </p:cNvSpPr>
              <p:nvPr/>
            </p:nvSpPr>
            <p:spPr bwMode="auto">
              <a:xfrm>
                <a:off x="2845824" y="5455531"/>
                <a:ext cx="331288" cy="92333"/>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CAMERO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grpSp>
        <p:sp>
          <p:nvSpPr>
            <p:cNvPr id="361" name="Freeform 188">
              <a:extLst>
                <a:ext uri="{FF2B5EF4-FFF2-40B4-BE49-F238E27FC236}">
                  <a16:creationId xmlns:a16="http://schemas.microsoft.com/office/drawing/2014/main" id="{0BF56F21-1E4D-1B3E-24D1-EA896BCB35BE}"/>
                </a:ext>
              </a:extLst>
            </p:cNvPr>
            <p:cNvSpPr>
              <a:spLocks/>
            </p:cNvSpPr>
            <p:nvPr/>
          </p:nvSpPr>
          <p:spPr bwMode="auto">
            <a:xfrm>
              <a:off x="4795706" y="5099837"/>
              <a:ext cx="364654" cy="717802"/>
            </a:xfrm>
            <a:custGeom>
              <a:avLst/>
              <a:gdLst/>
              <a:ahLst/>
              <a:cxnLst>
                <a:cxn ang="0">
                  <a:pos x="0" y="0"/>
                </a:cxn>
                <a:cxn ang="0">
                  <a:pos x="0" y="108"/>
                </a:cxn>
                <a:cxn ang="0">
                  <a:pos x="29" y="189"/>
                </a:cxn>
                <a:cxn ang="0">
                  <a:pos x="87" y="216"/>
                </a:cxn>
                <a:cxn ang="0">
                  <a:pos x="58" y="352"/>
                </a:cxn>
                <a:cxn ang="0">
                  <a:pos x="115" y="379"/>
                </a:cxn>
                <a:cxn ang="0">
                  <a:pos x="115" y="461"/>
                </a:cxn>
                <a:cxn ang="0">
                  <a:pos x="87" y="488"/>
                </a:cxn>
                <a:cxn ang="0">
                  <a:pos x="144" y="569"/>
                </a:cxn>
                <a:cxn ang="0">
                  <a:pos x="259" y="624"/>
                </a:cxn>
                <a:cxn ang="0">
                  <a:pos x="317" y="597"/>
                </a:cxn>
                <a:cxn ang="0">
                  <a:pos x="288" y="434"/>
                </a:cxn>
                <a:cxn ang="0">
                  <a:pos x="202" y="270"/>
                </a:cxn>
                <a:cxn ang="0">
                  <a:pos x="259" y="136"/>
                </a:cxn>
                <a:cxn ang="0">
                  <a:pos x="202" y="108"/>
                </a:cxn>
                <a:cxn ang="0">
                  <a:pos x="173" y="136"/>
                </a:cxn>
                <a:cxn ang="0">
                  <a:pos x="115" y="136"/>
                </a:cxn>
                <a:cxn ang="0">
                  <a:pos x="144" y="27"/>
                </a:cxn>
                <a:cxn ang="0">
                  <a:pos x="0" y="0"/>
                </a:cxn>
              </a:cxnLst>
              <a:rect l="0" t="0" r="r" b="b"/>
              <a:pathLst>
                <a:path w="317" h="624">
                  <a:moveTo>
                    <a:pt x="0" y="0"/>
                  </a:moveTo>
                  <a:lnTo>
                    <a:pt x="0" y="108"/>
                  </a:lnTo>
                  <a:lnTo>
                    <a:pt x="29" y="189"/>
                  </a:lnTo>
                  <a:lnTo>
                    <a:pt x="87" y="216"/>
                  </a:lnTo>
                  <a:lnTo>
                    <a:pt x="58" y="352"/>
                  </a:lnTo>
                  <a:lnTo>
                    <a:pt x="115" y="379"/>
                  </a:lnTo>
                  <a:lnTo>
                    <a:pt x="115" y="461"/>
                  </a:lnTo>
                  <a:lnTo>
                    <a:pt x="87" y="488"/>
                  </a:lnTo>
                  <a:lnTo>
                    <a:pt x="144" y="569"/>
                  </a:lnTo>
                  <a:lnTo>
                    <a:pt x="259" y="624"/>
                  </a:lnTo>
                  <a:lnTo>
                    <a:pt x="317" y="597"/>
                  </a:lnTo>
                  <a:lnTo>
                    <a:pt x="288" y="434"/>
                  </a:lnTo>
                  <a:lnTo>
                    <a:pt x="202" y="270"/>
                  </a:lnTo>
                  <a:lnTo>
                    <a:pt x="259" y="136"/>
                  </a:lnTo>
                  <a:lnTo>
                    <a:pt x="202" y="108"/>
                  </a:lnTo>
                  <a:lnTo>
                    <a:pt x="173" y="136"/>
                  </a:lnTo>
                  <a:lnTo>
                    <a:pt x="115" y="136"/>
                  </a:lnTo>
                  <a:lnTo>
                    <a:pt x="144" y="27"/>
                  </a:lnTo>
                  <a:lnTo>
                    <a:pt x="0" y="0"/>
                  </a:lnTo>
                </a:path>
              </a:pathLst>
            </a:custGeom>
            <a:solidFill>
              <a:srgbClr val="002060"/>
            </a:solidFill>
            <a:ln w="6350" cap="rnd">
              <a:solidFill>
                <a:schemeClr val="accent1">
                  <a:lumMod val="75000"/>
                </a:schemeClr>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nvGrpSpPr>
            <p:cNvPr id="362" name="Group 189">
              <a:extLst>
                <a:ext uri="{FF2B5EF4-FFF2-40B4-BE49-F238E27FC236}">
                  <a16:creationId xmlns:a16="http://schemas.microsoft.com/office/drawing/2014/main" id="{3FB6479B-F5B7-5417-51D7-24EE2A717F8B}"/>
                </a:ext>
              </a:extLst>
            </p:cNvPr>
            <p:cNvGrpSpPr>
              <a:grpSpLocks/>
            </p:cNvGrpSpPr>
            <p:nvPr/>
          </p:nvGrpSpPr>
          <p:grpSpPr bwMode="auto">
            <a:xfrm>
              <a:off x="4929142" y="4942242"/>
              <a:ext cx="561359" cy="345098"/>
              <a:chOff x="3880" y="3072"/>
              <a:chExt cx="488" cy="300"/>
            </a:xfrm>
            <a:solidFill>
              <a:schemeClr val="accent6"/>
            </a:solidFill>
          </p:grpSpPr>
          <p:sp>
            <p:nvSpPr>
              <p:cNvPr id="423" name="Freeform 190">
                <a:extLst>
                  <a:ext uri="{FF2B5EF4-FFF2-40B4-BE49-F238E27FC236}">
                    <a16:creationId xmlns:a16="http://schemas.microsoft.com/office/drawing/2014/main" id="{31979D8B-0938-B96F-CC2B-528CD4A35A62}"/>
                  </a:ext>
                </a:extLst>
              </p:cNvPr>
              <p:cNvSpPr>
                <a:spLocks/>
              </p:cNvSpPr>
              <p:nvPr/>
            </p:nvSpPr>
            <p:spPr bwMode="auto">
              <a:xfrm>
                <a:off x="3880" y="3072"/>
                <a:ext cx="488" cy="300"/>
              </a:xfrm>
              <a:custGeom>
                <a:avLst/>
                <a:gdLst/>
                <a:ahLst/>
                <a:cxnLst>
                  <a:cxn ang="0">
                    <a:pos x="29" y="164"/>
                  </a:cxn>
                  <a:cxn ang="0">
                    <a:pos x="0" y="273"/>
                  </a:cxn>
                  <a:cxn ang="0">
                    <a:pos x="58" y="273"/>
                  </a:cxn>
                  <a:cxn ang="0">
                    <a:pos x="86" y="245"/>
                  </a:cxn>
                  <a:cxn ang="0">
                    <a:pos x="144" y="273"/>
                  </a:cxn>
                  <a:cxn ang="0">
                    <a:pos x="230" y="300"/>
                  </a:cxn>
                  <a:cxn ang="0">
                    <a:pos x="230" y="273"/>
                  </a:cxn>
                  <a:cxn ang="0">
                    <a:pos x="144" y="218"/>
                  </a:cxn>
                  <a:cxn ang="0">
                    <a:pos x="172" y="164"/>
                  </a:cxn>
                  <a:cxn ang="0">
                    <a:pos x="258" y="191"/>
                  </a:cxn>
                  <a:cxn ang="0">
                    <a:pos x="316" y="137"/>
                  </a:cxn>
                  <a:cxn ang="0">
                    <a:pos x="402" y="137"/>
                  </a:cxn>
                  <a:cxn ang="0">
                    <a:pos x="488" y="0"/>
                  </a:cxn>
                  <a:cxn ang="0">
                    <a:pos x="373" y="28"/>
                  </a:cxn>
                  <a:cxn ang="0">
                    <a:pos x="345" y="82"/>
                  </a:cxn>
                  <a:cxn ang="0">
                    <a:pos x="258" y="0"/>
                  </a:cxn>
                  <a:cxn ang="0">
                    <a:pos x="115" y="137"/>
                  </a:cxn>
                  <a:cxn ang="0">
                    <a:pos x="29" y="164"/>
                  </a:cxn>
                </a:cxnLst>
                <a:rect l="0" t="0" r="r" b="b"/>
                <a:pathLst>
                  <a:path w="488" h="300">
                    <a:moveTo>
                      <a:pt x="29" y="164"/>
                    </a:moveTo>
                    <a:lnTo>
                      <a:pt x="0" y="273"/>
                    </a:lnTo>
                    <a:lnTo>
                      <a:pt x="58" y="273"/>
                    </a:lnTo>
                    <a:lnTo>
                      <a:pt x="86" y="245"/>
                    </a:lnTo>
                    <a:lnTo>
                      <a:pt x="144" y="273"/>
                    </a:lnTo>
                    <a:lnTo>
                      <a:pt x="230" y="300"/>
                    </a:lnTo>
                    <a:lnTo>
                      <a:pt x="230" y="273"/>
                    </a:lnTo>
                    <a:lnTo>
                      <a:pt x="144" y="218"/>
                    </a:lnTo>
                    <a:lnTo>
                      <a:pt x="172" y="164"/>
                    </a:lnTo>
                    <a:lnTo>
                      <a:pt x="258" y="191"/>
                    </a:lnTo>
                    <a:lnTo>
                      <a:pt x="316" y="137"/>
                    </a:lnTo>
                    <a:lnTo>
                      <a:pt x="402" y="137"/>
                    </a:lnTo>
                    <a:lnTo>
                      <a:pt x="488" y="0"/>
                    </a:lnTo>
                    <a:lnTo>
                      <a:pt x="373" y="28"/>
                    </a:lnTo>
                    <a:lnTo>
                      <a:pt x="345" y="82"/>
                    </a:lnTo>
                    <a:lnTo>
                      <a:pt x="258" y="0"/>
                    </a:lnTo>
                    <a:lnTo>
                      <a:pt x="115" y="137"/>
                    </a:lnTo>
                    <a:lnTo>
                      <a:pt x="29" y="164"/>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24" name="Freeform 191">
                <a:extLst>
                  <a:ext uri="{FF2B5EF4-FFF2-40B4-BE49-F238E27FC236}">
                    <a16:creationId xmlns:a16="http://schemas.microsoft.com/office/drawing/2014/main" id="{CB72F8F8-A37C-9E9F-EB09-4D8A533E88B0}"/>
                  </a:ext>
                </a:extLst>
              </p:cNvPr>
              <p:cNvSpPr>
                <a:spLocks/>
              </p:cNvSpPr>
              <p:nvPr/>
            </p:nvSpPr>
            <p:spPr bwMode="auto">
              <a:xfrm>
                <a:off x="3880" y="3072"/>
                <a:ext cx="488" cy="300"/>
              </a:xfrm>
              <a:custGeom>
                <a:avLst/>
                <a:gdLst/>
                <a:ahLst/>
                <a:cxnLst>
                  <a:cxn ang="0">
                    <a:pos x="29" y="164"/>
                  </a:cxn>
                  <a:cxn ang="0">
                    <a:pos x="0" y="273"/>
                  </a:cxn>
                  <a:cxn ang="0">
                    <a:pos x="58" y="273"/>
                  </a:cxn>
                  <a:cxn ang="0">
                    <a:pos x="86" y="245"/>
                  </a:cxn>
                  <a:cxn ang="0">
                    <a:pos x="144" y="273"/>
                  </a:cxn>
                  <a:cxn ang="0">
                    <a:pos x="230" y="300"/>
                  </a:cxn>
                  <a:cxn ang="0">
                    <a:pos x="230" y="273"/>
                  </a:cxn>
                  <a:cxn ang="0">
                    <a:pos x="144" y="218"/>
                  </a:cxn>
                  <a:cxn ang="0">
                    <a:pos x="172" y="164"/>
                  </a:cxn>
                  <a:cxn ang="0">
                    <a:pos x="258" y="191"/>
                  </a:cxn>
                  <a:cxn ang="0">
                    <a:pos x="316" y="137"/>
                  </a:cxn>
                  <a:cxn ang="0">
                    <a:pos x="402" y="137"/>
                  </a:cxn>
                  <a:cxn ang="0">
                    <a:pos x="488" y="0"/>
                  </a:cxn>
                  <a:cxn ang="0">
                    <a:pos x="373" y="28"/>
                  </a:cxn>
                  <a:cxn ang="0">
                    <a:pos x="345" y="82"/>
                  </a:cxn>
                  <a:cxn ang="0">
                    <a:pos x="258" y="0"/>
                  </a:cxn>
                  <a:cxn ang="0">
                    <a:pos x="115" y="137"/>
                  </a:cxn>
                  <a:cxn ang="0">
                    <a:pos x="29" y="164"/>
                  </a:cxn>
                </a:cxnLst>
                <a:rect l="0" t="0" r="r" b="b"/>
                <a:pathLst>
                  <a:path w="488" h="300">
                    <a:moveTo>
                      <a:pt x="29" y="164"/>
                    </a:moveTo>
                    <a:lnTo>
                      <a:pt x="0" y="273"/>
                    </a:lnTo>
                    <a:lnTo>
                      <a:pt x="58" y="273"/>
                    </a:lnTo>
                    <a:lnTo>
                      <a:pt x="86" y="245"/>
                    </a:lnTo>
                    <a:lnTo>
                      <a:pt x="144" y="273"/>
                    </a:lnTo>
                    <a:lnTo>
                      <a:pt x="230" y="300"/>
                    </a:lnTo>
                    <a:lnTo>
                      <a:pt x="230" y="273"/>
                    </a:lnTo>
                    <a:lnTo>
                      <a:pt x="144" y="218"/>
                    </a:lnTo>
                    <a:lnTo>
                      <a:pt x="172" y="164"/>
                    </a:lnTo>
                    <a:lnTo>
                      <a:pt x="258" y="191"/>
                    </a:lnTo>
                    <a:lnTo>
                      <a:pt x="316" y="137"/>
                    </a:lnTo>
                    <a:lnTo>
                      <a:pt x="402" y="137"/>
                    </a:lnTo>
                    <a:lnTo>
                      <a:pt x="488" y="0"/>
                    </a:lnTo>
                    <a:lnTo>
                      <a:pt x="373" y="28"/>
                    </a:lnTo>
                    <a:lnTo>
                      <a:pt x="345" y="82"/>
                    </a:lnTo>
                    <a:lnTo>
                      <a:pt x="258" y="0"/>
                    </a:lnTo>
                    <a:lnTo>
                      <a:pt x="115" y="137"/>
                    </a:lnTo>
                    <a:lnTo>
                      <a:pt x="29" y="164"/>
                    </a:lnTo>
                  </a:path>
                </a:pathLst>
              </a:custGeom>
              <a:solidFill>
                <a:schemeClr val="bg1">
                  <a:lumMod val="85000"/>
                </a:schemeClr>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363" name="Freeform 194">
              <a:extLst>
                <a:ext uri="{FF2B5EF4-FFF2-40B4-BE49-F238E27FC236}">
                  <a16:creationId xmlns:a16="http://schemas.microsoft.com/office/drawing/2014/main" id="{A7235055-2143-2FB5-256A-7CB29CC81494}"/>
                </a:ext>
              </a:extLst>
            </p:cNvPr>
            <p:cNvSpPr>
              <a:spLocks/>
            </p:cNvSpPr>
            <p:nvPr/>
          </p:nvSpPr>
          <p:spPr bwMode="auto">
            <a:xfrm>
              <a:off x="5028071" y="5256281"/>
              <a:ext cx="1154927" cy="996181"/>
            </a:xfrm>
            <a:custGeom>
              <a:avLst/>
              <a:gdLst/>
              <a:ahLst/>
              <a:cxnLst>
                <a:cxn ang="0">
                  <a:pos x="57" y="0"/>
                </a:cxn>
                <a:cxn ang="0">
                  <a:pos x="0" y="134"/>
                </a:cxn>
                <a:cxn ang="0">
                  <a:pos x="86" y="297"/>
                </a:cxn>
                <a:cxn ang="0">
                  <a:pos x="115" y="460"/>
                </a:cxn>
                <a:cxn ang="0">
                  <a:pos x="230" y="433"/>
                </a:cxn>
                <a:cxn ang="0">
                  <a:pos x="287" y="596"/>
                </a:cxn>
                <a:cxn ang="0">
                  <a:pos x="602" y="677"/>
                </a:cxn>
                <a:cxn ang="0">
                  <a:pos x="660" y="812"/>
                </a:cxn>
                <a:cxn ang="0">
                  <a:pos x="746" y="839"/>
                </a:cxn>
                <a:cxn ang="0">
                  <a:pos x="918" y="866"/>
                </a:cxn>
                <a:cxn ang="0">
                  <a:pos x="1004" y="677"/>
                </a:cxn>
                <a:cxn ang="0">
                  <a:pos x="832" y="542"/>
                </a:cxn>
                <a:cxn ang="0">
                  <a:pos x="488" y="460"/>
                </a:cxn>
                <a:cxn ang="0">
                  <a:pos x="316" y="270"/>
                </a:cxn>
                <a:cxn ang="0">
                  <a:pos x="431" y="297"/>
                </a:cxn>
                <a:cxn ang="0">
                  <a:pos x="488" y="216"/>
                </a:cxn>
                <a:cxn ang="0">
                  <a:pos x="172" y="80"/>
                </a:cxn>
                <a:cxn ang="0">
                  <a:pos x="144" y="27"/>
                </a:cxn>
                <a:cxn ang="0">
                  <a:pos x="57" y="0"/>
                </a:cxn>
              </a:cxnLst>
              <a:rect l="0" t="0" r="r" b="b"/>
              <a:pathLst>
                <a:path w="1004" h="866">
                  <a:moveTo>
                    <a:pt x="57" y="0"/>
                  </a:moveTo>
                  <a:lnTo>
                    <a:pt x="0" y="134"/>
                  </a:lnTo>
                  <a:lnTo>
                    <a:pt x="86" y="297"/>
                  </a:lnTo>
                  <a:lnTo>
                    <a:pt x="115" y="460"/>
                  </a:lnTo>
                  <a:lnTo>
                    <a:pt x="230" y="433"/>
                  </a:lnTo>
                  <a:lnTo>
                    <a:pt x="287" y="596"/>
                  </a:lnTo>
                  <a:lnTo>
                    <a:pt x="602" y="677"/>
                  </a:lnTo>
                  <a:lnTo>
                    <a:pt x="660" y="812"/>
                  </a:lnTo>
                  <a:lnTo>
                    <a:pt x="746" y="839"/>
                  </a:lnTo>
                  <a:lnTo>
                    <a:pt x="918" y="866"/>
                  </a:lnTo>
                  <a:lnTo>
                    <a:pt x="1004" y="677"/>
                  </a:lnTo>
                  <a:lnTo>
                    <a:pt x="832" y="542"/>
                  </a:lnTo>
                  <a:lnTo>
                    <a:pt x="488" y="460"/>
                  </a:lnTo>
                  <a:lnTo>
                    <a:pt x="316" y="270"/>
                  </a:lnTo>
                  <a:lnTo>
                    <a:pt x="431" y="297"/>
                  </a:lnTo>
                  <a:lnTo>
                    <a:pt x="488" y="216"/>
                  </a:lnTo>
                  <a:lnTo>
                    <a:pt x="172" y="80"/>
                  </a:lnTo>
                  <a:lnTo>
                    <a:pt x="144" y="27"/>
                  </a:lnTo>
                  <a:lnTo>
                    <a:pt x="57" y="0"/>
                  </a:lnTo>
                </a:path>
              </a:pathLst>
            </a:custGeom>
            <a:solidFill>
              <a:schemeClr val="bg1">
                <a:lumMod val="85000"/>
              </a:schemeClr>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64" name="Freeform 200">
              <a:extLst>
                <a:ext uri="{FF2B5EF4-FFF2-40B4-BE49-F238E27FC236}">
                  <a16:creationId xmlns:a16="http://schemas.microsoft.com/office/drawing/2014/main" id="{C38FCA66-E681-C4DF-A57D-6AEF55CFF27D}"/>
                </a:ext>
              </a:extLst>
            </p:cNvPr>
            <p:cNvSpPr>
              <a:spLocks/>
            </p:cNvSpPr>
            <p:nvPr/>
          </p:nvSpPr>
          <p:spPr bwMode="auto">
            <a:xfrm>
              <a:off x="5091339" y="5008962"/>
              <a:ext cx="720103" cy="488888"/>
            </a:xfrm>
            <a:custGeom>
              <a:avLst/>
              <a:gdLst/>
              <a:ahLst/>
              <a:cxnLst>
                <a:cxn ang="0">
                  <a:pos x="31" y="101"/>
                </a:cxn>
                <a:cxn ang="0">
                  <a:pos x="176" y="160"/>
                </a:cxn>
                <a:cxn ang="0">
                  <a:pos x="238" y="136"/>
                </a:cxn>
                <a:cxn ang="0">
                  <a:pos x="259" y="163"/>
                </a:cxn>
                <a:cxn ang="0">
                  <a:pos x="238" y="183"/>
                </a:cxn>
                <a:cxn ang="0">
                  <a:pos x="327" y="245"/>
                </a:cxn>
                <a:cxn ang="0">
                  <a:pos x="377" y="210"/>
                </a:cxn>
                <a:cxn ang="0">
                  <a:pos x="374" y="112"/>
                </a:cxn>
                <a:cxn ang="0">
                  <a:pos x="489" y="0"/>
                </a:cxn>
                <a:cxn ang="0">
                  <a:pos x="547" y="54"/>
                </a:cxn>
                <a:cxn ang="0">
                  <a:pos x="547" y="210"/>
                </a:cxn>
                <a:cxn ang="0">
                  <a:pos x="626" y="313"/>
                </a:cxn>
                <a:cxn ang="0">
                  <a:pos x="456" y="319"/>
                </a:cxn>
                <a:cxn ang="0">
                  <a:pos x="432" y="374"/>
                </a:cxn>
                <a:cxn ang="0">
                  <a:pos x="338" y="343"/>
                </a:cxn>
                <a:cxn ang="0">
                  <a:pos x="424" y="425"/>
                </a:cxn>
                <a:cxn ang="0">
                  <a:pos x="119" y="299"/>
                </a:cxn>
                <a:cxn ang="0">
                  <a:pos x="90" y="238"/>
                </a:cxn>
                <a:cxn ang="0">
                  <a:pos x="87" y="210"/>
                </a:cxn>
                <a:cxn ang="0">
                  <a:pos x="0" y="160"/>
                </a:cxn>
                <a:cxn ang="0">
                  <a:pos x="31" y="108"/>
                </a:cxn>
              </a:cxnLst>
              <a:rect l="0" t="0" r="r" b="b"/>
              <a:pathLst>
                <a:path w="626" h="425">
                  <a:moveTo>
                    <a:pt x="31" y="101"/>
                  </a:moveTo>
                  <a:lnTo>
                    <a:pt x="176" y="160"/>
                  </a:lnTo>
                  <a:lnTo>
                    <a:pt x="238" y="136"/>
                  </a:lnTo>
                  <a:lnTo>
                    <a:pt x="259" y="163"/>
                  </a:lnTo>
                  <a:lnTo>
                    <a:pt x="238" y="183"/>
                  </a:lnTo>
                  <a:lnTo>
                    <a:pt x="327" y="245"/>
                  </a:lnTo>
                  <a:lnTo>
                    <a:pt x="377" y="210"/>
                  </a:lnTo>
                  <a:lnTo>
                    <a:pt x="374" y="112"/>
                  </a:lnTo>
                  <a:lnTo>
                    <a:pt x="489" y="0"/>
                  </a:lnTo>
                  <a:lnTo>
                    <a:pt x="547" y="54"/>
                  </a:lnTo>
                  <a:lnTo>
                    <a:pt x="547" y="210"/>
                  </a:lnTo>
                  <a:lnTo>
                    <a:pt x="626" y="313"/>
                  </a:lnTo>
                  <a:lnTo>
                    <a:pt x="456" y="319"/>
                  </a:lnTo>
                  <a:lnTo>
                    <a:pt x="432" y="374"/>
                  </a:lnTo>
                  <a:lnTo>
                    <a:pt x="338" y="343"/>
                  </a:lnTo>
                  <a:lnTo>
                    <a:pt x="424" y="425"/>
                  </a:lnTo>
                  <a:lnTo>
                    <a:pt x="119" y="299"/>
                  </a:lnTo>
                  <a:lnTo>
                    <a:pt x="90" y="238"/>
                  </a:lnTo>
                  <a:lnTo>
                    <a:pt x="87" y="210"/>
                  </a:lnTo>
                  <a:lnTo>
                    <a:pt x="0" y="160"/>
                  </a:lnTo>
                  <a:lnTo>
                    <a:pt x="31" y="108"/>
                  </a:lnTo>
                </a:path>
              </a:pathLst>
            </a:custGeom>
            <a:solidFill>
              <a:schemeClr val="bg1">
                <a:lumMod val="85000"/>
              </a:schemeClr>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65" name="Rectangle 320">
              <a:extLst>
                <a:ext uri="{FF2B5EF4-FFF2-40B4-BE49-F238E27FC236}">
                  <a16:creationId xmlns:a16="http://schemas.microsoft.com/office/drawing/2014/main" id="{50A18DDD-F5D0-1F2B-47AB-4F8550EEE2A5}"/>
                </a:ext>
              </a:extLst>
            </p:cNvPr>
            <p:cNvSpPr>
              <a:spLocks noChangeArrowheads="1"/>
            </p:cNvSpPr>
            <p:nvPr/>
          </p:nvSpPr>
          <p:spPr bwMode="auto">
            <a:xfrm>
              <a:off x="4876228" y="5159417"/>
              <a:ext cx="18707" cy="6665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chemeClr val="bg1"/>
                  </a:solidFill>
                  <a:effectLst/>
                  <a:uLnTx/>
                  <a:uFillTx/>
                  <a:latin typeface="Calibri"/>
                  <a:ea typeface="+mn-ea"/>
                  <a:cs typeface="+mn-cs"/>
                </a:rPr>
                <a:t>J</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366" name="Rectangle 321">
              <a:extLst>
                <a:ext uri="{FF2B5EF4-FFF2-40B4-BE49-F238E27FC236}">
                  <a16:creationId xmlns:a16="http://schemas.microsoft.com/office/drawing/2014/main" id="{CD94A3E3-D368-E1E8-BA23-8E5E63CCE852}"/>
                </a:ext>
              </a:extLst>
            </p:cNvPr>
            <p:cNvSpPr>
              <a:spLocks noChangeArrowheads="1"/>
            </p:cNvSpPr>
            <p:nvPr/>
          </p:nvSpPr>
          <p:spPr bwMode="auto">
            <a:xfrm>
              <a:off x="4881860" y="5220503"/>
              <a:ext cx="30609" cy="6665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67" name="Rectangle 322">
              <a:extLst>
                <a:ext uri="{FF2B5EF4-FFF2-40B4-BE49-F238E27FC236}">
                  <a16:creationId xmlns:a16="http://schemas.microsoft.com/office/drawing/2014/main" id="{DBBED44F-7E41-3CF1-3258-EF9297F19C6D}"/>
                </a:ext>
              </a:extLst>
            </p:cNvPr>
            <p:cNvSpPr>
              <a:spLocks noChangeArrowheads="1"/>
            </p:cNvSpPr>
            <p:nvPr/>
          </p:nvSpPr>
          <p:spPr bwMode="auto">
            <a:xfrm>
              <a:off x="4915220" y="5282739"/>
              <a:ext cx="28909" cy="6665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FFFFFF"/>
                  </a:solidFill>
                  <a:effectLst/>
                  <a:uLnTx/>
                  <a:uFillTx/>
                  <a:latin typeface="Calibri"/>
                  <a:ea typeface="+mn-ea"/>
                  <a:cs typeface="+mn-cs"/>
                </a:rPr>
                <a:t>F</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68" name="Rectangle 323">
              <a:extLst>
                <a:ext uri="{FF2B5EF4-FFF2-40B4-BE49-F238E27FC236}">
                  <a16:creationId xmlns:a16="http://schemas.microsoft.com/office/drawing/2014/main" id="{AEEFE4CA-A954-2BF0-28E4-9C927DDDF62F}"/>
                </a:ext>
              </a:extLst>
            </p:cNvPr>
            <p:cNvSpPr>
              <a:spLocks noChangeArrowheads="1"/>
            </p:cNvSpPr>
            <p:nvPr/>
          </p:nvSpPr>
          <p:spPr bwMode="auto">
            <a:xfrm>
              <a:off x="4933744" y="5337954"/>
              <a:ext cx="28909" cy="6665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chemeClr val="bg1"/>
                  </a:solidFill>
                  <a:effectLst/>
                  <a:uLnTx/>
                  <a:uFillTx/>
                  <a:latin typeface="Calibri"/>
                  <a:ea typeface="+mn-ea"/>
                  <a:cs typeface="+mn-cs"/>
                </a:rPr>
                <a:t>F</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369" name="Rectangle 324">
              <a:extLst>
                <a:ext uri="{FF2B5EF4-FFF2-40B4-BE49-F238E27FC236}">
                  <a16:creationId xmlns:a16="http://schemas.microsoft.com/office/drawing/2014/main" id="{A3CA1137-81FF-BE91-F52B-0ECA02674B7D}"/>
                </a:ext>
              </a:extLst>
            </p:cNvPr>
            <p:cNvSpPr>
              <a:spLocks noChangeArrowheads="1"/>
            </p:cNvSpPr>
            <p:nvPr/>
          </p:nvSpPr>
          <p:spPr bwMode="auto">
            <a:xfrm>
              <a:off x="4940646" y="5393170"/>
              <a:ext cx="30609" cy="6665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chemeClr val="bg1"/>
                  </a:solidFill>
                  <a:effectLst/>
                  <a:uLnTx/>
                  <a:uFillTx/>
                  <a:latin typeface="Calibri"/>
                  <a:ea typeface="+mn-ea"/>
                  <a:cs typeface="+mn-cs"/>
                </a:rPr>
                <a:t>E</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372" name="Rectangle 327">
              <a:extLst>
                <a:ext uri="{FF2B5EF4-FFF2-40B4-BE49-F238E27FC236}">
                  <a16:creationId xmlns:a16="http://schemas.microsoft.com/office/drawing/2014/main" id="{A109FF0B-2FDE-A73B-4C3D-A1D86B591E92}"/>
                </a:ext>
              </a:extLst>
            </p:cNvPr>
            <p:cNvSpPr>
              <a:spLocks noChangeArrowheads="1"/>
            </p:cNvSpPr>
            <p:nvPr/>
          </p:nvSpPr>
          <p:spPr bwMode="auto">
            <a:xfrm>
              <a:off x="4975100" y="5572858"/>
              <a:ext cx="40812" cy="6665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chemeClr val="bg1"/>
                  </a:solidFill>
                  <a:effectLst/>
                  <a:uLnTx/>
                  <a:uFillTx/>
                  <a:latin typeface="Calibri"/>
                  <a:ea typeface="+mn-ea"/>
                  <a:cs typeface="+mn-cs"/>
                </a:rPr>
                <a:t>O</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373" name="Rectangle 328">
              <a:extLst>
                <a:ext uri="{FF2B5EF4-FFF2-40B4-BE49-F238E27FC236}">
                  <a16:creationId xmlns:a16="http://schemas.microsoft.com/office/drawing/2014/main" id="{F508E66F-8491-098E-31B4-688B26BE8723}"/>
                </a:ext>
              </a:extLst>
            </p:cNvPr>
            <p:cNvSpPr>
              <a:spLocks noChangeArrowheads="1"/>
            </p:cNvSpPr>
            <p:nvPr/>
          </p:nvSpPr>
          <p:spPr bwMode="auto">
            <a:xfrm>
              <a:off x="4984314" y="5628072"/>
              <a:ext cx="39112" cy="66654"/>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chemeClr val="bg1"/>
                  </a:solidFill>
                  <a:effectLst/>
                  <a:uLnTx/>
                  <a:uFillTx/>
                  <a:latin typeface="Calibri"/>
                  <a:ea typeface="+mn-ea"/>
                  <a:cs typeface="+mn-cs"/>
                </a:rPr>
                <a:t>N</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374" name="Rectangle 329">
              <a:extLst>
                <a:ext uri="{FF2B5EF4-FFF2-40B4-BE49-F238E27FC236}">
                  <a16:creationId xmlns:a16="http://schemas.microsoft.com/office/drawing/2014/main" id="{412400EF-5D4E-0F34-95F0-7B5F9D9E75AF}"/>
                </a:ext>
              </a:extLst>
            </p:cNvPr>
            <p:cNvSpPr>
              <a:spLocks noChangeArrowheads="1"/>
            </p:cNvSpPr>
            <p:nvPr/>
          </p:nvSpPr>
          <p:spPr bwMode="auto">
            <a:xfrm>
              <a:off x="5145403" y="5352909"/>
              <a:ext cx="3144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P</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75" name="Rectangle 330">
              <a:extLst>
                <a:ext uri="{FF2B5EF4-FFF2-40B4-BE49-F238E27FC236}">
                  <a16:creationId xmlns:a16="http://schemas.microsoft.com/office/drawing/2014/main" id="{34D059A8-1463-4F30-801C-AE1CB7B4FEEE}"/>
                </a:ext>
              </a:extLst>
            </p:cNvPr>
            <p:cNvSpPr>
              <a:spLocks noChangeArrowheads="1"/>
            </p:cNvSpPr>
            <p:nvPr/>
          </p:nvSpPr>
          <p:spPr bwMode="auto">
            <a:xfrm>
              <a:off x="5193717" y="5420779"/>
              <a:ext cx="25727"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L</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76" name="Rectangle 331">
              <a:extLst>
                <a:ext uri="{FF2B5EF4-FFF2-40B4-BE49-F238E27FC236}">
                  <a16:creationId xmlns:a16="http://schemas.microsoft.com/office/drawing/2014/main" id="{478F04CD-087F-1D30-3CF4-08C2AF49C428}"/>
                </a:ext>
              </a:extLst>
            </p:cNvPr>
            <p:cNvSpPr>
              <a:spLocks noChangeArrowheads="1"/>
            </p:cNvSpPr>
            <p:nvPr/>
          </p:nvSpPr>
          <p:spPr bwMode="auto">
            <a:xfrm>
              <a:off x="5240685" y="5488648"/>
              <a:ext cx="357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A</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77" name="Rectangle 332">
              <a:extLst>
                <a:ext uri="{FF2B5EF4-FFF2-40B4-BE49-F238E27FC236}">
                  <a16:creationId xmlns:a16="http://schemas.microsoft.com/office/drawing/2014/main" id="{87ABDE38-E96B-0516-B2AA-632AA2EFDDF8}"/>
                </a:ext>
              </a:extLst>
            </p:cNvPr>
            <p:cNvSpPr>
              <a:spLocks noChangeArrowheads="1"/>
            </p:cNvSpPr>
            <p:nvPr/>
          </p:nvSpPr>
          <p:spPr bwMode="auto">
            <a:xfrm>
              <a:off x="5302791" y="5556516"/>
              <a:ext cx="4145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Q</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78" name="Rectangle 333">
              <a:extLst>
                <a:ext uri="{FF2B5EF4-FFF2-40B4-BE49-F238E27FC236}">
                  <a16:creationId xmlns:a16="http://schemas.microsoft.com/office/drawing/2014/main" id="{012BBAEE-53D9-19E6-6174-5918F5538DA0}"/>
                </a:ext>
              </a:extLst>
            </p:cNvPr>
            <p:cNvSpPr>
              <a:spLocks noChangeArrowheads="1"/>
            </p:cNvSpPr>
            <p:nvPr/>
          </p:nvSpPr>
          <p:spPr bwMode="auto">
            <a:xfrm>
              <a:off x="5366266" y="5623235"/>
              <a:ext cx="4002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U</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79" name="Rectangle 334">
              <a:extLst>
                <a:ext uri="{FF2B5EF4-FFF2-40B4-BE49-F238E27FC236}">
                  <a16:creationId xmlns:a16="http://schemas.microsoft.com/office/drawing/2014/main" id="{CDAC68E6-5075-6319-138B-902B9251A062}"/>
                </a:ext>
              </a:extLst>
            </p:cNvPr>
            <p:cNvSpPr>
              <a:spLocks noChangeArrowheads="1"/>
            </p:cNvSpPr>
            <p:nvPr/>
          </p:nvSpPr>
          <p:spPr bwMode="auto">
            <a:xfrm>
              <a:off x="5428384" y="5689954"/>
              <a:ext cx="3001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80" name="Rectangle 335">
              <a:extLst>
                <a:ext uri="{FF2B5EF4-FFF2-40B4-BE49-F238E27FC236}">
                  <a16:creationId xmlns:a16="http://schemas.microsoft.com/office/drawing/2014/main" id="{C421D493-C02E-C470-6B2C-CEE29851428B}"/>
                </a:ext>
              </a:extLst>
            </p:cNvPr>
            <p:cNvSpPr>
              <a:spLocks noChangeArrowheads="1"/>
            </p:cNvSpPr>
            <p:nvPr/>
          </p:nvSpPr>
          <p:spPr bwMode="auto">
            <a:xfrm>
              <a:off x="5490501" y="5757823"/>
              <a:ext cx="5288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M</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81" name="Rectangle 336">
              <a:extLst>
                <a:ext uri="{FF2B5EF4-FFF2-40B4-BE49-F238E27FC236}">
                  <a16:creationId xmlns:a16="http://schemas.microsoft.com/office/drawing/2014/main" id="{75A964E6-388D-DB90-2DEE-8D91FC252748}"/>
                </a:ext>
              </a:extLst>
            </p:cNvPr>
            <p:cNvSpPr>
              <a:spLocks noChangeArrowheads="1"/>
            </p:cNvSpPr>
            <p:nvPr/>
          </p:nvSpPr>
          <p:spPr bwMode="auto">
            <a:xfrm>
              <a:off x="5583678" y="5824542"/>
              <a:ext cx="3001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I </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82" name="Rectangle 337">
              <a:extLst>
                <a:ext uri="{FF2B5EF4-FFF2-40B4-BE49-F238E27FC236}">
                  <a16:creationId xmlns:a16="http://schemas.microsoft.com/office/drawing/2014/main" id="{4BC36C6D-6522-8FEC-E4F9-7A01070F944C}"/>
                </a:ext>
              </a:extLst>
            </p:cNvPr>
            <p:cNvSpPr>
              <a:spLocks noChangeArrowheads="1"/>
            </p:cNvSpPr>
            <p:nvPr/>
          </p:nvSpPr>
          <p:spPr bwMode="auto">
            <a:xfrm>
              <a:off x="5663049" y="5892411"/>
              <a:ext cx="4002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N</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83" name="Rectangle 338">
              <a:extLst>
                <a:ext uri="{FF2B5EF4-FFF2-40B4-BE49-F238E27FC236}">
                  <a16:creationId xmlns:a16="http://schemas.microsoft.com/office/drawing/2014/main" id="{764FDE7E-09CE-E125-86C1-1F0C1992C889}"/>
                </a:ext>
              </a:extLst>
            </p:cNvPr>
            <p:cNvSpPr>
              <a:spLocks noChangeArrowheads="1"/>
            </p:cNvSpPr>
            <p:nvPr/>
          </p:nvSpPr>
          <p:spPr bwMode="auto">
            <a:xfrm>
              <a:off x="5762096" y="5953260"/>
              <a:ext cx="3001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E</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84" name="Rectangle 339">
              <a:extLst>
                <a:ext uri="{FF2B5EF4-FFF2-40B4-BE49-F238E27FC236}">
                  <a16:creationId xmlns:a16="http://schemas.microsoft.com/office/drawing/2014/main" id="{F38C602D-DC2E-D932-80E4-0AD858145DFF}"/>
                </a:ext>
              </a:extLst>
            </p:cNvPr>
            <p:cNvSpPr>
              <a:spLocks noChangeArrowheads="1"/>
            </p:cNvSpPr>
            <p:nvPr/>
          </p:nvSpPr>
          <p:spPr bwMode="auto">
            <a:xfrm>
              <a:off x="5835555" y="6015259"/>
              <a:ext cx="7146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S   </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85" name="Rectangle 340">
              <a:extLst>
                <a:ext uri="{FF2B5EF4-FFF2-40B4-BE49-F238E27FC236}">
                  <a16:creationId xmlns:a16="http://schemas.microsoft.com/office/drawing/2014/main" id="{A3069AB4-0951-02AC-C317-4A74EBCE0977}"/>
                </a:ext>
              </a:extLst>
            </p:cNvPr>
            <p:cNvSpPr>
              <a:spLocks noChangeArrowheads="1"/>
            </p:cNvSpPr>
            <p:nvPr/>
          </p:nvSpPr>
          <p:spPr bwMode="auto">
            <a:xfrm>
              <a:off x="5326402" y="5294687"/>
              <a:ext cx="278714"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000000"/>
                  </a:solidFill>
                  <a:effectLst/>
                  <a:uLnTx/>
                  <a:uFillTx/>
                  <a:latin typeface="Calibri"/>
                  <a:ea typeface="+mn-ea"/>
                  <a:cs typeface="+mn-cs"/>
                </a:rPr>
                <a:t>ST  BERNARD</a:t>
              </a:r>
            </a:p>
          </p:txBody>
        </p:sp>
        <p:sp>
          <p:nvSpPr>
            <p:cNvPr id="386" name="Rectangle 670">
              <a:extLst>
                <a:ext uri="{FF2B5EF4-FFF2-40B4-BE49-F238E27FC236}">
                  <a16:creationId xmlns:a16="http://schemas.microsoft.com/office/drawing/2014/main" id="{95D521FC-18AB-B04E-08D5-F057061DF45A}"/>
                </a:ext>
              </a:extLst>
            </p:cNvPr>
            <p:cNvSpPr>
              <a:spLocks noChangeArrowheads="1"/>
            </p:cNvSpPr>
            <p:nvPr/>
          </p:nvSpPr>
          <p:spPr bwMode="auto">
            <a:xfrm>
              <a:off x="5145403" y="5352909"/>
              <a:ext cx="3144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P</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87" name="Rectangle 671">
              <a:extLst>
                <a:ext uri="{FF2B5EF4-FFF2-40B4-BE49-F238E27FC236}">
                  <a16:creationId xmlns:a16="http://schemas.microsoft.com/office/drawing/2014/main" id="{521A43EE-D5EB-FF12-44F4-BD76AAC5DA99}"/>
                </a:ext>
              </a:extLst>
            </p:cNvPr>
            <p:cNvSpPr>
              <a:spLocks noChangeArrowheads="1"/>
            </p:cNvSpPr>
            <p:nvPr/>
          </p:nvSpPr>
          <p:spPr bwMode="auto">
            <a:xfrm>
              <a:off x="5193717" y="5420779"/>
              <a:ext cx="25727"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000000"/>
                  </a:solidFill>
                  <a:effectLst/>
                  <a:uLnTx/>
                  <a:uFillTx/>
                  <a:latin typeface="Calibri"/>
                  <a:ea typeface="+mn-ea"/>
                  <a:cs typeface="+mn-cs"/>
                </a:rPr>
                <a:t>L</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88" name="Rectangle 682">
              <a:extLst>
                <a:ext uri="{FF2B5EF4-FFF2-40B4-BE49-F238E27FC236}">
                  <a16:creationId xmlns:a16="http://schemas.microsoft.com/office/drawing/2014/main" id="{1FF6D17A-8187-B894-B1B5-D6882542B390}"/>
                </a:ext>
              </a:extLst>
            </p:cNvPr>
            <p:cNvSpPr>
              <a:spLocks noChangeArrowheads="1"/>
            </p:cNvSpPr>
            <p:nvPr/>
          </p:nvSpPr>
          <p:spPr bwMode="auto">
            <a:xfrm>
              <a:off x="5147704" y="5029667"/>
              <a:ext cx="197243" cy="61746"/>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rgbClr val="000000"/>
                  </a:solidFill>
                  <a:effectLst/>
                  <a:uLnTx/>
                  <a:uFillTx/>
                  <a:latin typeface="Calibri"/>
                  <a:ea typeface="+mn-ea"/>
                  <a:cs typeface="+mn-cs"/>
                </a:rPr>
                <a:t>ORLEANS</a:t>
              </a: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89" name="Freeform 521">
              <a:extLst>
                <a:ext uri="{FF2B5EF4-FFF2-40B4-BE49-F238E27FC236}">
                  <a16:creationId xmlns:a16="http://schemas.microsoft.com/office/drawing/2014/main" id="{713E35DA-517D-70CB-A58F-DE99394ED50F}"/>
                </a:ext>
              </a:extLst>
            </p:cNvPr>
            <p:cNvSpPr>
              <a:spLocks/>
            </p:cNvSpPr>
            <p:nvPr/>
          </p:nvSpPr>
          <p:spPr bwMode="auto">
            <a:xfrm>
              <a:off x="3681897" y="5439474"/>
              <a:ext cx="1021489" cy="779919"/>
            </a:xfrm>
            <a:custGeom>
              <a:avLst/>
              <a:gdLst/>
              <a:ahLst/>
              <a:cxnLst>
                <a:cxn ang="0">
                  <a:pos x="114" y="163"/>
                </a:cxn>
                <a:cxn ang="0">
                  <a:pos x="28" y="326"/>
                </a:cxn>
                <a:cxn ang="0">
                  <a:pos x="85" y="380"/>
                </a:cxn>
                <a:cxn ang="0">
                  <a:pos x="0" y="489"/>
                </a:cxn>
                <a:cxn ang="0">
                  <a:pos x="85" y="571"/>
                </a:cxn>
                <a:cxn ang="0">
                  <a:pos x="200" y="571"/>
                </a:cxn>
                <a:cxn ang="0">
                  <a:pos x="372" y="624"/>
                </a:cxn>
                <a:cxn ang="0">
                  <a:pos x="429" y="678"/>
                </a:cxn>
                <a:cxn ang="0">
                  <a:pos x="630" y="624"/>
                </a:cxn>
                <a:cxn ang="0">
                  <a:pos x="716" y="489"/>
                </a:cxn>
                <a:cxn ang="0">
                  <a:pos x="830" y="435"/>
                </a:cxn>
                <a:cxn ang="0">
                  <a:pos x="888" y="516"/>
                </a:cxn>
                <a:cxn ang="0">
                  <a:pos x="888" y="408"/>
                </a:cxn>
                <a:cxn ang="0">
                  <a:pos x="486" y="0"/>
                </a:cxn>
                <a:cxn ang="0">
                  <a:pos x="458" y="27"/>
                </a:cxn>
                <a:cxn ang="0">
                  <a:pos x="401" y="27"/>
                </a:cxn>
                <a:cxn ang="0">
                  <a:pos x="401" y="55"/>
                </a:cxn>
                <a:cxn ang="0">
                  <a:pos x="286" y="55"/>
                </a:cxn>
                <a:cxn ang="0">
                  <a:pos x="228" y="136"/>
                </a:cxn>
                <a:cxn ang="0">
                  <a:pos x="114" y="163"/>
                </a:cxn>
              </a:cxnLst>
              <a:rect l="0" t="0" r="r" b="b"/>
              <a:pathLst>
                <a:path w="888" h="678">
                  <a:moveTo>
                    <a:pt x="114" y="163"/>
                  </a:moveTo>
                  <a:lnTo>
                    <a:pt x="28" y="326"/>
                  </a:lnTo>
                  <a:lnTo>
                    <a:pt x="85" y="380"/>
                  </a:lnTo>
                  <a:lnTo>
                    <a:pt x="0" y="489"/>
                  </a:lnTo>
                  <a:lnTo>
                    <a:pt x="85" y="571"/>
                  </a:lnTo>
                  <a:lnTo>
                    <a:pt x="200" y="571"/>
                  </a:lnTo>
                  <a:lnTo>
                    <a:pt x="372" y="624"/>
                  </a:lnTo>
                  <a:lnTo>
                    <a:pt x="429" y="678"/>
                  </a:lnTo>
                  <a:lnTo>
                    <a:pt x="630" y="624"/>
                  </a:lnTo>
                  <a:lnTo>
                    <a:pt x="716" y="489"/>
                  </a:lnTo>
                  <a:lnTo>
                    <a:pt x="830" y="435"/>
                  </a:lnTo>
                  <a:lnTo>
                    <a:pt x="888" y="516"/>
                  </a:lnTo>
                  <a:lnTo>
                    <a:pt x="888" y="408"/>
                  </a:lnTo>
                  <a:lnTo>
                    <a:pt x="486" y="0"/>
                  </a:lnTo>
                  <a:lnTo>
                    <a:pt x="458" y="27"/>
                  </a:lnTo>
                  <a:lnTo>
                    <a:pt x="401" y="27"/>
                  </a:lnTo>
                  <a:lnTo>
                    <a:pt x="401" y="55"/>
                  </a:lnTo>
                  <a:lnTo>
                    <a:pt x="286" y="55"/>
                  </a:lnTo>
                  <a:lnTo>
                    <a:pt x="228" y="136"/>
                  </a:lnTo>
                  <a:lnTo>
                    <a:pt x="114" y="163"/>
                  </a:lnTo>
                </a:path>
              </a:pathLst>
            </a:custGeom>
            <a:solidFill>
              <a:srgbClr val="002060"/>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C5C5C5"/>
                </a:solidFill>
                <a:effectLst/>
                <a:uLnTx/>
                <a:uFillTx/>
                <a:latin typeface="Calibri"/>
                <a:ea typeface="+mn-ea"/>
                <a:cs typeface="+mn-cs"/>
              </a:endParaRPr>
            </a:p>
          </p:txBody>
        </p:sp>
        <p:sp>
          <p:nvSpPr>
            <p:cNvPr id="390" name="Freeform 148">
              <a:extLst>
                <a:ext uri="{FF2B5EF4-FFF2-40B4-BE49-F238E27FC236}">
                  <a16:creationId xmlns:a16="http://schemas.microsoft.com/office/drawing/2014/main" id="{0B761425-2A7B-88AC-0077-78A2ECD678B6}"/>
                </a:ext>
              </a:extLst>
            </p:cNvPr>
            <p:cNvSpPr>
              <a:spLocks/>
            </p:cNvSpPr>
            <p:nvPr/>
          </p:nvSpPr>
          <p:spPr bwMode="auto">
            <a:xfrm>
              <a:off x="4368934" y="4785798"/>
              <a:ext cx="394561" cy="501542"/>
            </a:xfrm>
            <a:custGeom>
              <a:avLst/>
              <a:gdLst/>
              <a:ahLst/>
              <a:cxnLst>
                <a:cxn ang="0">
                  <a:pos x="28" y="109"/>
                </a:cxn>
                <a:cxn ang="0">
                  <a:pos x="28" y="164"/>
                </a:cxn>
                <a:cxn ang="0">
                  <a:pos x="0" y="300"/>
                </a:cxn>
                <a:cxn ang="0">
                  <a:pos x="28" y="436"/>
                </a:cxn>
                <a:cxn ang="0">
                  <a:pos x="114" y="436"/>
                </a:cxn>
                <a:cxn ang="0">
                  <a:pos x="114" y="300"/>
                </a:cxn>
                <a:cxn ang="0">
                  <a:pos x="201" y="300"/>
                </a:cxn>
                <a:cxn ang="0">
                  <a:pos x="258" y="245"/>
                </a:cxn>
                <a:cxn ang="0">
                  <a:pos x="229" y="164"/>
                </a:cxn>
                <a:cxn ang="0">
                  <a:pos x="229" y="109"/>
                </a:cxn>
                <a:cxn ang="0">
                  <a:pos x="343" y="27"/>
                </a:cxn>
                <a:cxn ang="0">
                  <a:pos x="258" y="0"/>
                </a:cxn>
                <a:cxn ang="0">
                  <a:pos x="172" y="136"/>
                </a:cxn>
                <a:cxn ang="0">
                  <a:pos x="114" y="136"/>
                </a:cxn>
                <a:cxn ang="0">
                  <a:pos x="86" y="109"/>
                </a:cxn>
                <a:cxn ang="0">
                  <a:pos x="28" y="109"/>
                </a:cxn>
              </a:cxnLst>
              <a:rect l="0" t="0" r="r" b="b"/>
              <a:pathLst>
                <a:path w="343" h="436">
                  <a:moveTo>
                    <a:pt x="28" y="109"/>
                  </a:moveTo>
                  <a:lnTo>
                    <a:pt x="28" y="164"/>
                  </a:lnTo>
                  <a:lnTo>
                    <a:pt x="0" y="300"/>
                  </a:lnTo>
                  <a:lnTo>
                    <a:pt x="28" y="436"/>
                  </a:lnTo>
                  <a:lnTo>
                    <a:pt x="114" y="436"/>
                  </a:lnTo>
                  <a:lnTo>
                    <a:pt x="114" y="300"/>
                  </a:lnTo>
                  <a:lnTo>
                    <a:pt x="201" y="300"/>
                  </a:lnTo>
                  <a:lnTo>
                    <a:pt x="258" y="245"/>
                  </a:lnTo>
                  <a:lnTo>
                    <a:pt x="229" y="164"/>
                  </a:lnTo>
                  <a:lnTo>
                    <a:pt x="229" y="109"/>
                  </a:lnTo>
                  <a:lnTo>
                    <a:pt x="343" y="27"/>
                  </a:lnTo>
                  <a:lnTo>
                    <a:pt x="258" y="0"/>
                  </a:lnTo>
                  <a:lnTo>
                    <a:pt x="172" y="136"/>
                  </a:lnTo>
                  <a:lnTo>
                    <a:pt x="114" y="136"/>
                  </a:lnTo>
                  <a:lnTo>
                    <a:pt x="86" y="109"/>
                  </a:lnTo>
                  <a:lnTo>
                    <a:pt x="28" y="109"/>
                  </a:lnTo>
                  <a:close/>
                </a:path>
              </a:pathLst>
            </a:custGeom>
            <a:solidFill>
              <a:schemeClr val="bg1">
                <a:lumMod val="85000"/>
              </a:schemeClr>
            </a:solidFill>
            <a:ln w="6350">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91" name="Freeform 152">
              <a:extLst>
                <a:ext uri="{FF2B5EF4-FFF2-40B4-BE49-F238E27FC236}">
                  <a16:creationId xmlns:a16="http://schemas.microsoft.com/office/drawing/2014/main" id="{ACF59E69-3C46-3174-DF55-5B18BD54D1E0}"/>
                </a:ext>
              </a:extLst>
            </p:cNvPr>
            <p:cNvSpPr>
              <a:spLocks/>
            </p:cNvSpPr>
            <p:nvPr/>
          </p:nvSpPr>
          <p:spPr bwMode="auto">
            <a:xfrm>
              <a:off x="4039249" y="4971693"/>
              <a:ext cx="364653" cy="311737"/>
            </a:xfrm>
            <a:custGeom>
              <a:avLst/>
              <a:gdLst/>
              <a:ahLst/>
              <a:cxnLst>
                <a:cxn ang="0">
                  <a:pos x="317" y="0"/>
                </a:cxn>
                <a:cxn ang="0">
                  <a:pos x="58" y="54"/>
                </a:cxn>
                <a:cxn ang="0">
                  <a:pos x="0" y="108"/>
                </a:cxn>
                <a:cxn ang="0">
                  <a:pos x="0" y="135"/>
                </a:cxn>
                <a:cxn ang="0">
                  <a:pos x="29" y="135"/>
                </a:cxn>
                <a:cxn ang="0">
                  <a:pos x="29" y="190"/>
                </a:cxn>
                <a:cxn ang="0">
                  <a:pos x="58" y="190"/>
                </a:cxn>
                <a:cxn ang="0">
                  <a:pos x="58" y="244"/>
                </a:cxn>
                <a:cxn ang="0">
                  <a:pos x="87" y="244"/>
                </a:cxn>
                <a:cxn ang="0">
                  <a:pos x="87" y="271"/>
                </a:cxn>
                <a:cxn ang="0">
                  <a:pos x="317" y="271"/>
                </a:cxn>
                <a:cxn ang="0">
                  <a:pos x="288" y="135"/>
                </a:cxn>
                <a:cxn ang="0">
                  <a:pos x="317" y="0"/>
                </a:cxn>
              </a:cxnLst>
              <a:rect l="0" t="0" r="r" b="b"/>
              <a:pathLst>
                <a:path w="317" h="271">
                  <a:moveTo>
                    <a:pt x="317" y="0"/>
                  </a:moveTo>
                  <a:lnTo>
                    <a:pt x="58" y="54"/>
                  </a:lnTo>
                  <a:lnTo>
                    <a:pt x="0" y="108"/>
                  </a:lnTo>
                  <a:lnTo>
                    <a:pt x="0" y="135"/>
                  </a:lnTo>
                  <a:lnTo>
                    <a:pt x="29" y="135"/>
                  </a:lnTo>
                  <a:lnTo>
                    <a:pt x="29" y="190"/>
                  </a:lnTo>
                  <a:lnTo>
                    <a:pt x="58" y="190"/>
                  </a:lnTo>
                  <a:lnTo>
                    <a:pt x="58" y="244"/>
                  </a:lnTo>
                  <a:lnTo>
                    <a:pt x="87" y="244"/>
                  </a:lnTo>
                  <a:lnTo>
                    <a:pt x="87" y="271"/>
                  </a:lnTo>
                  <a:lnTo>
                    <a:pt x="317" y="271"/>
                  </a:lnTo>
                  <a:lnTo>
                    <a:pt x="288" y="135"/>
                  </a:lnTo>
                  <a:lnTo>
                    <a:pt x="317" y="0"/>
                  </a:lnTo>
                </a:path>
              </a:pathLst>
            </a:custGeom>
            <a:solidFill>
              <a:schemeClr val="bg1">
                <a:lumMod val="85000"/>
              </a:schemeClr>
            </a:solidFill>
            <a:ln w="3175"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92" name="Freeform 181">
              <a:extLst>
                <a:ext uri="{FF2B5EF4-FFF2-40B4-BE49-F238E27FC236}">
                  <a16:creationId xmlns:a16="http://schemas.microsoft.com/office/drawing/2014/main" id="{9C51B395-948F-8B89-124E-956F1CBC119A}"/>
                </a:ext>
              </a:extLst>
            </p:cNvPr>
            <p:cNvSpPr>
              <a:spLocks/>
            </p:cNvSpPr>
            <p:nvPr/>
          </p:nvSpPr>
          <p:spPr bwMode="auto">
            <a:xfrm>
              <a:off x="4004283" y="5286189"/>
              <a:ext cx="1089357" cy="935213"/>
            </a:xfrm>
            <a:custGeom>
              <a:avLst/>
              <a:gdLst/>
              <a:ahLst/>
              <a:cxnLst>
                <a:cxn ang="0">
                  <a:pos x="115" y="0"/>
                </a:cxn>
                <a:cxn ang="0">
                  <a:pos x="115" y="26"/>
                </a:cxn>
                <a:cxn ang="0">
                  <a:pos x="86" y="26"/>
                </a:cxn>
                <a:cxn ang="0">
                  <a:pos x="0" y="189"/>
                </a:cxn>
                <a:cxn ang="0">
                  <a:pos x="115" y="189"/>
                </a:cxn>
                <a:cxn ang="0">
                  <a:pos x="115" y="162"/>
                </a:cxn>
                <a:cxn ang="0">
                  <a:pos x="173" y="162"/>
                </a:cxn>
                <a:cxn ang="0">
                  <a:pos x="201" y="135"/>
                </a:cxn>
                <a:cxn ang="0">
                  <a:pos x="603" y="542"/>
                </a:cxn>
                <a:cxn ang="0">
                  <a:pos x="603" y="651"/>
                </a:cxn>
                <a:cxn ang="0">
                  <a:pos x="660" y="597"/>
                </a:cxn>
                <a:cxn ang="0">
                  <a:pos x="746" y="813"/>
                </a:cxn>
                <a:cxn ang="0">
                  <a:pos x="890" y="706"/>
                </a:cxn>
                <a:cxn ang="0">
                  <a:pos x="890" y="624"/>
                </a:cxn>
                <a:cxn ang="0">
                  <a:pos x="947" y="461"/>
                </a:cxn>
                <a:cxn ang="0">
                  <a:pos x="832" y="407"/>
                </a:cxn>
                <a:cxn ang="0">
                  <a:pos x="775" y="325"/>
                </a:cxn>
                <a:cxn ang="0">
                  <a:pos x="804" y="298"/>
                </a:cxn>
                <a:cxn ang="0">
                  <a:pos x="804" y="216"/>
                </a:cxn>
                <a:cxn ang="0">
                  <a:pos x="746" y="189"/>
                </a:cxn>
                <a:cxn ang="0">
                  <a:pos x="603" y="189"/>
                </a:cxn>
                <a:cxn ang="0">
                  <a:pos x="603" y="135"/>
                </a:cxn>
                <a:cxn ang="0">
                  <a:pos x="517" y="107"/>
                </a:cxn>
                <a:cxn ang="0">
                  <a:pos x="489" y="26"/>
                </a:cxn>
                <a:cxn ang="0">
                  <a:pos x="431" y="0"/>
                </a:cxn>
                <a:cxn ang="0">
                  <a:pos x="115" y="0"/>
                </a:cxn>
              </a:cxnLst>
              <a:rect l="0" t="0" r="r" b="b"/>
              <a:pathLst>
                <a:path w="947" h="813">
                  <a:moveTo>
                    <a:pt x="115" y="0"/>
                  </a:moveTo>
                  <a:lnTo>
                    <a:pt x="115" y="26"/>
                  </a:lnTo>
                  <a:lnTo>
                    <a:pt x="86" y="26"/>
                  </a:lnTo>
                  <a:lnTo>
                    <a:pt x="0" y="189"/>
                  </a:lnTo>
                  <a:lnTo>
                    <a:pt x="115" y="189"/>
                  </a:lnTo>
                  <a:lnTo>
                    <a:pt x="115" y="162"/>
                  </a:lnTo>
                  <a:lnTo>
                    <a:pt x="173" y="162"/>
                  </a:lnTo>
                  <a:lnTo>
                    <a:pt x="201" y="135"/>
                  </a:lnTo>
                  <a:lnTo>
                    <a:pt x="603" y="542"/>
                  </a:lnTo>
                  <a:lnTo>
                    <a:pt x="603" y="651"/>
                  </a:lnTo>
                  <a:lnTo>
                    <a:pt x="660" y="597"/>
                  </a:lnTo>
                  <a:lnTo>
                    <a:pt x="746" y="813"/>
                  </a:lnTo>
                  <a:lnTo>
                    <a:pt x="890" y="706"/>
                  </a:lnTo>
                  <a:lnTo>
                    <a:pt x="890" y="624"/>
                  </a:lnTo>
                  <a:lnTo>
                    <a:pt x="947" y="461"/>
                  </a:lnTo>
                  <a:lnTo>
                    <a:pt x="832" y="407"/>
                  </a:lnTo>
                  <a:lnTo>
                    <a:pt x="775" y="325"/>
                  </a:lnTo>
                  <a:lnTo>
                    <a:pt x="804" y="298"/>
                  </a:lnTo>
                  <a:lnTo>
                    <a:pt x="804" y="216"/>
                  </a:lnTo>
                  <a:lnTo>
                    <a:pt x="746" y="189"/>
                  </a:lnTo>
                  <a:lnTo>
                    <a:pt x="603" y="189"/>
                  </a:lnTo>
                  <a:lnTo>
                    <a:pt x="603" y="135"/>
                  </a:lnTo>
                  <a:lnTo>
                    <a:pt x="517" y="107"/>
                  </a:lnTo>
                  <a:lnTo>
                    <a:pt x="489" y="26"/>
                  </a:lnTo>
                  <a:lnTo>
                    <a:pt x="431" y="0"/>
                  </a:lnTo>
                  <a:lnTo>
                    <a:pt x="115" y="0"/>
                  </a:lnTo>
                  <a:close/>
                </a:path>
              </a:pathLst>
            </a:custGeom>
            <a:solidFill>
              <a:schemeClr val="bg1">
                <a:lumMod val="85000"/>
              </a:schemeClr>
            </a:solidFill>
            <a:ln w="6350">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93" name="Freeform 185">
              <a:extLst>
                <a:ext uri="{FF2B5EF4-FFF2-40B4-BE49-F238E27FC236}">
                  <a16:creationId xmlns:a16="http://schemas.microsoft.com/office/drawing/2014/main" id="{99E937CF-00AE-7AF8-37FD-E84C330EB310}"/>
                </a:ext>
              </a:extLst>
            </p:cNvPr>
            <p:cNvSpPr>
              <a:spLocks/>
            </p:cNvSpPr>
            <p:nvPr/>
          </p:nvSpPr>
          <p:spPr bwMode="auto">
            <a:xfrm>
              <a:off x="4501222" y="5066476"/>
              <a:ext cx="395712" cy="438274"/>
            </a:xfrm>
            <a:custGeom>
              <a:avLst/>
              <a:gdLst/>
              <a:ahLst/>
              <a:cxnLst>
                <a:cxn ang="0">
                  <a:pos x="0" y="191"/>
                </a:cxn>
                <a:cxn ang="0">
                  <a:pos x="57" y="217"/>
                </a:cxn>
                <a:cxn ang="0">
                  <a:pos x="86" y="299"/>
                </a:cxn>
                <a:cxn ang="0">
                  <a:pos x="172" y="326"/>
                </a:cxn>
                <a:cxn ang="0">
                  <a:pos x="172" y="381"/>
                </a:cxn>
                <a:cxn ang="0">
                  <a:pos x="315" y="381"/>
                </a:cxn>
                <a:cxn ang="0">
                  <a:pos x="344" y="244"/>
                </a:cxn>
                <a:cxn ang="0">
                  <a:pos x="286" y="217"/>
                </a:cxn>
                <a:cxn ang="0">
                  <a:pos x="258" y="137"/>
                </a:cxn>
                <a:cxn ang="0">
                  <a:pos x="258" y="28"/>
                </a:cxn>
                <a:cxn ang="0">
                  <a:pos x="143" y="0"/>
                </a:cxn>
                <a:cxn ang="0">
                  <a:pos x="86" y="55"/>
                </a:cxn>
                <a:cxn ang="0">
                  <a:pos x="0" y="55"/>
                </a:cxn>
                <a:cxn ang="0">
                  <a:pos x="0" y="191"/>
                </a:cxn>
              </a:cxnLst>
              <a:rect l="0" t="0" r="r" b="b"/>
              <a:pathLst>
                <a:path w="344" h="381">
                  <a:moveTo>
                    <a:pt x="0" y="191"/>
                  </a:moveTo>
                  <a:lnTo>
                    <a:pt x="57" y="217"/>
                  </a:lnTo>
                  <a:lnTo>
                    <a:pt x="86" y="299"/>
                  </a:lnTo>
                  <a:lnTo>
                    <a:pt x="172" y="326"/>
                  </a:lnTo>
                  <a:lnTo>
                    <a:pt x="172" y="381"/>
                  </a:lnTo>
                  <a:lnTo>
                    <a:pt x="315" y="381"/>
                  </a:lnTo>
                  <a:lnTo>
                    <a:pt x="344" y="244"/>
                  </a:lnTo>
                  <a:lnTo>
                    <a:pt x="286" y="217"/>
                  </a:lnTo>
                  <a:lnTo>
                    <a:pt x="258" y="137"/>
                  </a:lnTo>
                  <a:lnTo>
                    <a:pt x="258" y="28"/>
                  </a:lnTo>
                  <a:lnTo>
                    <a:pt x="143" y="0"/>
                  </a:lnTo>
                  <a:lnTo>
                    <a:pt x="86" y="55"/>
                  </a:lnTo>
                  <a:lnTo>
                    <a:pt x="0" y="55"/>
                  </a:lnTo>
                  <a:lnTo>
                    <a:pt x="0" y="191"/>
                  </a:lnTo>
                </a:path>
              </a:pathLst>
            </a:custGeom>
            <a:solidFill>
              <a:srgbClr val="D9D9D9"/>
            </a:solid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394" name="Rectangle 307">
              <a:extLst>
                <a:ext uri="{FF2B5EF4-FFF2-40B4-BE49-F238E27FC236}">
                  <a16:creationId xmlns:a16="http://schemas.microsoft.com/office/drawing/2014/main" id="{BDD8C79C-D622-6CAE-5BED-AA186AA129D1}"/>
                </a:ext>
              </a:extLst>
            </p:cNvPr>
            <p:cNvSpPr>
              <a:spLocks noChangeArrowheads="1"/>
            </p:cNvSpPr>
            <p:nvPr/>
          </p:nvSpPr>
          <p:spPr bwMode="auto">
            <a:xfrm>
              <a:off x="4436804" y="5038868"/>
              <a:ext cx="14007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JOHN</a:t>
              </a: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95" name="Rectangle 310">
              <a:extLst>
                <a:ext uri="{FF2B5EF4-FFF2-40B4-BE49-F238E27FC236}">
                  <a16:creationId xmlns:a16="http://schemas.microsoft.com/office/drawing/2014/main" id="{0A88EE86-C85B-6B7A-C0CB-010915A48783}"/>
                </a:ext>
              </a:extLst>
            </p:cNvPr>
            <p:cNvSpPr>
              <a:spLocks noChangeArrowheads="1"/>
            </p:cNvSpPr>
            <p:nvPr/>
          </p:nvSpPr>
          <p:spPr bwMode="auto">
            <a:xfrm>
              <a:off x="4485118" y="5363261"/>
              <a:ext cx="25727"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L</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96" name="Rectangle 311">
              <a:extLst>
                <a:ext uri="{FF2B5EF4-FFF2-40B4-BE49-F238E27FC236}">
                  <a16:creationId xmlns:a16="http://schemas.microsoft.com/office/drawing/2014/main" id="{F8C8AE0F-20C9-55B7-B49E-B3E7410EC1B5}"/>
                </a:ext>
              </a:extLst>
            </p:cNvPr>
            <p:cNvSpPr>
              <a:spLocks noChangeArrowheads="1"/>
            </p:cNvSpPr>
            <p:nvPr/>
          </p:nvSpPr>
          <p:spPr bwMode="auto">
            <a:xfrm>
              <a:off x="4517326" y="5429979"/>
              <a:ext cx="357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A</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97" name="Rectangle 312">
              <a:extLst>
                <a:ext uri="{FF2B5EF4-FFF2-40B4-BE49-F238E27FC236}">
                  <a16:creationId xmlns:a16="http://schemas.microsoft.com/office/drawing/2014/main" id="{37F5ACD0-590B-C92B-26DA-1376C0BF50F2}"/>
                </a:ext>
              </a:extLst>
            </p:cNvPr>
            <p:cNvSpPr>
              <a:spLocks noChangeArrowheads="1"/>
            </p:cNvSpPr>
            <p:nvPr/>
          </p:nvSpPr>
          <p:spPr bwMode="auto">
            <a:xfrm>
              <a:off x="4578131" y="5497848"/>
              <a:ext cx="2858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F</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98" name="Rectangle 313">
              <a:extLst>
                <a:ext uri="{FF2B5EF4-FFF2-40B4-BE49-F238E27FC236}">
                  <a16:creationId xmlns:a16="http://schemas.microsoft.com/office/drawing/2014/main" id="{19685968-6919-016D-F100-A4545E38998F}"/>
                </a:ext>
              </a:extLst>
            </p:cNvPr>
            <p:cNvSpPr>
              <a:spLocks noChangeArrowheads="1"/>
            </p:cNvSpPr>
            <p:nvPr/>
          </p:nvSpPr>
          <p:spPr bwMode="auto">
            <a:xfrm>
              <a:off x="4610296" y="5564568"/>
              <a:ext cx="4145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O</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399" name="Rectangle 314">
              <a:extLst>
                <a:ext uri="{FF2B5EF4-FFF2-40B4-BE49-F238E27FC236}">
                  <a16:creationId xmlns:a16="http://schemas.microsoft.com/office/drawing/2014/main" id="{B69A529E-C933-0CDF-9B14-EC447D836BD6}"/>
                </a:ext>
              </a:extLst>
            </p:cNvPr>
            <p:cNvSpPr>
              <a:spLocks noChangeArrowheads="1"/>
            </p:cNvSpPr>
            <p:nvPr/>
          </p:nvSpPr>
          <p:spPr bwMode="auto">
            <a:xfrm>
              <a:off x="4657667" y="5632436"/>
              <a:ext cx="4002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U</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00" name="Rectangle 315">
              <a:extLst>
                <a:ext uri="{FF2B5EF4-FFF2-40B4-BE49-F238E27FC236}">
                  <a16:creationId xmlns:a16="http://schemas.microsoft.com/office/drawing/2014/main" id="{B547E51E-2E8F-BD58-4543-6F112A80A392}"/>
                </a:ext>
              </a:extLst>
            </p:cNvPr>
            <p:cNvSpPr>
              <a:spLocks noChangeArrowheads="1"/>
            </p:cNvSpPr>
            <p:nvPr/>
          </p:nvSpPr>
          <p:spPr bwMode="auto">
            <a:xfrm>
              <a:off x="4688528" y="5700306"/>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R</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01" name="Rectangle 316">
              <a:extLst>
                <a:ext uri="{FF2B5EF4-FFF2-40B4-BE49-F238E27FC236}">
                  <a16:creationId xmlns:a16="http://schemas.microsoft.com/office/drawing/2014/main" id="{A4FF9E45-F5E5-6A4D-F138-414C3586906E}"/>
                </a:ext>
              </a:extLst>
            </p:cNvPr>
            <p:cNvSpPr>
              <a:spLocks noChangeArrowheads="1"/>
            </p:cNvSpPr>
            <p:nvPr/>
          </p:nvSpPr>
          <p:spPr bwMode="auto">
            <a:xfrm>
              <a:off x="4736843" y="5767024"/>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C</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02" name="Rectangle 317">
              <a:extLst>
                <a:ext uri="{FF2B5EF4-FFF2-40B4-BE49-F238E27FC236}">
                  <a16:creationId xmlns:a16="http://schemas.microsoft.com/office/drawing/2014/main" id="{E544A135-944F-F728-F89A-2BEC82826072}"/>
                </a:ext>
              </a:extLst>
            </p:cNvPr>
            <p:cNvSpPr>
              <a:spLocks noChangeArrowheads="1"/>
            </p:cNvSpPr>
            <p:nvPr/>
          </p:nvSpPr>
          <p:spPr bwMode="auto">
            <a:xfrm>
              <a:off x="4782855" y="5834892"/>
              <a:ext cx="3859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H</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03" name="Rectangle 318">
              <a:extLst>
                <a:ext uri="{FF2B5EF4-FFF2-40B4-BE49-F238E27FC236}">
                  <a16:creationId xmlns:a16="http://schemas.microsoft.com/office/drawing/2014/main" id="{F113240B-AF36-1950-9642-187D74960803}"/>
                </a:ext>
              </a:extLst>
            </p:cNvPr>
            <p:cNvSpPr>
              <a:spLocks noChangeArrowheads="1"/>
            </p:cNvSpPr>
            <p:nvPr/>
          </p:nvSpPr>
          <p:spPr bwMode="auto">
            <a:xfrm>
              <a:off x="4845170" y="5901612"/>
              <a:ext cx="3001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rgbClr val="FFFFFF"/>
                  </a:solidFill>
                  <a:effectLst/>
                  <a:uLnTx/>
                  <a:uFillTx/>
                  <a:latin typeface="Calibri"/>
                  <a:ea typeface="+mn-ea"/>
                  <a:cs typeface="+mn-cs"/>
                </a:rPr>
                <a:t>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04" name="Rectangle 344">
              <a:extLst>
                <a:ext uri="{FF2B5EF4-FFF2-40B4-BE49-F238E27FC236}">
                  <a16:creationId xmlns:a16="http://schemas.microsoft.com/office/drawing/2014/main" id="{639D43E4-40A4-FEA8-813D-4BF91DFCF589}"/>
                </a:ext>
              </a:extLst>
            </p:cNvPr>
            <p:cNvSpPr>
              <a:spLocks noChangeArrowheads="1"/>
            </p:cNvSpPr>
            <p:nvPr/>
          </p:nvSpPr>
          <p:spPr bwMode="auto">
            <a:xfrm>
              <a:off x="4149284" y="5140076"/>
              <a:ext cx="167229"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JAMES</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grpSp>
          <p:nvGrpSpPr>
            <p:cNvPr id="405" name="Group 510">
              <a:extLst>
                <a:ext uri="{FF2B5EF4-FFF2-40B4-BE49-F238E27FC236}">
                  <a16:creationId xmlns:a16="http://schemas.microsoft.com/office/drawing/2014/main" id="{BDFF86A9-CA58-F1C1-5079-778E499A0590}"/>
                </a:ext>
              </a:extLst>
            </p:cNvPr>
            <p:cNvGrpSpPr>
              <a:grpSpLocks/>
            </p:cNvGrpSpPr>
            <p:nvPr/>
          </p:nvGrpSpPr>
          <p:grpSpPr bwMode="auto">
            <a:xfrm>
              <a:off x="3707498" y="5099836"/>
              <a:ext cx="429072" cy="499240"/>
              <a:chOff x="2818" y="3209"/>
              <a:chExt cx="373" cy="434"/>
            </a:xfrm>
            <a:solidFill>
              <a:schemeClr val="bg1">
                <a:lumMod val="85000"/>
              </a:schemeClr>
            </a:solidFill>
          </p:grpSpPr>
          <p:sp>
            <p:nvSpPr>
              <p:cNvPr id="421" name="Freeform 511">
                <a:extLst>
                  <a:ext uri="{FF2B5EF4-FFF2-40B4-BE49-F238E27FC236}">
                    <a16:creationId xmlns:a16="http://schemas.microsoft.com/office/drawing/2014/main" id="{ED609A9A-464B-AD3C-7818-1C645B87E3B2}"/>
                  </a:ext>
                </a:extLst>
              </p:cNvPr>
              <p:cNvSpPr>
                <a:spLocks/>
              </p:cNvSpPr>
              <p:nvPr/>
            </p:nvSpPr>
            <p:spPr bwMode="auto">
              <a:xfrm>
                <a:off x="2818" y="3209"/>
                <a:ext cx="373" cy="434"/>
              </a:xfrm>
              <a:custGeom>
                <a:avLst/>
                <a:gdLst/>
                <a:ahLst/>
                <a:cxnLst>
                  <a:cxn ang="0">
                    <a:pos x="58" y="27"/>
                  </a:cxn>
                  <a:cxn ang="0">
                    <a:pos x="0" y="108"/>
                  </a:cxn>
                  <a:cxn ang="0">
                    <a:pos x="86" y="216"/>
                  </a:cxn>
                  <a:cxn ang="0">
                    <a:pos x="172" y="243"/>
                  </a:cxn>
                  <a:cxn ang="0">
                    <a:pos x="172" y="351"/>
                  </a:cxn>
                  <a:cxn ang="0">
                    <a:pos x="203" y="434"/>
                  </a:cxn>
                  <a:cxn ang="0">
                    <a:pos x="262" y="352"/>
                  </a:cxn>
                  <a:cxn ang="0">
                    <a:pos x="344" y="189"/>
                  </a:cxn>
                  <a:cxn ang="0">
                    <a:pos x="373" y="189"/>
                  </a:cxn>
                  <a:cxn ang="0">
                    <a:pos x="373" y="135"/>
                  </a:cxn>
                  <a:cxn ang="0">
                    <a:pos x="344" y="135"/>
                  </a:cxn>
                  <a:cxn ang="0">
                    <a:pos x="344" y="81"/>
                  </a:cxn>
                  <a:cxn ang="0">
                    <a:pos x="316" y="81"/>
                  </a:cxn>
                  <a:cxn ang="0">
                    <a:pos x="316" y="27"/>
                  </a:cxn>
                  <a:cxn ang="0">
                    <a:pos x="287" y="27"/>
                  </a:cxn>
                  <a:cxn ang="0">
                    <a:pos x="287" y="0"/>
                  </a:cxn>
                  <a:cxn ang="0">
                    <a:pos x="144" y="0"/>
                  </a:cxn>
                  <a:cxn ang="0">
                    <a:pos x="58" y="27"/>
                  </a:cxn>
                </a:cxnLst>
                <a:rect l="0" t="0" r="r" b="b"/>
                <a:pathLst>
                  <a:path w="373" h="434">
                    <a:moveTo>
                      <a:pt x="58" y="27"/>
                    </a:moveTo>
                    <a:lnTo>
                      <a:pt x="0" y="108"/>
                    </a:lnTo>
                    <a:lnTo>
                      <a:pt x="86" y="216"/>
                    </a:lnTo>
                    <a:lnTo>
                      <a:pt x="172" y="243"/>
                    </a:lnTo>
                    <a:lnTo>
                      <a:pt x="172" y="351"/>
                    </a:lnTo>
                    <a:lnTo>
                      <a:pt x="203" y="434"/>
                    </a:lnTo>
                    <a:lnTo>
                      <a:pt x="262" y="352"/>
                    </a:lnTo>
                    <a:lnTo>
                      <a:pt x="344" y="189"/>
                    </a:lnTo>
                    <a:lnTo>
                      <a:pt x="373" y="189"/>
                    </a:lnTo>
                    <a:lnTo>
                      <a:pt x="373" y="135"/>
                    </a:lnTo>
                    <a:lnTo>
                      <a:pt x="344" y="135"/>
                    </a:lnTo>
                    <a:lnTo>
                      <a:pt x="344" y="81"/>
                    </a:lnTo>
                    <a:lnTo>
                      <a:pt x="316" y="81"/>
                    </a:lnTo>
                    <a:lnTo>
                      <a:pt x="316" y="27"/>
                    </a:lnTo>
                    <a:lnTo>
                      <a:pt x="287" y="27"/>
                    </a:lnTo>
                    <a:lnTo>
                      <a:pt x="287" y="0"/>
                    </a:lnTo>
                    <a:lnTo>
                      <a:pt x="144" y="0"/>
                    </a:lnTo>
                    <a:lnTo>
                      <a:pt x="58" y="27"/>
                    </a:lnTo>
                    <a:close/>
                  </a:path>
                </a:pathLst>
              </a:custGeom>
              <a:grpFill/>
              <a:ln w="9525">
                <a:solidFill>
                  <a:schemeClr val="bg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sp>
            <p:nvSpPr>
              <p:cNvPr id="422" name="Freeform 512">
                <a:extLst>
                  <a:ext uri="{FF2B5EF4-FFF2-40B4-BE49-F238E27FC236}">
                    <a16:creationId xmlns:a16="http://schemas.microsoft.com/office/drawing/2014/main" id="{77E42B0A-70A4-F340-036E-F200421E0196}"/>
                  </a:ext>
                </a:extLst>
              </p:cNvPr>
              <p:cNvSpPr>
                <a:spLocks/>
              </p:cNvSpPr>
              <p:nvPr/>
            </p:nvSpPr>
            <p:spPr bwMode="auto">
              <a:xfrm>
                <a:off x="2818" y="3209"/>
                <a:ext cx="373" cy="434"/>
              </a:xfrm>
              <a:custGeom>
                <a:avLst/>
                <a:gdLst/>
                <a:ahLst/>
                <a:cxnLst>
                  <a:cxn ang="0">
                    <a:pos x="58" y="27"/>
                  </a:cxn>
                  <a:cxn ang="0">
                    <a:pos x="0" y="108"/>
                  </a:cxn>
                  <a:cxn ang="0">
                    <a:pos x="86" y="216"/>
                  </a:cxn>
                  <a:cxn ang="0">
                    <a:pos x="172" y="243"/>
                  </a:cxn>
                  <a:cxn ang="0">
                    <a:pos x="172" y="351"/>
                  </a:cxn>
                  <a:cxn ang="0">
                    <a:pos x="203" y="434"/>
                  </a:cxn>
                  <a:cxn ang="0">
                    <a:pos x="262" y="352"/>
                  </a:cxn>
                  <a:cxn ang="0">
                    <a:pos x="344" y="189"/>
                  </a:cxn>
                  <a:cxn ang="0">
                    <a:pos x="373" y="189"/>
                  </a:cxn>
                  <a:cxn ang="0">
                    <a:pos x="373" y="135"/>
                  </a:cxn>
                  <a:cxn ang="0">
                    <a:pos x="344" y="135"/>
                  </a:cxn>
                  <a:cxn ang="0">
                    <a:pos x="344" y="81"/>
                  </a:cxn>
                  <a:cxn ang="0">
                    <a:pos x="316" y="81"/>
                  </a:cxn>
                  <a:cxn ang="0">
                    <a:pos x="316" y="27"/>
                  </a:cxn>
                  <a:cxn ang="0">
                    <a:pos x="287" y="27"/>
                  </a:cxn>
                  <a:cxn ang="0">
                    <a:pos x="287" y="0"/>
                  </a:cxn>
                  <a:cxn ang="0">
                    <a:pos x="144" y="0"/>
                  </a:cxn>
                  <a:cxn ang="0">
                    <a:pos x="58" y="27"/>
                  </a:cxn>
                </a:cxnLst>
                <a:rect l="0" t="0" r="r" b="b"/>
                <a:pathLst>
                  <a:path w="373" h="434">
                    <a:moveTo>
                      <a:pt x="58" y="27"/>
                    </a:moveTo>
                    <a:lnTo>
                      <a:pt x="0" y="108"/>
                    </a:lnTo>
                    <a:lnTo>
                      <a:pt x="86" y="216"/>
                    </a:lnTo>
                    <a:lnTo>
                      <a:pt x="172" y="243"/>
                    </a:lnTo>
                    <a:lnTo>
                      <a:pt x="172" y="351"/>
                    </a:lnTo>
                    <a:lnTo>
                      <a:pt x="203" y="434"/>
                    </a:lnTo>
                    <a:lnTo>
                      <a:pt x="262" y="352"/>
                    </a:lnTo>
                    <a:lnTo>
                      <a:pt x="344" y="189"/>
                    </a:lnTo>
                    <a:lnTo>
                      <a:pt x="373" y="189"/>
                    </a:lnTo>
                    <a:lnTo>
                      <a:pt x="373" y="135"/>
                    </a:lnTo>
                    <a:lnTo>
                      <a:pt x="344" y="135"/>
                    </a:lnTo>
                    <a:lnTo>
                      <a:pt x="344" y="81"/>
                    </a:lnTo>
                    <a:lnTo>
                      <a:pt x="316" y="81"/>
                    </a:lnTo>
                    <a:lnTo>
                      <a:pt x="316" y="27"/>
                    </a:lnTo>
                    <a:lnTo>
                      <a:pt x="287" y="27"/>
                    </a:lnTo>
                    <a:lnTo>
                      <a:pt x="287" y="0"/>
                    </a:lnTo>
                    <a:lnTo>
                      <a:pt x="144" y="0"/>
                    </a:lnTo>
                    <a:lnTo>
                      <a:pt x="58" y="27"/>
                    </a:lnTo>
                  </a:path>
                </a:pathLst>
              </a:custGeom>
              <a:grpFill/>
              <a:ln w="6350" cap="rnd">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5054" b="0" i="0" u="none" strike="noStrike" kern="1200" cap="none" spc="0" normalizeH="0" baseline="0" noProof="0">
                  <a:ln>
                    <a:noFill/>
                  </a:ln>
                  <a:solidFill>
                    <a:srgbClr val="000000"/>
                  </a:solidFill>
                  <a:effectLst/>
                  <a:uLnTx/>
                  <a:uFillTx/>
                  <a:latin typeface="Calibri"/>
                  <a:ea typeface="+mn-ea"/>
                  <a:cs typeface="+mn-cs"/>
                </a:endParaRPr>
              </a:p>
            </p:txBody>
          </p:sp>
        </p:grpSp>
        <p:sp>
          <p:nvSpPr>
            <p:cNvPr id="406" name="Rectangle 647">
              <a:extLst>
                <a:ext uri="{FF2B5EF4-FFF2-40B4-BE49-F238E27FC236}">
                  <a16:creationId xmlns:a16="http://schemas.microsoft.com/office/drawing/2014/main" id="{6FB8F076-2F60-19C1-ACCB-FF61CA54D222}"/>
                </a:ext>
              </a:extLst>
            </p:cNvPr>
            <p:cNvSpPr>
              <a:spLocks noChangeArrowheads="1"/>
            </p:cNvSpPr>
            <p:nvPr/>
          </p:nvSpPr>
          <p:spPr bwMode="auto">
            <a:xfrm>
              <a:off x="4477353" y="4969727"/>
              <a:ext cx="7432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ST.</a:t>
              </a:r>
              <a:endParaRPr kumimoji="0" lang="en-US" sz="180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endParaRPr>
            </a:p>
          </p:txBody>
        </p:sp>
        <p:sp>
          <p:nvSpPr>
            <p:cNvPr id="407" name="Rectangle 649">
              <a:extLst>
                <a:ext uri="{FF2B5EF4-FFF2-40B4-BE49-F238E27FC236}">
                  <a16:creationId xmlns:a16="http://schemas.microsoft.com/office/drawing/2014/main" id="{71D07810-74B2-BDD9-B660-9C5916D1126C}"/>
                </a:ext>
              </a:extLst>
            </p:cNvPr>
            <p:cNvSpPr>
              <a:spLocks noChangeArrowheads="1"/>
            </p:cNvSpPr>
            <p:nvPr/>
          </p:nvSpPr>
          <p:spPr bwMode="auto">
            <a:xfrm>
              <a:off x="4631379" y="5187776"/>
              <a:ext cx="5860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ST</a:t>
              </a: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08" name="Rectangle 650">
              <a:extLst>
                <a:ext uri="{FF2B5EF4-FFF2-40B4-BE49-F238E27FC236}">
                  <a16:creationId xmlns:a16="http://schemas.microsoft.com/office/drawing/2014/main" id="{535EBF9D-3691-A1E9-BB8C-5CD947379C6A}"/>
                </a:ext>
              </a:extLst>
            </p:cNvPr>
            <p:cNvSpPr>
              <a:spLocks noChangeArrowheads="1"/>
            </p:cNvSpPr>
            <p:nvPr/>
          </p:nvSpPr>
          <p:spPr bwMode="auto">
            <a:xfrm>
              <a:off x="4529464" y="5260764"/>
              <a:ext cx="22440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CHARLES</a:t>
              </a: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09" name="Rectangle 651">
              <a:extLst>
                <a:ext uri="{FF2B5EF4-FFF2-40B4-BE49-F238E27FC236}">
                  <a16:creationId xmlns:a16="http://schemas.microsoft.com/office/drawing/2014/main" id="{0D6C6D4A-952D-5551-2BD9-6C3A5F0A99A8}"/>
                </a:ext>
              </a:extLst>
            </p:cNvPr>
            <p:cNvSpPr>
              <a:spLocks noChangeArrowheads="1"/>
            </p:cNvSpPr>
            <p:nvPr/>
          </p:nvSpPr>
          <p:spPr bwMode="auto">
            <a:xfrm>
              <a:off x="4485118" y="5363261"/>
              <a:ext cx="25727"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L</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10" name="Rectangle 652">
              <a:extLst>
                <a:ext uri="{FF2B5EF4-FFF2-40B4-BE49-F238E27FC236}">
                  <a16:creationId xmlns:a16="http://schemas.microsoft.com/office/drawing/2014/main" id="{0EC578EB-FCB5-5E42-685A-1EA18EB3A6E4}"/>
                </a:ext>
              </a:extLst>
            </p:cNvPr>
            <p:cNvSpPr>
              <a:spLocks noChangeArrowheads="1"/>
            </p:cNvSpPr>
            <p:nvPr/>
          </p:nvSpPr>
          <p:spPr bwMode="auto">
            <a:xfrm>
              <a:off x="4517326" y="5429979"/>
              <a:ext cx="35733"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A</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11" name="Rectangle 653">
              <a:extLst>
                <a:ext uri="{FF2B5EF4-FFF2-40B4-BE49-F238E27FC236}">
                  <a16:creationId xmlns:a16="http://schemas.microsoft.com/office/drawing/2014/main" id="{76097F8D-49CB-FC9F-7236-5B799F6EFF19}"/>
                </a:ext>
              </a:extLst>
            </p:cNvPr>
            <p:cNvSpPr>
              <a:spLocks noChangeArrowheads="1"/>
            </p:cNvSpPr>
            <p:nvPr/>
          </p:nvSpPr>
          <p:spPr bwMode="auto">
            <a:xfrm>
              <a:off x="4578131" y="5497848"/>
              <a:ext cx="2858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F</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12" name="Rectangle 654">
              <a:extLst>
                <a:ext uri="{FF2B5EF4-FFF2-40B4-BE49-F238E27FC236}">
                  <a16:creationId xmlns:a16="http://schemas.microsoft.com/office/drawing/2014/main" id="{9A35F19A-AC63-056E-BA9D-73C1938728D4}"/>
                </a:ext>
              </a:extLst>
            </p:cNvPr>
            <p:cNvSpPr>
              <a:spLocks noChangeArrowheads="1"/>
            </p:cNvSpPr>
            <p:nvPr/>
          </p:nvSpPr>
          <p:spPr bwMode="auto">
            <a:xfrm>
              <a:off x="4610296" y="5564568"/>
              <a:ext cx="41451"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O</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13" name="Rectangle 655">
              <a:extLst>
                <a:ext uri="{FF2B5EF4-FFF2-40B4-BE49-F238E27FC236}">
                  <a16:creationId xmlns:a16="http://schemas.microsoft.com/office/drawing/2014/main" id="{E3323742-88E6-917C-6112-0262F18F66C9}"/>
                </a:ext>
              </a:extLst>
            </p:cNvPr>
            <p:cNvSpPr>
              <a:spLocks noChangeArrowheads="1"/>
            </p:cNvSpPr>
            <p:nvPr/>
          </p:nvSpPr>
          <p:spPr bwMode="auto">
            <a:xfrm>
              <a:off x="4657667" y="5632436"/>
              <a:ext cx="40020"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U</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14" name="Rectangle 656">
              <a:extLst>
                <a:ext uri="{FF2B5EF4-FFF2-40B4-BE49-F238E27FC236}">
                  <a16:creationId xmlns:a16="http://schemas.microsoft.com/office/drawing/2014/main" id="{085B559D-56EB-E6FA-9EC0-7679EB776609}"/>
                </a:ext>
              </a:extLst>
            </p:cNvPr>
            <p:cNvSpPr>
              <a:spLocks noChangeArrowheads="1"/>
            </p:cNvSpPr>
            <p:nvPr/>
          </p:nvSpPr>
          <p:spPr bwMode="auto">
            <a:xfrm>
              <a:off x="4688528" y="5700306"/>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R</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15" name="Rectangle 657">
              <a:extLst>
                <a:ext uri="{FF2B5EF4-FFF2-40B4-BE49-F238E27FC236}">
                  <a16:creationId xmlns:a16="http://schemas.microsoft.com/office/drawing/2014/main" id="{D4EF5B73-0C19-8F10-9186-6EBA1E884A77}"/>
                </a:ext>
              </a:extLst>
            </p:cNvPr>
            <p:cNvSpPr>
              <a:spLocks noChangeArrowheads="1"/>
            </p:cNvSpPr>
            <p:nvPr/>
          </p:nvSpPr>
          <p:spPr bwMode="auto">
            <a:xfrm>
              <a:off x="4736843" y="5767024"/>
              <a:ext cx="32875"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C</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16" name="Rectangle 658">
              <a:extLst>
                <a:ext uri="{FF2B5EF4-FFF2-40B4-BE49-F238E27FC236}">
                  <a16:creationId xmlns:a16="http://schemas.microsoft.com/office/drawing/2014/main" id="{183D483D-B792-4BC6-53DF-DC39A34E6BD0}"/>
                </a:ext>
              </a:extLst>
            </p:cNvPr>
            <p:cNvSpPr>
              <a:spLocks noChangeArrowheads="1"/>
            </p:cNvSpPr>
            <p:nvPr/>
          </p:nvSpPr>
          <p:spPr bwMode="auto">
            <a:xfrm>
              <a:off x="4782855" y="5834892"/>
              <a:ext cx="38592"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H</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17" name="Rectangle 659">
              <a:extLst>
                <a:ext uri="{FF2B5EF4-FFF2-40B4-BE49-F238E27FC236}">
                  <a16:creationId xmlns:a16="http://schemas.microsoft.com/office/drawing/2014/main" id="{05C2F348-EC54-7AE0-EC72-0195F4466BB6}"/>
                </a:ext>
              </a:extLst>
            </p:cNvPr>
            <p:cNvSpPr>
              <a:spLocks noChangeArrowheads="1"/>
            </p:cNvSpPr>
            <p:nvPr/>
          </p:nvSpPr>
          <p:spPr bwMode="auto">
            <a:xfrm>
              <a:off x="4845170" y="5901612"/>
              <a:ext cx="30016" cy="7409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E</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18" name="Rectangle 683">
              <a:extLst>
                <a:ext uri="{FF2B5EF4-FFF2-40B4-BE49-F238E27FC236}">
                  <a16:creationId xmlns:a16="http://schemas.microsoft.com/office/drawing/2014/main" id="{580D84F9-0889-2D54-ACA4-24AC98D70F29}"/>
                </a:ext>
              </a:extLst>
            </p:cNvPr>
            <p:cNvSpPr>
              <a:spLocks noChangeArrowheads="1"/>
            </p:cNvSpPr>
            <p:nvPr/>
          </p:nvSpPr>
          <p:spPr bwMode="auto">
            <a:xfrm>
              <a:off x="3730942" y="5186048"/>
              <a:ext cx="288719" cy="61746"/>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ASSUMPTION</a:t>
              </a:r>
              <a:endParaRPr kumimoji="0" lang="en-US" sz="450" b="0" i="0" u="none" strike="noStrike" kern="1200" cap="none" spc="0" normalizeH="0" baseline="0" noProof="0">
                <a:ln>
                  <a:noFill/>
                </a:ln>
                <a:solidFill>
                  <a:srgbClr val="FFFFFF"/>
                </a:solidFill>
                <a:effectLst/>
                <a:uLnTx/>
                <a:uFillTx/>
                <a:latin typeface="Calibri"/>
                <a:ea typeface="+mn-ea"/>
                <a:cs typeface="+mn-cs"/>
              </a:endParaRPr>
            </a:p>
          </p:txBody>
        </p:sp>
        <p:sp>
          <p:nvSpPr>
            <p:cNvPr id="419" name="Rectangle 684">
              <a:extLst>
                <a:ext uri="{FF2B5EF4-FFF2-40B4-BE49-F238E27FC236}">
                  <a16:creationId xmlns:a16="http://schemas.microsoft.com/office/drawing/2014/main" id="{E9E6BFFA-B01E-7EB5-0790-91466D9E73F3}"/>
                </a:ext>
              </a:extLst>
            </p:cNvPr>
            <p:cNvSpPr>
              <a:spLocks noChangeArrowheads="1"/>
            </p:cNvSpPr>
            <p:nvPr/>
          </p:nvSpPr>
          <p:spPr bwMode="auto">
            <a:xfrm>
              <a:off x="4201598" y="5059572"/>
              <a:ext cx="74323" cy="74095"/>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ST</a:t>
              </a:r>
              <a:r>
                <a:rPr kumimoji="0" lang="en-US" sz="540" b="0" i="0" u="none" strike="noStrike" kern="1200" cap="none" spc="0" normalizeH="0" baseline="0" noProof="0">
                  <a:ln>
                    <a:noFill/>
                  </a:ln>
                  <a:solidFill>
                    <a:srgbClr val="FFFFFF"/>
                  </a:solidFill>
                  <a:effectLst/>
                  <a:uLnTx/>
                  <a:uFillTx/>
                  <a:latin typeface="Calibri"/>
                  <a:ea typeface="+mn-ea"/>
                  <a:cs typeface="+mn-cs"/>
                </a:rPr>
                <a:t>.</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420" name="Rectangle 211">
              <a:extLst>
                <a:ext uri="{FF2B5EF4-FFF2-40B4-BE49-F238E27FC236}">
                  <a16:creationId xmlns:a16="http://schemas.microsoft.com/office/drawing/2014/main" id="{CC6C1920-2214-F008-346B-AC68A9494C53}"/>
                </a:ext>
              </a:extLst>
            </p:cNvPr>
            <p:cNvSpPr>
              <a:spLocks noChangeArrowheads="1"/>
            </p:cNvSpPr>
            <p:nvPr/>
          </p:nvSpPr>
          <p:spPr bwMode="auto">
            <a:xfrm>
              <a:off x="1689361" y="2687059"/>
              <a:ext cx="73295" cy="879535"/>
            </a:xfrm>
            <a:prstGeom prst="rect">
              <a:avLst/>
            </a:prstGeom>
            <a:noFill/>
            <a:ln w="9525">
              <a:noFill/>
              <a:miter lim="800000"/>
              <a:headEnd/>
              <a:tailEnd/>
            </a:ln>
          </p:spPr>
          <p:txBody>
            <a:bodyPr vert="wordArtVert" wrap="non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prstClr val="black"/>
                  </a:solidFill>
                  <a:effectLst/>
                  <a:uLnTx/>
                  <a:uFillTx/>
                  <a:latin typeface="Calibri"/>
                  <a:ea typeface="+mn-ea"/>
                  <a:cs typeface="+mn-cs"/>
                </a:rPr>
                <a:t>NATCHITOCHES</a:t>
              </a:r>
            </a:p>
          </p:txBody>
        </p:sp>
      </p:grpSp>
      <p:sp>
        <p:nvSpPr>
          <p:cNvPr id="750" name="Rectangle 599">
            <a:extLst>
              <a:ext uri="{FF2B5EF4-FFF2-40B4-BE49-F238E27FC236}">
                <a16:creationId xmlns:a16="http://schemas.microsoft.com/office/drawing/2014/main" id="{8FE02973-FCFD-20BA-85EC-A16C2AFF5D7B}"/>
              </a:ext>
            </a:extLst>
          </p:cNvPr>
          <p:cNvSpPr>
            <a:spLocks noChangeArrowheads="1"/>
          </p:cNvSpPr>
          <p:nvPr/>
        </p:nvSpPr>
        <p:spPr bwMode="auto">
          <a:xfrm>
            <a:off x="1552288" y="4144911"/>
            <a:ext cx="176330" cy="83100"/>
          </a:xfrm>
          <a:prstGeom prst="rect">
            <a:avLst/>
          </a:prstGeom>
          <a:solidFill>
            <a:schemeClr val="bg1">
              <a:lumMod val="85000"/>
            </a:schemeClr>
          </a:solidFill>
          <a:ln w="9525">
            <a:solidFill>
              <a:schemeClr val="bg1">
                <a:lumMod val="85000"/>
              </a:schemeClr>
            </a:solid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w="0"/>
                <a:solidFill>
                  <a:prstClr val="black"/>
                </a:solidFill>
                <a:effectLst>
                  <a:outerShdw blurRad="38100" dist="19050" dir="2700000" algn="tl" rotWithShape="0">
                    <a:prstClr val="black">
                      <a:alpha val="40000"/>
                    </a:prstClr>
                  </a:outerShdw>
                </a:effectLst>
                <a:uLnTx/>
                <a:uFillTx/>
                <a:latin typeface="Calibri"/>
                <a:ea typeface="+mn-ea"/>
                <a:cs typeface="+mn-cs"/>
              </a:rPr>
              <a:t>ALLEN</a:t>
            </a:r>
            <a:endParaRPr kumimoji="0" lang="en-US" sz="5054" b="0" i="0" u="none" strike="noStrike" kern="1200" cap="none" spc="0" normalizeH="0" baseline="0" noProof="0">
              <a:ln>
                <a:noFill/>
              </a:ln>
              <a:solidFill>
                <a:srgbClr val="FFFFFF"/>
              </a:solidFill>
              <a:effectLst/>
              <a:uLnTx/>
              <a:uFillTx/>
              <a:latin typeface="Calibri"/>
              <a:ea typeface="+mn-ea"/>
              <a:cs typeface="+mn-cs"/>
            </a:endParaRPr>
          </a:p>
        </p:txBody>
      </p:sp>
      <p:sp>
        <p:nvSpPr>
          <p:cNvPr id="751" name="Rectangle 626">
            <a:extLst>
              <a:ext uri="{FF2B5EF4-FFF2-40B4-BE49-F238E27FC236}">
                <a16:creationId xmlns:a16="http://schemas.microsoft.com/office/drawing/2014/main" id="{C9FE60C5-9C59-64B9-7A7A-9357AA0E1A96}"/>
              </a:ext>
            </a:extLst>
          </p:cNvPr>
          <p:cNvSpPr>
            <a:spLocks noChangeArrowheads="1"/>
          </p:cNvSpPr>
          <p:nvPr/>
        </p:nvSpPr>
        <p:spPr bwMode="auto">
          <a:xfrm>
            <a:off x="3462860" y="5690736"/>
            <a:ext cx="499854" cy="83100"/>
          </a:xfrm>
          <a:prstGeom prst="rect">
            <a:avLst/>
          </a:prstGeom>
          <a:noFill/>
          <a:ln w="9525">
            <a:noFill/>
            <a:miter lim="800000"/>
            <a:headEnd/>
            <a:tailEnd/>
          </a:ln>
        </p:spPr>
        <p:txBody>
          <a:bodyPr wrap="squar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540" b="0" i="0" u="none" strike="noStrike" kern="1200" cap="none" spc="0" normalizeH="0" baseline="0" noProof="0">
                <a:ln>
                  <a:noFill/>
                </a:ln>
                <a:solidFill>
                  <a:schemeClr val="bg1"/>
                </a:solidFill>
                <a:effectLst/>
                <a:uLnTx/>
                <a:uFillTx/>
                <a:latin typeface="Calibri"/>
                <a:ea typeface="+mn-ea"/>
                <a:cs typeface="+mn-cs"/>
              </a:rPr>
              <a:t>TERREBONNE</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752" name="TextBox 751">
            <a:extLst>
              <a:ext uri="{FF2B5EF4-FFF2-40B4-BE49-F238E27FC236}">
                <a16:creationId xmlns:a16="http://schemas.microsoft.com/office/drawing/2014/main" id="{7C75F4EA-2EE4-5C9D-AD36-0F7DDED80ECE}"/>
              </a:ext>
            </a:extLst>
          </p:cNvPr>
          <p:cNvSpPr txBox="1"/>
          <p:nvPr/>
        </p:nvSpPr>
        <p:spPr>
          <a:xfrm>
            <a:off x="6573409" y="1064176"/>
            <a:ext cx="4633872" cy="815608"/>
          </a:xfrm>
          <a:prstGeom prst="rect">
            <a:avLst/>
          </a:prstGeom>
          <a:noFill/>
        </p:spPr>
        <p:txBody>
          <a:bodyPr wrap="square" lIns="0" tIns="0" rIns="0" bIns="0" rtlCol="0">
            <a:spAutoFit/>
          </a:bodyPr>
          <a:lstStyle/>
          <a:p>
            <a:pPr algn="ctr">
              <a:spcBef>
                <a:spcPts val="600"/>
              </a:spcBef>
              <a:buSzPct val="100000"/>
            </a:pPr>
            <a:r>
              <a:rPr lang="en-US" sz="2400" b="1" i="1">
                <a:solidFill>
                  <a:srgbClr val="313131"/>
                </a:solidFill>
                <a:latin typeface="Open Sans" panose="020B0606030504020204" pitchFamily="34" charset="0"/>
                <a:ea typeface="Open Sans" panose="020B0606030504020204" pitchFamily="34" charset="0"/>
                <a:cs typeface="Open Sans" panose="020B0606030504020204" pitchFamily="34" charset="0"/>
              </a:rPr>
              <a:t>Community Disaster </a:t>
            </a:r>
          </a:p>
          <a:p>
            <a:pPr algn="ctr">
              <a:spcBef>
                <a:spcPts val="600"/>
              </a:spcBef>
              <a:buSzPct val="100000"/>
            </a:pPr>
            <a:r>
              <a:rPr lang="en-US" sz="2400" b="1" i="1">
                <a:solidFill>
                  <a:srgbClr val="313131"/>
                </a:solidFill>
                <a:latin typeface="Open Sans" panose="020B0606030504020204" pitchFamily="34" charset="0"/>
                <a:ea typeface="Open Sans" panose="020B0606030504020204" pitchFamily="34" charset="0"/>
                <a:cs typeface="Open Sans" panose="020B0606030504020204" pitchFamily="34" charset="0"/>
              </a:rPr>
              <a:t>Resilience Zones (CDRZ)</a:t>
            </a:r>
          </a:p>
        </p:txBody>
      </p:sp>
      <p:sp>
        <p:nvSpPr>
          <p:cNvPr id="753" name="TextBox 752">
            <a:extLst>
              <a:ext uri="{FF2B5EF4-FFF2-40B4-BE49-F238E27FC236}">
                <a16:creationId xmlns:a16="http://schemas.microsoft.com/office/drawing/2014/main" id="{2DE8F54E-9B71-F70B-EADD-5B19AA053EB7}"/>
              </a:ext>
            </a:extLst>
          </p:cNvPr>
          <p:cNvSpPr txBox="1"/>
          <p:nvPr/>
        </p:nvSpPr>
        <p:spPr>
          <a:xfrm>
            <a:off x="6611503" y="2174553"/>
            <a:ext cx="4682505" cy="4108817"/>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dirty="0">
                <a:solidFill>
                  <a:srgbClr val="313131"/>
                </a:solidFill>
                <a:latin typeface="Open Sans" panose="020B0606030504020204" pitchFamily="34" charset="0"/>
                <a:ea typeface="Open Sans" panose="020B0606030504020204" pitchFamily="34" charset="0"/>
                <a:cs typeface="Open Sans" panose="020B0606030504020204" pitchFamily="34" charset="0"/>
              </a:rPr>
              <a:t>Louisiana has 6 parishes named as Community Disaster Resilience Zones by the Federal Emergency Management Agency (FEMA).</a:t>
            </a:r>
          </a:p>
          <a:p>
            <a:pPr marL="203200" indent="-203200">
              <a:spcBef>
                <a:spcPts val="600"/>
              </a:spcBef>
              <a:buSzPct val="100000"/>
              <a:buFont typeface="Arial"/>
              <a:buChar char="•"/>
            </a:pPr>
            <a:r>
              <a:rPr lang="en-US" dirty="0">
                <a:solidFill>
                  <a:srgbClr val="313131"/>
                </a:solidFill>
                <a:latin typeface="Open Sans" panose="020B0606030504020204" pitchFamily="34" charset="0"/>
                <a:ea typeface="Open Sans" panose="020B0606030504020204" pitchFamily="34" charset="0"/>
                <a:cs typeface="Open Sans" panose="020B0606030504020204" pitchFamily="34" charset="0"/>
              </a:rPr>
              <a:t>The designates zones that can receive priority federal funding for building resilience.</a:t>
            </a:r>
          </a:p>
          <a:p>
            <a:pPr marL="203200" indent="-203200">
              <a:spcBef>
                <a:spcPts val="600"/>
              </a:spcBef>
              <a:buSzPct val="100000"/>
              <a:buFont typeface="Arial"/>
              <a:buChar char="•"/>
            </a:pPr>
            <a:r>
              <a:rPr lang="en-US" dirty="0">
                <a:solidFill>
                  <a:srgbClr val="313131"/>
                </a:solidFill>
                <a:latin typeface="Open Sans" panose="020B0606030504020204" pitchFamily="34" charset="0"/>
                <a:ea typeface="Open Sans" panose="020B0606030504020204" pitchFamily="34" charset="0"/>
                <a:cs typeface="Open Sans" panose="020B0606030504020204" pitchFamily="34" charset="0"/>
              </a:rPr>
              <a:t>These areas have access to technical assistance from FEMA.</a:t>
            </a:r>
          </a:p>
          <a:p>
            <a:pPr>
              <a:spcBef>
                <a:spcPts val="600"/>
              </a:spcBef>
              <a:buSzPct val="100000"/>
            </a:pPr>
            <a:r>
              <a:rPr lang="en-US" i="1" dirty="0">
                <a:solidFill>
                  <a:srgbClr val="002060"/>
                </a:solidFill>
                <a:latin typeface="Open Sans" panose="020B0606030504020204" pitchFamily="34" charset="0"/>
                <a:ea typeface="Open Sans" panose="020B0606030504020204" pitchFamily="34" charset="0"/>
                <a:cs typeface="Open Sans" panose="020B0606030504020204" pitchFamily="34" charset="0"/>
              </a:rPr>
              <a:t>Beyond these areas, the CRO recognizes the need to both support our coastal area as well as communities that previously have not been include in resilience efforts. This can only be achieved through collaboration.</a:t>
            </a:r>
            <a:endParaRPr lang="en-US" i="1" dirty="0">
              <a:solidFill>
                <a:srgbClr val="002060"/>
              </a:solidFill>
            </a:endParaRPr>
          </a:p>
        </p:txBody>
      </p:sp>
      <p:sp>
        <p:nvSpPr>
          <p:cNvPr id="755" name="Rectangle 754">
            <a:extLst>
              <a:ext uri="{FF2B5EF4-FFF2-40B4-BE49-F238E27FC236}">
                <a16:creationId xmlns:a16="http://schemas.microsoft.com/office/drawing/2014/main" id="{EEE783B5-E933-4D1F-17FF-380568D0790D}"/>
              </a:ext>
            </a:extLst>
          </p:cNvPr>
          <p:cNvSpPr/>
          <p:nvPr/>
        </p:nvSpPr>
        <p:spPr bwMode="gray">
          <a:xfrm>
            <a:off x="3693055" y="2556417"/>
            <a:ext cx="1975104" cy="548303"/>
          </a:xfrm>
          <a:prstGeom prst="rect">
            <a:avLst/>
          </a:prstGeom>
          <a:solidFill>
            <a:srgbClr val="002060"/>
          </a:solidFill>
          <a:ln w="19050" algn="ctr">
            <a:solidFill>
              <a:srgbClr val="002060"/>
            </a:solidFill>
            <a:miter lim="800000"/>
            <a:headEnd/>
            <a:tailEnd/>
          </a:ln>
        </p:spPr>
        <p:txBody>
          <a:bodyPr wrap="square" lIns="26670" tIns="26670" rIns="26670" bIns="2667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0" cap="none" spc="0" normalizeH="0" baseline="0" noProof="0">
                <a:ln>
                  <a:noFill/>
                </a:ln>
                <a:solidFill>
                  <a:prstClr val="white"/>
                </a:solidFill>
                <a:effectLst/>
                <a:uLnTx/>
                <a:uFillTx/>
              </a:rPr>
              <a:t>Parishes containing Community Disaster Resilience Zone (CDRZ) areas </a:t>
            </a:r>
          </a:p>
        </p:txBody>
      </p:sp>
      <p:sp>
        <p:nvSpPr>
          <p:cNvPr id="757" name="Rectangle 325">
            <a:extLst>
              <a:ext uri="{FF2B5EF4-FFF2-40B4-BE49-F238E27FC236}">
                <a16:creationId xmlns:a16="http://schemas.microsoft.com/office/drawing/2014/main" id="{4A3372DD-19C3-E56E-FF78-C3F8DCA51464}"/>
              </a:ext>
            </a:extLst>
          </p:cNvPr>
          <p:cNvSpPr>
            <a:spLocks noChangeArrowheads="1"/>
          </p:cNvSpPr>
          <p:nvPr/>
        </p:nvSpPr>
        <p:spPr bwMode="auto">
          <a:xfrm>
            <a:off x="4405438" y="5404904"/>
            <a:ext cx="367099" cy="69250"/>
          </a:xfrm>
          <a:prstGeom prst="rect">
            <a:avLst/>
          </a:prstGeom>
          <a:noFill/>
          <a:ln w="9525">
            <a:noFill/>
            <a:miter lim="800000"/>
            <a:headEnd/>
            <a:tailEnd/>
          </a:ln>
        </p:spPr>
        <p:txBody>
          <a:bodyPr wrap="squar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50" b="0" i="0" u="none" strike="noStrike" kern="1200" cap="none" spc="0" normalizeH="0" baseline="0" noProof="0">
                <a:ln>
                  <a:noFill/>
                </a:ln>
                <a:solidFill>
                  <a:schemeClr val="bg1"/>
                </a:solidFill>
                <a:effectLst/>
                <a:uLnTx/>
                <a:uFillTx/>
                <a:latin typeface="Calibri"/>
                <a:ea typeface="+mn-ea"/>
                <a:cs typeface="+mn-cs"/>
              </a:rPr>
              <a:t>R</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
        <p:nvSpPr>
          <p:cNvPr id="758" name="Rectangle 325">
            <a:extLst>
              <a:ext uri="{FF2B5EF4-FFF2-40B4-BE49-F238E27FC236}">
                <a16:creationId xmlns:a16="http://schemas.microsoft.com/office/drawing/2014/main" id="{FADDFB67-106B-72F2-C428-438BE40AF81A}"/>
              </a:ext>
            </a:extLst>
          </p:cNvPr>
          <p:cNvSpPr>
            <a:spLocks noChangeArrowheads="1"/>
          </p:cNvSpPr>
          <p:nvPr/>
        </p:nvSpPr>
        <p:spPr bwMode="auto">
          <a:xfrm flipH="1">
            <a:off x="4423752" y="5471549"/>
            <a:ext cx="678817" cy="69250"/>
          </a:xfrm>
          <a:prstGeom prst="rect">
            <a:avLst/>
          </a:prstGeom>
          <a:noFill/>
          <a:ln w="9525">
            <a:noFill/>
            <a:miter lim="800000"/>
            <a:headEnd/>
            <a:tailEnd/>
          </a:ln>
        </p:spPr>
        <p:txBody>
          <a:bodyPr wrap="squar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450">
                <a:solidFill>
                  <a:schemeClr val="bg1"/>
                </a:solidFill>
                <a:latin typeface="Calibri"/>
              </a:rPr>
              <a:t>S</a:t>
            </a:r>
            <a:endParaRPr kumimoji="0" lang="en-US" sz="5054" b="0" i="0" u="none" strike="noStrike" kern="1200" cap="none" spc="0" normalizeH="0" baseline="0" noProof="0">
              <a:ln>
                <a:noFill/>
              </a:ln>
              <a:solidFill>
                <a:schemeClr val="bg1"/>
              </a:solidFill>
              <a:effectLst/>
              <a:uLnTx/>
              <a:uFillTx/>
              <a:latin typeface="Calibri"/>
              <a:ea typeface="+mn-ea"/>
              <a:cs typeface="+mn-cs"/>
            </a:endParaRPr>
          </a:p>
        </p:txBody>
      </p:sp>
    </p:spTree>
    <p:extLst>
      <p:ext uri="{BB962C8B-B14F-4D97-AF65-F5344CB8AC3E}">
        <p14:creationId xmlns:p14="http://schemas.microsoft.com/office/powerpoint/2010/main" val="117882209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Upcoming Funding Opportunities </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27" name="Rectangle 26">
            <a:extLst>
              <a:ext uri="{FF2B5EF4-FFF2-40B4-BE49-F238E27FC236}">
                <a16:creationId xmlns:a16="http://schemas.microsoft.com/office/drawing/2014/main" id="{951F85AB-F5D8-F263-07F3-2A70B1AD4149}"/>
              </a:ext>
            </a:extLst>
          </p:cNvPr>
          <p:cNvSpPr/>
          <p:nvPr/>
        </p:nvSpPr>
        <p:spPr bwMode="gray">
          <a:xfrm>
            <a:off x="433973" y="1586928"/>
            <a:ext cx="4700357" cy="456448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Rectangle 27">
            <a:extLst>
              <a:ext uri="{FF2B5EF4-FFF2-40B4-BE49-F238E27FC236}">
                <a16:creationId xmlns:a16="http://schemas.microsoft.com/office/drawing/2014/main" id="{964963DC-99CE-E276-F37C-B5B39DDFA1DE}"/>
              </a:ext>
            </a:extLst>
          </p:cNvPr>
          <p:cNvSpPr/>
          <p:nvPr/>
        </p:nvSpPr>
        <p:spPr>
          <a:xfrm>
            <a:off x="580857" y="1341283"/>
            <a:ext cx="4377439" cy="369332"/>
          </a:xfrm>
          <a:prstGeom prst="rect">
            <a:avLst/>
          </a:prstGeom>
          <a:solidFill>
            <a:srgbClr val="1F325C"/>
          </a:solid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a:ln>
                  <a:noFill/>
                </a:ln>
                <a:solidFill>
                  <a:schemeClr val="bg1"/>
                </a:solidFill>
                <a:effectLst/>
                <a:uLnTx/>
                <a:uFillTx/>
                <a:latin typeface="Open Sans"/>
                <a:ea typeface="+mn-ea"/>
                <a:cs typeface="+mn-cs"/>
              </a:rPr>
              <a:t>STORM Program </a:t>
            </a:r>
          </a:p>
        </p:txBody>
      </p:sp>
      <p:sp>
        <p:nvSpPr>
          <p:cNvPr id="29" name="TextBox 28">
            <a:extLst>
              <a:ext uri="{FF2B5EF4-FFF2-40B4-BE49-F238E27FC236}">
                <a16:creationId xmlns:a16="http://schemas.microsoft.com/office/drawing/2014/main" id="{32E12EC7-CFD2-1F33-ABF5-75414CAA7665}"/>
              </a:ext>
            </a:extLst>
          </p:cNvPr>
          <p:cNvSpPr txBox="1"/>
          <p:nvPr/>
        </p:nvSpPr>
        <p:spPr>
          <a:xfrm>
            <a:off x="698729" y="1799532"/>
            <a:ext cx="4141694" cy="492443"/>
          </a:xfrm>
          <a:prstGeom prst="rect">
            <a:avLst/>
          </a:prstGeom>
          <a:noFill/>
        </p:spPr>
        <p:txBody>
          <a:bodyPr wrap="square" lIns="0" tIns="0" rIns="0" bIns="0" rtlCol="0">
            <a:spAutoFit/>
          </a:bodyPr>
          <a:lstStyle/>
          <a:p>
            <a:pPr algn="ctr">
              <a:spcBef>
                <a:spcPts val="600"/>
              </a:spcBef>
              <a:buSzPct val="100000"/>
            </a:pPr>
            <a:r>
              <a:rPr lang="en-US" sz="1600" b="1" i="1">
                <a:solidFill>
                  <a:srgbClr val="313131"/>
                </a:solidFill>
                <a:latin typeface="Open Sans" panose="020B0606030504020204" pitchFamily="34" charset="0"/>
                <a:ea typeface="Open Sans" panose="020B0606030504020204" pitchFamily="34" charset="0"/>
                <a:cs typeface="Open Sans" panose="020B0606030504020204" pitchFamily="34" charset="0"/>
              </a:rPr>
              <a:t>Safeguarding Tomorrow Revolving Loan Fund Program</a:t>
            </a:r>
          </a:p>
        </p:txBody>
      </p:sp>
      <p:sp>
        <p:nvSpPr>
          <p:cNvPr id="31" name="TextBox 30">
            <a:extLst>
              <a:ext uri="{FF2B5EF4-FFF2-40B4-BE49-F238E27FC236}">
                <a16:creationId xmlns:a16="http://schemas.microsoft.com/office/drawing/2014/main" id="{EB706ADD-81C9-1946-E6AB-345F6627B626}"/>
              </a:ext>
            </a:extLst>
          </p:cNvPr>
          <p:cNvSpPr txBox="1"/>
          <p:nvPr/>
        </p:nvSpPr>
        <p:spPr>
          <a:xfrm>
            <a:off x="580857" y="2371108"/>
            <a:ext cx="4377439" cy="3631763"/>
          </a:xfrm>
          <a:prstGeom prst="rect">
            <a:avLst/>
          </a:prstGeom>
          <a:noFill/>
        </p:spPr>
        <p:txBody>
          <a:bodyPr wrap="square" lIns="0" tIns="0" rIns="0" bIns="0" rtlCol="0">
            <a:spAutoFit/>
          </a:bodyPr>
          <a:lstStyle/>
          <a:p>
            <a:pPr>
              <a:spcBef>
                <a:spcPts val="600"/>
              </a:spcBef>
              <a:buSzPct val="100000"/>
            </a:pPr>
            <a:r>
              <a:rPr lang="en-US">
                <a:solidFill>
                  <a:srgbClr val="313131"/>
                </a:solidFill>
              </a:rPr>
              <a:t>GOHSEP invites Louisiana’s local governments to submit mitigation project proposals for the Safeguarding Tomorrow through Ongoing Risk Mitigation (STORM) Revolving Loan Fund (RLF) Program. Project proposals are due to GOHSEP by April 5, 2024.</a:t>
            </a:r>
          </a:p>
          <a:p>
            <a:pPr>
              <a:spcBef>
                <a:spcPts val="600"/>
              </a:spcBef>
              <a:buSzPct val="100000"/>
            </a:pPr>
            <a:endParaRPr lang="en-US">
              <a:solidFill>
                <a:srgbClr val="313131"/>
              </a:solidFill>
            </a:endParaRPr>
          </a:p>
          <a:p>
            <a:pPr>
              <a:spcBef>
                <a:spcPts val="600"/>
              </a:spcBef>
              <a:buSzPct val="100000"/>
            </a:pPr>
            <a:r>
              <a:rPr lang="en-US">
                <a:solidFill>
                  <a:srgbClr val="313131"/>
                </a:solidFill>
              </a:rPr>
              <a:t>While FEMA is still passing down the funds from last year, the new funding round is open with a larger poll of funding.</a:t>
            </a:r>
          </a:p>
          <a:p>
            <a:pPr>
              <a:spcBef>
                <a:spcPts val="600"/>
              </a:spcBef>
              <a:buSzPct val="100000"/>
            </a:pPr>
            <a:endParaRPr lang="en-US">
              <a:solidFill>
                <a:srgbClr val="313131"/>
              </a:solidFill>
            </a:endParaRPr>
          </a:p>
          <a:p>
            <a:pPr>
              <a:spcBef>
                <a:spcPts val="600"/>
              </a:spcBef>
              <a:buSzPct val="100000"/>
            </a:pPr>
            <a:r>
              <a:rPr lang="en-US">
                <a:hlinkClick r:id="rId3"/>
              </a:rPr>
              <a:t>NEWS (la.gov)</a:t>
            </a:r>
            <a:endParaRPr lang="en-US">
              <a:solidFill>
                <a:srgbClr val="313131"/>
              </a:solidFill>
            </a:endParaRPr>
          </a:p>
        </p:txBody>
      </p:sp>
      <p:cxnSp>
        <p:nvCxnSpPr>
          <p:cNvPr id="32" name="Straight Arrow Connector 31">
            <a:extLst>
              <a:ext uri="{FF2B5EF4-FFF2-40B4-BE49-F238E27FC236}">
                <a16:creationId xmlns:a16="http://schemas.microsoft.com/office/drawing/2014/main" id="{FA823C05-7123-8847-9962-AA674DC7B06C}"/>
              </a:ext>
            </a:extLst>
          </p:cNvPr>
          <p:cNvCxnSpPr>
            <a:cxnSpLocks/>
          </p:cNvCxnSpPr>
          <p:nvPr/>
        </p:nvCxnSpPr>
        <p:spPr>
          <a:xfrm flipV="1">
            <a:off x="5406532" y="1624894"/>
            <a:ext cx="0" cy="4913066"/>
          </a:xfrm>
          <a:prstGeom prst="straightConnector1">
            <a:avLst/>
          </a:prstGeom>
          <a:ln w="19050">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Flowchart: Process 32">
            <a:extLst>
              <a:ext uri="{FF2B5EF4-FFF2-40B4-BE49-F238E27FC236}">
                <a16:creationId xmlns:a16="http://schemas.microsoft.com/office/drawing/2014/main" id="{DD02EB88-10A7-2649-4D19-7CAC925A3239}"/>
              </a:ext>
            </a:extLst>
          </p:cNvPr>
          <p:cNvSpPr/>
          <p:nvPr/>
        </p:nvSpPr>
        <p:spPr>
          <a:xfrm>
            <a:off x="6169944" y="1295195"/>
            <a:ext cx="2542209" cy="1628707"/>
          </a:xfrm>
          <a:prstGeom prst="flowChartProcess">
            <a:avLst/>
          </a:prstGeom>
          <a:solidFill>
            <a:srgbClr val="F4FEF8"/>
          </a:solidFill>
          <a:ln w="12700" cap="flat" cmpd="sng" algn="ctr">
            <a:solidFill>
              <a:srgbClr val="53802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38022"/>
                </a:solidFill>
                <a:effectLst/>
                <a:uLnTx/>
                <a:uFillTx/>
                <a:latin typeface="Open Sans" panose="020B0606030504020204" pitchFamily="34" charset="0"/>
                <a:ea typeface="Open Sans" panose="020B0606030504020204" pitchFamily="34" charset="0"/>
                <a:cs typeface="Open Sans" panose="020B0606030504020204" pitchFamily="34" charset="0"/>
              </a:rPr>
              <a:t>Available Funding: $150M in Grants </a:t>
            </a:r>
          </a:p>
        </p:txBody>
      </p:sp>
      <p:sp>
        <p:nvSpPr>
          <p:cNvPr id="34" name="Flowchart: Process 33">
            <a:extLst>
              <a:ext uri="{FF2B5EF4-FFF2-40B4-BE49-F238E27FC236}">
                <a16:creationId xmlns:a16="http://schemas.microsoft.com/office/drawing/2014/main" id="{71802489-B215-8544-7773-EAA911B7B988}"/>
              </a:ext>
            </a:extLst>
          </p:cNvPr>
          <p:cNvSpPr/>
          <p:nvPr/>
        </p:nvSpPr>
        <p:spPr>
          <a:xfrm>
            <a:off x="8893586" y="1294433"/>
            <a:ext cx="2542208" cy="1628707"/>
          </a:xfrm>
          <a:prstGeom prst="flowChartProcess">
            <a:avLst/>
          </a:prstGeom>
          <a:solidFill>
            <a:srgbClr val="4A66AC">
              <a:lumMod val="20000"/>
              <a:lumOff val="80000"/>
            </a:srgbClr>
          </a:solidFill>
          <a:ln w="12700" cap="flat" cmpd="sng" algn="ctr">
            <a:solidFill>
              <a:srgbClr val="00206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a:solidFill>
                  <a:srgbClr val="002060"/>
                </a:solidFill>
                <a:latin typeface="Open Sans" panose="020B0606030504020204" pitchFamily="34" charset="0"/>
                <a:ea typeface="Open Sans" panose="020B0606030504020204" pitchFamily="34" charset="0"/>
                <a:cs typeface="Open Sans" panose="020B0606030504020204" pitchFamily="34" charset="0"/>
              </a:rPr>
              <a:t>Applications Due: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a:solidFill>
                  <a:srgbClr val="002060"/>
                </a:solidFill>
                <a:latin typeface="Open Sans" panose="020B0606030504020204" pitchFamily="34" charset="0"/>
                <a:ea typeface="Open Sans" panose="020B0606030504020204" pitchFamily="34" charset="0"/>
                <a:cs typeface="Open Sans" panose="020B0606030504020204" pitchFamily="34" charset="0"/>
              </a:rPr>
              <a:t>April 5</a:t>
            </a:r>
            <a:r>
              <a:rPr lang="en-US" sz="1600" b="1" kern="0" baseline="30000">
                <a:solidFill>
                  <a:srgbClr val="002060"/>
                </a:solidFill>
                <a:latin typeface="Open Sans" panose="020B0606030504020204" pitchFamily="34" charset="0"/>
                <a:ea typeface="Open Sans" panose="020B0606030504020204" pitchFamily="34" charset="0"/>
                <a:cs typeface="Open Sans" panose="020B0606030504020204" pitchFamily="34" charset="0"/>
              </a:rPr>
              <a:t>th</a:t>
            </a:r>
            <a:r>
              <a:rPr lang="en-US" sz="1600" b="1" kern="0">
                <a:solidFill>
                  <a:srgbClr val="002060"/>
                </a:solidFill>
                <a:latin typeface="Open Sans" panose="020B0606030504020204" pitchFamily="34" charset="0"/>
                <a:ea typeface="Open Sans" panose="020B0606030504020204" pitchFamily="34" charset="0"/>
                <a:cs typeface="Open Sans" panose="020B0606030504020204" pitchFamily="34" charset="0"/>
              </a:rPr>
              <a:t>, 2024</a:t>
            </a:r>
            <a:endParaRPr kumimoji="0" lang="en-US" sz="1600" b="1" i="0" u="none" strike="noStrike" kern="0" cap="none" spc="0" normalizeH="0" baseline="0" noProof="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6" name="Flowchart: Process 35">
            <a:extLst>
              <a:ext uri="{FF2B5EF4-FFF2-40B4-BE49-F238E27FC236}">
                <a16:creationId xmlns:a16="http://schemas.microsoft.com/office/drawing/2014/main" id="{87F3AF39-4122-0934-5A58-E2EF9BF993DC}"/>
              </a:ext>
            </a:extLst>
          </p:cNvPr>
          <p:cNvSpPr/>
          <p:nvPr/>
        </p:nvSpPr>
        <p:spPr>
          <a:xfrm>
            <a:off x="6169944" y="3071469"/>
            <a:ext cx="2542209" cy="1628707"/>
          </a:xfrm>
          <a:prstGeom prst="flowChartProcess">
            <a:avLst/>
          </a:prstGeom>
          <a:solidFill>
            <a:srgbClr val="297FD5">
              <a:lumMod val="20000"/>
              <a:lumOff val="80000"/>
            </a:srgbClr>
          </a:solidFill>
          <a:ln w="12700" cap="flat" cmpd="sng" algn="ctr">
            <a:solidFill>
              <a:srgbClr val="297FD5">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297FD5">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rPr>
              <a:t>Past LA Performance:</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a:solidFill>
                  <a:srgbClr val="297FD5">
                    <a:lumMod val="50000"/>
                  </a:srgbClr>
                </a:solidFill>
                <a:latin typeface="Open Sans" panose="020B0606030504020204" pitchFamily="34" charset="0"/>
                <a:ea typeface="Open Sans" panose="020B0606030504020204" pitchFamily="34" charset="0"/>
                <a:cs typeface="Open Sans" panose="020B0606030504020204" pitchFamily="34" charset="0"/>
              </a:rPr>
              <a:t>GOHSEP received $6.9M in 2023 from a $50M award pool</a:t>
            </a:r>
          </a:p>
        </p:txBody>
      </p:sp>
      <p:sp>
        <p:nvSpPr>
          <p:cNvPr id="37" name="Flowchart: Process 36">
            <a:extLst>
              <a:ext uri="{FF2B5EF4-FFF2-40B4-BE49-F238E27FC236}">
                <a16:creationId xmlns:a16="http://schemas.microsoft.com/office/drawing/2014/main" id="{E62F30DA-C592-3DE4-C591-4D5153B15F14}"/>
              </a:ext>
            </a:extLst>
          </p:cNvPr>
          <p:cNvSpPr/>
          <p:nvPr/>
        </p:nvSpPr>
        <p:spPr>
          <a:xfrm>
            <a:off x="8893586" y="3071469"/>
            <a:ext cx="2542209" cy="1628707"/>
          </a:xfrm>
          <a:prstGeom prst="flowChartProcess">
            <a:avLst/>
          </a:prstGeom>
          <a:solidFill>
            <a:schemeClr val="bg1">
              <a:lumMod val="85000"/>
            </a:schemeClr>
          </a:solidFill>
          <a:ln w="12700" cap="flat" cmpd="sng" algn="ctr">
            <a:solidFill>
              <a:schemeClr val="tx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rPr>
              <a:t>LA’s Award:</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a:latin typeface="Open Sans" panose="020B0606030504020204" pitchFamily="34" charset="0"/>
                <a:ea typeface="Open Sans" panose="020B0606030504020204" pitchFamily="34" charset="0"/>
                <a:cs typeface="Open Sans" panose="020B0606030504020204" pitchFamily="34" charset="0"/>
              </a:rPr>
              <a:t>Largest STORM award in the nation</a:t>
            </a:r>
            <a:endParaRPr kumimoji="0" lang="en-US" sz="1600" b="1" i="0" u="none" strike="noStrike" kern="0" cap="none" spc="0" normalizeH="0" baseline="0" noProof="0">
              <a:ln>
                <a:noFill/>
              </a:ln>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297FD5">
                  <a:lumMod val="50000"/>
                </a:srgb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8" name="Diagram 37">
            <a:extLst>
              <a:ext uri="{FF2B5EF4-FFF2-40B4-BE49-F238E27FC236}">
                <a16:creationId xmlns:a16="http://schemas.microsoft.com/office/drawing/2014/main" id="{C7231D0F-9977-F3EC-0082-FF653E77CB43}"/>
              </a:ext>
            </a:extLst>
          </p:cNvPr>
          <p:cNvGraphicFramePr/>
          <p:nvPr>
            <p:extLst>
              <p:ext uri="{D42A27DB-BD31-4B8C-83A1-F6EECF244321}">
                <p14:modId xmlns:p14="http://schemas.microsoft.com/office/powerpoint/2010/main" val="618651162"/>
              </p:ext>
            </p:extLst>
          </p:nvPr>
        </p:nvGraphicFramePr>
        <p:xfrm>
          <a:off x="6413864" y="6466395"/>
          <a:ext cx="5778136" cy="2005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194" name="Picture 2" descr="Image">
            <a:extLst>
              <a:ext uri="{FF2B5EF4-FFF2-40B4-BE49-F238E27FC236}">
                <a16:creationId xmlns:a16="http://schemas.microsoft.com/office/drawing/2014/main" id="{6C85843B-49EC-09B4-A39E-3A805F3DA16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97531" y="4989960"/>
            <a:ext cx="862456" cy="111785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FF18C60-8244-0CD6-FB90-CAA13B87C49F}"/>
              </a:ext>
            </a:extLst>
          </p:cNvPr>
          <p:cNvSpPr txBox="1"/>
          <p:nvPr/>
        </p:nvSpPr>
        <p:spPr>
          <a:xfrm>
            <a:off x="5841232" y="5004983"/>
            <a:ext cx="6104708" cy="923330"/>
          </a:xfrm>
          <a:prstGeom prst="rect">
            <a:avLst/>
          </a:prstGeom>
          <a:noFill/>
        </p:spPr>
        <p:txBody>
          <a:bodyPr wrap="square">
            <a:spAutoFit/>
          </a:bodyPr>
          <a:lstStyle/>
          <a:p>
            <a:pPr algn="ctr">
              <a:spcBef>
                <a:spcPts val="600"/>
              </a:spcBef>
              <a:buSzPct val="100000"/>
            </a:pPr>
            <a:r>
              <a:rPr lang="en-US" i="1">
                <a:solidFill>
                  <a:srgbClr val="002060"/>
                </a:solidFill>
              </a:rPr>
              <a:t>To build on the success of receiving the largest award in the nation last year, we encourage eligible applicants to submit their proposed projects. </a:t>
            </a:r>
          </a:p>
        </p:txBody>
      </p:sp>
    </p:spTree>
    <p:extLst>
      <p:ext uri="{BB962C8B-B14F-4D97-AF65-F5344CB8AC3E}">
        <p14:creationId xmlns:p14="http://schemas.microsoft.com/office/powerpoint/2010/main" val="333883833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E3BF8E55-984B-F1C0-DCE8-042BEE2A56BB}"/>
              </a:ext>
            </a:extLst>
          </p:cNvPr>
          <p:cNvSpPr/>
          <p:nvPr/>
        </p:nvSpPr>
        <p:spPr bwMode="gray">
          <a:xfrm>
            <a:off x="8475932" y="1586928"/>
            <a:ext cx="3496612" cy="456448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8" name="Rectangle 27">
            <a:extLst>
              <a:ext uri="{FF2B5EF4-FFF2-40B4-BE49-F238E27FC236}">
                <a16:creationId xmlns:a16="http://schemas.microsoft.com/office/drawing/2014/main" id="{2A20B085-85C8-A019-AD28-C7CA05DE3749}"/>
              </a:ext>
            </a:extLst>
          </p:cNvPr>
          <p:cNvSpPr/>
          <p:nvPr/>
        </p:nvSpPr>
        <p:spPr bwMode="gray">
          <a:xfrm>
            <a:off x="4409224" y="1586928"/>
            <a:ext cx="3496612" cy="456448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FFCA5EB0-4BE7-0755-42D5-1730DA6A2A2F}"/>
              </a:ext>
            </a:extLst>
          </p:cNvPr>
          <p:cNvSpPr/>
          <p:nvPr/>
        </p:nvSpPr>
        <p:spPr bwMode="gray">
          <a:xfrm>
            <a:off x="433974" y="1586928"/>
            <a:ext cx="3496612" cy="456448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Upcoming Funding Opportunities </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2" name="Rectangle 1">
            <a:extLst>
              <a:ext uri="{FF2B5EF4-FFF2-40B4-BE49-F238E27FC236}">
                <a16:creationId xmlns:a16="http://schemas.microsoft.com/office/drawing/2014/main" id="{4D67893C-BF1E-0FA7-43D5-FD17DC870198}"/>
              </a:ext>
            </a:extLst>
          </p:cNvPr>
          <p:cNvSpPr/>
          <p:nvPr/>
        </p:nvSpPr>
        <p:spPr>
          <a:xfrm>
            <a:off x="580858" y="1341283"/>
            <a:ext cx="3202844" cy="369332"/>
          </a:xfrm>
          <a:prstGeom prst="rect">
            <a:avLst/>
          </a:prstGeom>
          <a:solidFill>
            <a:srgbClr val="1F325C"/>
          </a:solid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a:ln>
                  <a:noFill/>
                </a:ln>
                <a:solidFill>
                  <a:schemeClr val="bg1"/>
                </a:solidFill>
                <a:effectLst/>
                <a:uLnTx/>
                <a:uFillTx/>
                <a:latin typeface="Open Sans"/>
                <a:ea typeface="+mn-ea"/>
                <a:cs typeface="+mn-cs"/>
              </a:rPr>
              <a:t>PROTECT </a:t>
            </a:r>
          </a:p>
        </p:txBody>
      </p:sp>
      <p:cxnSp>
        <p:nvCxnSpPr>
          <p:cNvPr id="9" name="Straight Arrow Connector 8">
            <a:extLst>
              <a:ext uri="{FF2B5EF4-FFF2-40B4-BE49-F238E27FC236}">
                <a16:creationId xmlns:a16="http://schemas.microsoft.com/office/drawing/2014/main" id="{70923073-FAE8-034F-99CD-AAACB762A37F}"/>
              </a:ext>
            </a:extLst>
          </p:cNvPr>
          <p:cNvCxnSpPr>
            <a:cxnSpLocks/>
          </p:cNvCxnSpPr>
          <p:nvPr/>
        </p:nvCxnSpPr>
        <p:spPr>
          <a:xfrm flipV="1">
            <a:off x="4159623" y="1341283"/>
            <a:ext cx="0" cy="4913066"/>
          </a:xfrm>
          <a:prstGeom prst="straightConnector1">
            <a:avLst/>
          </a:prstGeom>
          <a:ln w="19050">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9B7E5E6-21EC-0584-7B80-3A26366EA146}"/>
              </a:ext>
            </a:extLst>
          </p:cNvPr>
          <p:cNvSpPr/>
          <p:nvPr/>
        </p:nvSpPr>
        <p:spPr>
          <a:xfrm>
            <a:off x="4534948" y="1341283"/>
            <a:ext cx="3202844" cy="369332"/>
          </a:xfrm>
          <a:prstGeom prst="rect">
            <a:avLst/>
          </a:prstGeom>
          <a:solidFill>
            <a:srgbClr val="1F325C"/>
          </a:solid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i="1">
                <a:solidFill>
                  <a:schemeClr val="bg1"/>
                </a:solidFill>
                <a:latin typeface="Open Sans"/>
              </a:rPr>
              <a:t>NCRF Program</a:t>
            </a:r>
          </a:p>
        </p:txBody>
      </p:sp>
      <p:cxnSp>
        <p:nvCxnSpPr>
          <p:cNvPr id="18" name="Straight Arrow Connector 17">
            <a:extLst>
              <a:ext uri="{FF2B5EF4-FFF2-40B4-BE49-F238E27FC236}">
                <a16:creationId xmlns:a16="http://schemas.microsoft.com/office/drawing/2014/main" id="{0CFD6F5E-8E01-227C-C25C-3E6A7D83808C}"/>
              </a:ext>
            </a:extLst>
          </p:cNvPr>
          <p:cNvCxnSpPr>
            <a:cxnSpLocks/>
          </p:cNvCxnSpPr>
          <p:nvPr/>
        </p:nvCxnSpPr>
        <p:spPr>
          <a:xfrm flipV="1">
            <a:off x="8155437" y="1341283"/>
            <a:ext cx="0" cy="4913066"/>
          </a:xfrm>
          <a:prstGeom prst="straightConnector1">
            <a:avLst/>
          </a:prstGeom>
          <a:ln w="19050">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E0FDC12-3CD7-D36D-DB8A-FF44AB2436BA}"/>
              </a:ext>
            </a:extLst>
          </p:cNvPr>
          <p:cNvSpPr/>
          <p:nvPr/>
        </p:nvSpPr>
        <p:spPr bwMode="gray">
          <a:xfrm>
            <a:off x="15708856" y="4716864"/>
            <a:ext cx="209208" cy="779462"/>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Rectangle 19">
            <a:extLst>
              <a:ext uri="{FF2B5EF4-FFF2-40B4-BE49-F238E27FC236}">
                <a16:creationId xmlns:a16="http://schemas.microsoft.com/office/drawing/2014/main" id="{91C6DE48-FDFB-419D-B084-277F54FCB3CF}"/>
              </a:ext>
            </a:extLst>
          </p:cNvPr>
          <p:cNvSpPr/>
          <p:nvPr/>
        </p:nvSpPr>
        <p:spPr>
          <a:xfrm>
            <a:off x="8596804" y="1341283"/>
            <a:ext cx="3202844" cy="369332"/>
          </a:xfrm>
          <a:prstGeom prst="rect">
            <a:avLst/>
          </a:prstGeom>
          <a:solidFill>
            <a:srgbClr val="1F325C"/>
          </a:solid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i="1">
                <a:solidFill>
                  <a:schemeClr val="bg1"/>
                </a:solidFill>
                <a:latin typeface="Open Sans"/>
              </a:rPr>
              <a:t>BRIC &amp; FMA</a:t>
            </a:r>
            <a:r>
              <a:rPr kumimoji="0" lang="en-US" b="1" i="1" u="none" strike="noStrike" kern="1200" cap="none" spc="0" normalizeH="0" baseline="0" noProof="0">
                <a:ln>
                  <a:noFill/>
                </a:ln>
                <a:solidFill>
                  <a:schemeClr val="bg1"/>
                </a:solidFill>
                <a:effectLst/>
                <a:uLnTx/>
                <a:uFillTx/>
                <a:latin typeface="Open Sans"/>
                <a:ea typeface="+mn-ea"/>
                <a:cs typeface="+mn-cs"/>
              </a:rPr>
              <a:t> </a:t>
            </a:r>
          </a:p>
        </p:txBody>
      </p:sp>
      <p:sp>
        <p:nvSpPr>
          <p:cNvPr id="21" name="TextBox 20">
            <a:extLst>
              <a:ext uri="{FF2B5EF4-FFF2-40B4-BE49-F238E27FC236}">
                <a16:creationId xmlns:a16="http://schemas.microsoft.com/office/drawing/2014/main" id="{2EDBD4AA-1A1E-EBD6-FA6E-45C1A0B153EF}"/>
              </a:ext>
            </a:extLst>
          </p:cNvPr>
          <p:cNvSpPr txBox="1"/>
          <p:nvPr/>
        </p:nvSpPr>
        <p:spPr>
          <a:xfrm>
            <a:off x="580858" y="1794571"/>
            <a:ext cx="3238103" cy="984885"/>
          </a:xfrm>
          <a:prstGeom prst="rect">
            <a:avLst/>
          </a:prstGeom>
          <a:noFill/>
        </p:spPr>
        <p:txBody>
          <a:bodyPr wrap="square" lIns="0" tIns="0" rIns="0" bIns="0" rtlCol="0">
            <a:spAutoFit/>
          </a:bodyPr>
          <a:lstStyle/>
          <a:p>
            <a:pPr algn="ctr">
              <a:spcBef>
                <a:spcPts val="600"/>
              </a:spcBef>
              <a:buSzPct val="100000"/>
            </a:pPr>
            <a:r>
              <a:rPr lang="en-US" sz="1600" b="1" i="1">
                <a:solidFill>
                  <a:srgbClr val="313131"/>
                </a:solidFill>
                <a:latin typeface="Open Sans" panose="020B0606030504020204" pitchFamily="34" charset="0"/>
                <a:ea typeface="Open Sans" panose="020B0606030504020204" pitchFamily="34" charset="0"/>
                <a:cs typeface="Open Sans" panose="020B0606030504020204" pitchFamily="34" charset="0"/>
              </a:rPr>
              <a:t>Promoting Resilient Operations for Transformative, Efficient, and Cost-saving Transportation Program</a:t>
            </a:r>
          </a:p>
        </p:txBody>
      </p:sp>
      <p:sp>
        <p:nvSpPr>
          <p:cNvPr id="22" name="TextBox 21">
            <a:extLst>
              <a:ext uri="{FF2B5EF4-FFF2-40B4-BE49-F238E27FC236}">
                <a16:creationId xmlns:a16="http://schemas.microsoft.com/office/drawing/2014/main" id="{7B311946-B020-92C7-CED2-8DB34CF82C29}"/>
              </a:ext>
            </a:extLst>
          </p:cNvPr>
          <p:cNvSpPr txBox="1"/>
          <p:nvPr/>
        </p:nvSpPr>
        <p:spPr>
          <a:xfrm>
            <a:off x="4475968" y="1794571"/>
            <a:ext cx="3238103" cy="492443"/>
          </a:xfrm>
          <a:prstGeom prst="rect">
            <a:avLst/>
          </a:prstGeom>
          <a:noFill/>
        </p:spPr>
        <p:txBody>
          <a:bodyPr wrap="square" lIns="0" tIns="0" rIns="0" bIns="0" rtlCol="0">
            <a:spAutoFit/>
          </a:bodyPr>
          <a:lstStyle/>
          <a:p>
            <a:pPr algn="ctr">
              <a:spcBef>
                <a:spcPts val="600"/>
              </a:spcBef>
              <a:buSzPct val="100000"/>
            </a:pPr>
            <a:r>
              <a:rPr lang="en-US" sz="1600" b="1" i="1">
                <a:solidFill>
                  <a:srgbClr val="313131"/>
                </a:solidFill>
                <a:latin typeface="Open Sans" panose="020B0606030504020204" pitchFamily="34" charset="0"/>
                <a:ea typeface="Open Sans" panose="020B0606030504020204" pitchFamily="34" charset="0"/>
                <a:cs typeface="Open Sans" panose="020B0606030504020204" pitchFamily="34" charset="0"/>
              </a:rPr>
              <a:t>Building Resilient Infrastructure and Communities Program</a:t>
            </a:r>
          </a:p>
        </p:txBody>
      </p:sp>
      <p:sp>
        <p:nvSpPr>
          <p:cNvPr id="23" name="TextBox 22">
            <a:extLst>
              <a:ext uri="{FF2B5EF4-FFF2-40B4-BE49-F238E27FC236}">
                <a16:creationId xmlns:a16="http://schemas.microsoft.com/office/drawing/2014/main" id="{05DD824B-4D0B-B2AE-9696-A30FCFF0E121}"/>
              </a:ext>
            </a:extLst>
          </p:cNvPr>
          <p:cNvSpPr txBox="1"/>
          <p:nvPr/>
        </p:nvSpPr>
        <p:spPr>
          <a:xfrm>
            <a:off x="8513131" y="1781792"/>
            <a:ext cx="3238103" cy="1061829"/>
          </a:xfrm>
          <a:prstGeom prst="rect">
            <a:avLst/>
          </a:prstGeom>
          <a:noFill/>
        </p:spPr>
        <p:txBody>
          <a:bodyPr wrap="square" lIns="0" tIns="0" rIns="0" bIns="0" rtlCol="0">
            <a:spAutoFit/>
          </a:bodyPr>
          <a:lstStyle/>
          <a:p>
            <a:pPr algn="ctr">
              <a:spcBef>
                <a:spcPts val="600"/>
              </a:spcBef>
              <a:buSzPct val="100000"/>
            </a:pPr>
            <a:r>
              <a:rPr lang="en-US" sz="1600" b="1" i="1">
                <a:solidFill>
                  <a:srgbClr val="313131"/>
                </a:solidFill>
                <a:latin typeface="Open Sans" panose="020B0606030504020204" pitchFamily="34" charset="0"/>
                <a:ea typeface="Open Sans" panose="020B0606030504020204" pitchFamily="34" charset="0"/>
                <a:cs typeface="Open Sans" panose="020B0606030504020204" pitchFamily="34" charset="0"/>
              </a:rPr>
              <a:t>Building Resilient Infrastructure and Communities Program</a:t>
            </a:r>
          </a:p>
          <a:p>
            <a:pPr algn="ctr">
              <a:spcBef>
                <a:spcPts val="600"/>
              </a:spcBef>
              <a:buSzPct val="100000"/>
            </a:pPr>
            <a:r>
              <a:rPr lang="en-US" sz="1600" b="1" i="1">
                <a:solidFill>
                  <a:srgbClr val="313131"/>
                </a:solidFill>
                <a:latin typeface="Open Sans" panose="020B0606030504020204" pitchFamily="34" charset="0"/>
                <a:ea typeface="Open Sans" panose="020B0606030504020204" pitchFamily="34" charset="0"/>
                <a:cs typeface="Open Sans" panose="020B0606030504020204" pitchFamily="34" charset="0"/>
              </a:rPr>
              <a:t>Flood Mitigation Assistance Program </a:t>
            </a:r>
          </a:p>
        </p:txBody>
      </p:sp>
      <p:sp>
        <p:nvSpPr>
          <p:cNvPr id="24" name="TextBox 23">
            <a:extLst>
              <a:ext uri="{FF2B5EF4-FFF2-40B4-BE49-F238E27FC236}">
                <a16:creationId xmlns:a16="http://schemas.microsoft.com/office/drawing/2014/main" id="{78D91BA0-686A-73BE-6481-B021DC9751BD}"/>
              </a:ext>
            </a:extLst>
          </p:cNvPr>
          <p:cNvSpPr txBox="1"/>
          <p:nvPr/>
        </p:nvSpPr>
        <p:spPr>
          <a:xfrm>
            <a:off x="645459" y="2914344"/>
            <a:ext cx="3173502" cy="3093154"/>
          </a:xfrm>
          <a:prstGeom prst="rect">
            <a:avLst/>
          </a:prstGeom>
          <a:noFill/>
        </p:spPr>
        <p:txBody>
          <a:bodyPr wrap="square" lIns="0" tIns="0" rIns="0" bIns="0" rtlCol="0">
            <a:spAutoFit/>
          </a:bodyPr>
          <a:lstStyle/>
          <a:p>
            <a:pPr marL="285750" indent="-285750">
              <a:spcBef>
                <a:spcPts val="600"/>
              </a:spcBef>
              <a:buSzPct val="100000"/>
              <a:buFont typeface="Arial" panose="020B0604020202020204" pitchFamily="34" charset="0"/>
              <a:buChar char="•"/>
            </a:pPr>
            <a:r>
              <a:rPr lang="en-US" sz="1600">
                <a:latin typeface="Open Sans" panose="020B0606030504020204" pitchFamily="34" charset="0"/>
                <a:ea typeface="Open Sans" panose="020B0606030504020204" pitchFamily="34" charset="0"/>
                <a:cs typeface="Open Sans" panose="020B0606030504020204" pitchFamily="34" charset="0"/>
              </a:rPr>
              <a:t>Offers $3.01B in formula funding over the next two years. LA has received $79.1M in formula funds from 2022-2024. </a:t>
            </a:r>
          </a:p>
          <a:p>
            <a:pPr marL="285750" indent="-285750">
              <a:spcBef>
                <a:spcPts val="600"/>
              </a:spcBef>
              <a:buSzPct val="100000"/>
              <a:buFont typeface="Arial" panose="020B0604020202020204" pitchFamily="34" charset="0"/>
              <a:buChar char="•"/>
            </a:pPr>
            <a:r>
              <a:rPr lang="en-US" sz="1600">
                <a:latin typeface="Open Sans" panose="020B0606030504020204" pitchFamily="34" charset="0"/>
                <a:ea typeface="Open Sans" panose="020B0606030504020204" pitchFamily="34" charset="0"/>
                <a:cs typeface="Open Sans" panose="020B0606030504020204" pitchFamily="34" charset="0"/>
              </a:rPr>
              <a:t>Awaiting application date.</a:t>
            </a:r>
          </a:p>
          <a:p>
            <a:pPr marL="285750" indent="-285750">
              <a:spcBef>
                <a:spcPts val="600"/>
              </a:spcBef>
              <a:buSzPct val="100000"/>
              <a:buFont typeface="Arial" panose="020B0604020202020204" pitchFamily="34" charset="0"/>
              <a:buChar char="•"/>
            </a:pPr>
            <a:r>
              <a:rPr lang="en-US" sz="1600">
                <a:solidFill>
                  <a:srgbClr val="313131"/>
                </a:solidFill>
                <a:latin typeface="Open Sans" panose="020B0606030504020204" pitchFamily="34" charset="0"/>
                <a:ea typeface="Open Sans" panose="020B0606030504020204" pitchFamily="34" charset="0"/>
                <a:cs typeface="Open Sans" panose="020B0606030504020204" pitchFamily="34" charset="0"/>
              </a:rPr>
              <a:t>Eligible Entities:</a:t>
            </a:r>
          </a:p>
          <a:p>
            <a:pPr marL="742950" lvl="1" indent="-285750">
              <a:spcBef>
                <a:spcPts val="600"/>
              </a:spcBef>
              <a:buSzPct val="100000"/>
              <a:buFont typeface="Arial" panose="020B0604020202020204" pitchFamily="34" charset="0"/>
              <a:buChar char="•"/>
            </a:pPr>
            <a:r>
              <a:rPr lang="en-US" sz="1600">
                <a:solidFill>
                  <a:srgbClr val="313131"/>
                </a:solidFill>
                <a:latin typeface="Open Sans" panose="020B0606030504020204" pitchFamily="34" charset="0"/>
                <a:ea typeface="Open Sans" panose="020B0606030504020204" pitchFamily="34" charset="0"/>
                <a:cs typeface="Open Sans" panose="020B0606030504020204" pitchFamily="34" charset="0"/>
              </a:rPr>
              <a:t>States</a:t>
            </a:r>
          </a:p>
          <a:p>
            <a:pPr marL="742950" lvl="1" indent="-285750">
              <a:spcBef>
                <a:spcPts val="600"/>
              </a:spcBef>
              <a:buSzPct val="100000"/>
              <a:buFont typeface="Arial" panose="020B0604020202020204" pitchFamily="34" charset="0"/>
              <a:buChar char="•"/>
            </a:pPr>
            <a:r>
              <a:rPr lang="en-US" sz="1600">
                <a:solidFill>
                  <a:srgbClr val="313131"/>
                </a:solidFill>
                <a:latin typeface="Open Sans" panose="020B0606030504020204" pitchFamily="34" charset="0"/>
                <a:ea typeface="Open Sans" panose="020B0606030504020204" pitchFamily="34" charset="0"/>
                <a:cs typeface="Open Sans" panose="020B0606030504020204" pitchFamily="34" charset="0"/>
              </a:rPr>
              <a:t>Local and Tribal governments</a:t>
            </a:r>
          </a:p>
          <a:p>
            <a:pPr marL="742950" lvl="1" indent="-285750">
              <a:spcBef>
                <a:spcPts val="600"/>
              </a:spcBef>
              <a:buSzPct val="100000"/>
              <a:buFont typeface="Arial" panose="020B0604020202020204" pitchFamily="34" charset="0"/>
              <a:buChar char="•"/>
            </a:pPr>
            <a:r>
              <a:rPr lang="en-US" sz="1600">
                <a:solidFill>
                  <a:srgbClr val="313131"/>
                </a:solidFill>
                <a:latin typeface="Open Sans" panose="020B0606030504020204" pitchFamily="34" charset="0"/>
                <a:ea typeface="Open Sans" panose="020B0606030504020204" pitchFamily="34" charset="0"/>
                <a:cs typeface="Open Sans" panose="020B0606030504020204" pitchFamily="34" charset="0"/>
              </a:rPr>
              <a:t>Planning organizations</a:t>
            </a:r>
            <a:endParaRPr lang="en-US" sz="1600">
              <a:solidFill>
                <a:srgbClr val="313131"/>
              </a:solidFill>
            </a:endParaRPr>
          </a:p>
        </p:txBody>
      </p:sp>
      <p:sp>
        <p:nvSpPr>
          <p:cNvPr id="25" name="TextBox 24">
            <a:extLst>
              <a:ext uri="{FF2B5EF4-FFF2-40B4-BE49-F238E27FC236}">
                <a16:creationId xmlns:a16="http://schemas.microsoft.com/office/drawing/2014/main" id="{C58C034E-E0F9-E18E-5062-A4BEAF5C5D41}"/>
              </a:ext>
            </a:extLst>
          </p:cNvPr>
          <p:cNvSpPr txBox="1"/>
          <p:nvPr/>
        </p:nvSpPr>
        <p:spPr>
          <a:xfrm>
            <a:off x="4497128" y="2386791"/>
            <a:ext cx="3408708" cy="2031325"/>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a:latin typeface="Open Sans" panose="020B0606030504020204" pitchFamily="34" charset="0"/>
                <a:ea typeface="Open Sans" panose="020B0606030504020204" pitchFamily="34" charset="0"/>
                <a:cs typeface="Open Sans" panose="020B0606030504020204" pitchFamily="34" charset="0"/>
              </a:rPr>
              <a:t>$140M available in funding this year.</a:t>
            </a:r>
          </a:p>
          <a:p>
            <a:pPr marL="203200" indent="-203200">
              <a:spcBef>
                <a:spcPts val="600"/>
              </a:spcBef>
              <a:buSzPct val="100000"/>
              <a:buFont typeface="Arial"/>
              <a:buChar char="•"/>
            </a:pPr>
            <a:r>
              <a:rPr lang="en-US" sz="1600">
                <a:latin typeface="Open Sans" panose="020B0606030504020204" pitchFamily="34" charset="0"/>
                <a:ea typeface="Open Sans" panose="020B0606030504020204" pitchFamily="34" charset="0"/>
                <a:cs typeface="Open Sans" panose="020B0606030504020204" pitchFamily="34" charset="0"/>
              </a:rPr>
              <a:t>Pre-proposals due 4/10/2024</a:t>
            </a:r>
          </a:p>
          <a:p>
            <a:pPr marL="203200" indent="-203200">
              <a:spcBef>
                <a:spcPts val="600"/>
              </a:spcBef>
              <a:buSzPct val="100000"/>
              <a:buFont typeface="Arial"/>
              <a:buChar char="•"/>
            </a:pPr>
            <a:r>
              <a:rPr lang="en-US" sz="1600">
                <a:latin typeface="Open Sans" panose="020B0606030504020204" pitchFamily="34" charset="0"/>
                <a:ea typeface="Open Sans" panose="020B0606030504020204" pitchFamily="34" charset="0"/>
                <a:cs typeface="Open Sans" panose="020B0606030504020204" pitchFamily="34" charset="0"/>
              </a:rPr>
              <a:t>Final proposals due 7/2/2024.</a:t>
            </a:r>
          </a:p>
          <a:p>
            <a:pPr marL="203200" indent="-203200">
              <a:spcBef>
                <a:spcPts val="600"/>
              </a:spcBef>
              <a:buSzPct val="100000"/>
              <a:buFont typeface="Arial"/>
              <a:buChar char="•"/>
            </a:pPr>
            <a:r>
              <a:rPr lang="en-US" sz="1600">
                <a:latin typeface="Open Sans" panose="020B0606030504020204" pitchFamily="34" charset="0"/>
                <a:ea typeface="Open Sans" panose="020B0606030504020204" pitchFamily="34" charset="0"/>
                <a:cs typeface="Open Sans" panose="020B0606030504020204" pitchFamily="34" charset="0"/>
              </a:rPr>
              <a:t>State entities have received over $18M in the last two years.</a:t>
            </a:r>
          </a:p>
          <a:p>
            <a:pPr>
              <a:spcBef>
                <a:spcPts val="600"/>
              </a:spcBef>
              <a:buSzPct val="100000"/>
            </a:pPr>
            <a:endParaRPr lang="en-US" sz="1600">
              <a:solidFill>
                <a:srgbClr val="313131"/>
              </a:solidFill>
            </a:endParaRPr>
          </a:p>
        </p:txBody>
      </p:sp>
      <p:sp>
        <p:nvSpPr>
          <p:cNvPr id="26" name="TextBox 25">
            <a:extLst>
              <a:ext uri="{FF2B5EF4-FFF2-40B4-BE49-F238E27FC236}">
                <a16:creationId xmlns:a16="http://schemas.microsoft.com/office/drawing/2014/main" id="{2B0A2F93-960D-2C1D-9B21-2313C7C8A2CB}"/>
              </a:ext>
            </a:extLst>
          </p:cNvPr>
          <p:cNvSpPr txBox="1"/>
          <p:nvPr/>
        </p:nvSpPr>
        <p:spPr>
          <a:xfrm>
            <a:off x="8573083" y="2954962"/>
            <a:ext cx="3328566" cy="2877711"/>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600">
                <a:latin typeface="Open Sans" panose="020B0606030504020204" pitchFamily="34" charset="0"/>
                <a:ea typeface="Open Sans" panose="020B0606030504020204" pitchFamily="34" charset="0"/>
                <a:cs typeface="Open Sans" panose="020B0606030504020204" pitchFamily="34" charset="0"/>
              </a:rPr>
              <a:t>Applications closed 2/29/2024 </a:t>
            </a:r>
          </a:p>
          <a:p>
            <a:pPr marL="203200" indent="-203200">
              <a:spcBef>
                <a:spcPts val="600"/>
              </a:spcBef>
              <a:buSzPct val="100000"/>
              <a:buFont typeface="Arial"/>
              <a:buChar char="•"/>
            </a:pPr>
            <a:r>
              <a:rPr lang="en-US" sz="1600">
                <a:latin typeface="Open Sans" panose="020B0606030504020204" pitchFamily="34" charset="0"/>
                <a:ea typeface="Open Sans" panose="020B0606030504020204" pitchFamily="34" charset="0"/>
                <a:cs typeface="Open Sans" panose="020B0606030504020204" pitchFamily="34" charset="0"/>
              </a:rPr>
              <a:t>For the upcoming FY, the State hopes to increase applications and awarded projects.</a:t>
            </a:r>
          </a:p>
          <a:p>
            <a:pPr marL="203200" indent="-203200">
              <a:spcBef>
                <a:spcPts val="600"/>
              </a:spcBef>
              <a:buSzPct val="100000"/>
              <a:buFont typeface="Arial"/>
              <a:buChar char="•"/>
            </a:pPr>
            <a:r>
              <a:rPr lang="en-US" sz="1600">
                <a:latin typeface="Open Sans" panose="020B0606030504020204" pitchFamily="34" charset="0"/>
                <a:ea typeface="Open Sans" panose="020B0606030504020204" pitchFamily="34" charset="0"/>
                <a:cs typeface="Open Sans" panose="020B0606030504020204" pitchFamily="34" charset="0"/>
              </a:rPr>
              <a:t>Eligible Entities:</a:t>
            </a:r>
          </a:p>
          <a:p>
            <a:pPr marL="660400" lvl="1" indent="-203200">
              <a:spcBef>
                <a:spcPts val="600"/>
              </a:spcBef>
              <a:buSzPct val="100000"/>
              <a:buFont typeface="Arial"/>
              <a:buChar char="•"/>
            </a:pPr>
            <a:r>
              <a:rPr lang="en-US" sz="1600">
                <a:latin typeface="Open Sans" panose="020B0606030504020204" pitchFamily="34" charset="0"/>
                <a:ea typeface="Open Sans" panose="020B0606030504020204" pitchFamily="34" charset="0"/>
                <a:cs typeface="Open Sans" panose="020B0606030504020204" pitchFamily="34" charset="0"/>
              </a:rPr>
              <a:t>State governments apply directly to FEMA</a:t>
            </a:r>
          </a:p>
          <a:p>
            <a:pPr marL="660400" lvl="1" indent="-203200">
              <a:spcBef>
                <a:spcPts val="600"/>
              </a:spcBef>
              <a:buSzPct val="100000"/>
              <a:buFont typeface="Arial"/>
              <a:buChar char="•"/>
            </a:pPr>
            <a:r>
              <a:rPr lang="en-US" sz="1600">
                <a:latin typeface="Open Sans" panose="020B0606030504020204" pitchFamily="34" charset="0"/>
                <a:ea typeface="Open Sans" panose="020B0606030504020204" pitchFamily="34" charset="0"/>
                <a:cs typeface="Open Sans" panose="020B0606030504020204" pitchFamily="34" charset="0"/>
              </a:rPr>
              <a:t>Local governments apply through the State</a:t>
            </a:r>
          </a:p>
          <a:p>
            <a:pPr marL="203200" indent="-203200">
              <a:spcBef>
                <a:spcPts val="600"/>
              </a:spcBef>
              <a:buSzPct val="100000"/>
              <a:buFont typeface="Arial"/>
              <a:buChar char="•"/>
            </a:pPr>
            <a:endParaRPr lang="en-US">
              <a:solidFill>
                <a:srgbClr val="313131"/>
              </a:solidFill>
            </a:endParaRPr>
          </a:p>
        </p:txBody>
      </p:sp>
    </p:spTree>
    <p:extLst>
      <p:ext uri="{BB962C8B-B14F-4D97-AF65-F5344CB8AC3E}">
        <p14:creationId xmlns:p14="http://schemas.microsoft.com/office/powerpoint/2010/main" val="32357155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Upcoming Funding Opportunities </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15" name="Rectangle 14">
            <a:extLst>
              <a:ext uri="{FF2B5EF4-FFF2-40B4-BE49-F238E27FC236}">
                <a16:creationId xmlns:a16="http://schemas.microsoft.com/office/drawing/2014/main" id="{C4FE3069-073B-08DB-731B-48645859E4AB}"/>
              </a:ext>
            </a:extLst>
          </p:cNvPr>
          <p:cNvSpPr/>
          <p:nvPr/>
        </p:nvSpPr>
        <p:spPr bwMode="gray">
          <a:xfrm>
            <a:off x="436369" y="1525950"/>
            <a:ext cx="3496612" cy="456448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7" name="Rectangle 16">
            <a:extLst>
              <a:ext uri="{FF2B5EF4-FFF2-40B4-BE49-F238E27FC236}">
                <a16:creationId xmlns:a16="http://schemas.microsoft.com/office/drawing/2014/main" id="{29B7E5E6-21EC-0584-7B80-3A26366EA146}"/>
              </a:ext>
            </a:extLst>
          </p:cNvPr>
          <p:cNvSpPr/>
          <p:nvPr/>
        </p:nvSpPr>
        <p:spPr>
          <a:xfrm>
            <a:off x="583253" y="1292385"/>
            <a:ext cx="3202844" cy="369332"/>
          </a:xfrm>
          <a:prstGeom prst="rect">
            <a:avLst/>
          </a:prstGeom>
          <a:solidFill>
            <a:srgbClr val="1F325C"/>
          </a:solid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a:ln>
                  <a:noFill/>
                </a:ln>
                <a:solidFill>
                  <a:schemeClr val="bg1"/>
                </a:solidFill>
                <a:effectLst/>
                <a:uLnTx/>
                <a:uFillTx/>
                <a:latin typeface="Open Sans"/>
                <a:ea typeface="+mn-ea"/>
                <a:cs typeface="+mn-cs"/>
              </a:rPr>
              <a:t>GRIP – Smart Grid</a:t>
            </a:r>
          </a:p>
        </p:txBody>
      </p:sp>
      <p:cxnSp>
        <p:nvCxnSpPr>
          <p:cNvPr id="18" name="Straight Arrow Connector 17">
            <a:extLst>
              <a:ext uri="{FF2B5EF4-FFF2-40B4-BE49-F238E27FC236}">
                <a16:creationId xmlns:a16="http://schemas.microsoft.com/office/drawing/2014/main" id="{0CFD6F5E-8E01-227C-C25C-3E6A7D83808C}"/>
              </a:ext>
            </a:extLst>
          </p:cNvPr>
          <p:cNvCxnSpPr>
            <a:cxnSpLocks/>
          </p:cNvCxnSpPr>
          <p:nvPr/>
        </p:nvCxnSpPr>
        <p:spPr>
          <a:xfrm flipV="1">
            <a:off x="4203742" y="1292385"/>
            <a:ext cx="0" cy="4913066"/>
          </a:xfrm>
          <a:prstGeom prst="straightConnector1">
            <a:avLst/>
          </a:prstGeom>
          <a:ln w="19050">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E0FDC12-3CD7-D36D-DB8A-FF44AB2436BA}"/>
              </a:ext>
            </a:extLst>
          </p:cNvPr>
          <p:cNvSpPr/>
          <p:nvPr/>
        </p:nvSpPr>
        <p:spPr bwMode="gray">
          <a:xfrm>
            <a:off x="4449335" y="1525949"/>
            <a:ext cx="3496612" cy="456448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20" name="Rectangle 19">
            <a:extLst>
              <a:ext uri="{FF2B5EF4-FFF2-40B4-BE49-F238E27FC236}">
                <a16:creationId xmlns:a16="http://schemas.microsoft.com/office/drawing/2014/main" id="{91C6DE48-FDFB-419D-B084-277F54FCB3CF}"/>
              </a:ext>
            </a:extLst>
          </p:cNvPr>
          <p:cNvSpPr/>
          <p:nvPr/>
        </p:nvSpPr>
        <p:spPr>
          <a:xfrm>
            <a:off x="4645109" y="1292385"/>
            <a:ext cx="3202844" cy="369332"/>
          </a:xfrm>
          <a:prstGeom prst="rect">
            <a:avLst/>
          </a:prstGeom>
          <a:solidFill>
            <a:srgbClr val="1F325C"/>
          </a:solid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a:ln>
                  <a:noFill/>
                </a:ln>
                <a:solidFill>
                  <a:schemeClr val="bg1"/>
                </a:solidFill>
                <a:effectLst/>
                <a:uLnTx/>
                <a:uFillTx/>
                <a:latin typeface="Open Sans"/>
                <a:ea typeface="+mn-ea"/>
                <a:cs typeface="+mn-cs"/>
              </a:rPr>
              <a:t>GRIP – </a:t>
            </a:r>
            <a:r>
              <a:rPr lang="en-US" b="1" i="1">
                <a:solidFill>
                  <a:schemeClr val="bg1"/>
                </a:solidFill>
                <a:latin typeface="Open Sans"/>
              </a:rPr>
              <a:t>Grid Resilience</a:t>
            </a:r>
            <a:r>
              <a:rPr kumimoji="0" lang="en-US" b="1" i="1" u="none" strike="noStrike" kern="1200" cap="none" spc="0" normalizeH="0" baseline="0" noProof="0">
                <a:ln>
                  <a:noFill/>
                </a:ln>
                <a:solidFill>
                  <a:schemeClr val="bg1"/>
                </a:solidFill>
                <a:effectLst/>
                <a:uLnTx/>
                <a:uFillTx/>
                <a:latin typeface="Open Sans"/>
                <a:ea typeface="+mn-ea"/>
                <a:cs typeface="+mn-cs"/>
              </a:rPr>
              <a:t> </a:t>
            </a:r>
          </a:p>
        </p:txBody>
      </p:sp>
      <p:sp>
        <p:nvSpPr>
          <p:cNvPr id="22" name="TextBox 21">
            <a:extLst>
              <a:ext uri="{FF2B5EF4-FFF2-40B4-BE49-F238E27FC236}">
                <a16:creationId xmlns:a16="http://schemas.microsoft.com/office/drawing/2014/main" id="{7B311946-B020-92C7-CED2-8DB34CF82C29}"/>
              </a:ext>
            </a:extLst>
          </p:cNvPr>
          <p:cNvSpPr txBox="1"/>
          <p:nvPr/>
        </p:nvSpPr>
        <p:spPr>
          <a:xfrm>
            <a:off x="524273" y="1745673"/>
            <a:ext cx="3238103" cy="492443"/>
          </a:xfrm>
          <a:prstGeom prst="rect">
            <a:avLst/>
          </a:prstGeom>
          <a:noFill/>
        </p:spPr>
        <p:txBody>
          <a:bodyPr wrap="square" lIns="0" tIns="0" rIns="0" bIns="0" rtlCol="0">
            <a:spAutoFit/>
          </a:bodyPr>
          <a:lstStyle/>
          <a:p>
            <a:pPr algn="ctr">
              <a:spcBef>
                <a:spcPts val="600"/>
              </a:spcBef>
              <a:buSzPct val="100000"/>
            </a:pPr>
            <a:r>
              <a:rPr lang="en-US" sz="1600" b="1" i="1">
                <a:solidFill>
                  <a:srgbClr val="313131"/>
                </a:solidFill>
                <a:latin typeface="Open Sans" panose="020B0606030504020204" pitchFamily="34" charset="0"/>
                <a:ea typeface="Open Sans" panose="020B0606030504020204" pitchFamily="34" charset="0"/>
                <a:cs typeface="Open Sans" panose="020B0606030504020204" pitchFamily="34" charset="0"/>
              </a:rPr>
              <a:t>Grid Resilience and Innovation Partnerships (GRIP) Program</a:t>
            </a:r>
          </a:p>
        </p:txBody>
      </p:sp>
      <p:sp>
        <p:nvSpPr>
          <p:cNvPr id="23" name="TextBox 22">
            <a:extLst>
              <a:ext uri="{FF2B5EF4-FFF2-40B4-BE49-F238E27FC236}">
                <a16:creationId xmlns:a16="http://schemas.microsoft.com/office/drawing/2014/main" id="{05DD824B-4D0B-B2AE-9696-A30FCFF0E121}"/>
              </a:ext>
            </a:extLst>
          </p:cNvPr>
          <p:cNvSpPr txBox="1"/>
          <p:nvPr/>
        </p:nvSpPr>
        <p:spPr>
          <a:xfrm>
            <a:off x="4561436" y="1732894"/>
            <a:ext cx="3238103" cy="738664"/>
          </a:xfrm>
          <a:prstGeom prst="rect">
            <a:avLst/>
          </a:prstGeom>
          <a:noFill/>
        </p:spPr>
        <p:txBody>
          <a:bodyPr wrap="square" lIns="0" tIns="0" rIns="0" bIns="0" rtlCol="0">
            <a:spAutoFit/>
          </a:bodyPr>
          <a:lstStyle/>
          <a:p>
            <a:pPr algn="ctr">
              <a:spcBef>
                <a:spcPts val="600"/>
              </a:spcBef>
              <a:buSzPct val="100000"/>
            </a:pPr>
            <a:r>
              <a:rPr lang="en-US" sz="1600" b="1" i="1">
                <a:solidFill>
                  <a:srgbClr val="313131"/>
                </a:solidFill>
                <a:latin typeface="Open Sans" panose="020B0606030504020204" pitchFamily="34" charset="0"/>
                <a:ea typeface="Open Sans" panose="020B0606030504020204" pitchFamily="34" charset="0"/>
                <a:cs typeface="Open Sans" panose="020B0606030504020204" pitchFamily="34" charset="0"/>
              </a:rPr>
              <a:t>Grid Resilience and Innovation Partnerships Program - Resilience Utility and Industry Grants </a:t>
            </a:r>
          </a:p>
        </p:txBody>
      </p:sp>
      <p:sp>
        <p:nvSpPr>
          <p:cNvPr id="10" name="TextBox 9">
            <a:extLst>
              <a:ext uri="{FF2B5EF4-FFF2-40B4-BE49-F238E27FC236}">
                <a16:creationId xmlns:a16="http://schemas.microsoft.com/office/drawing/2014/main" id="{D0D6B501-81E8-3FE3-1A55-8C645848302D}"/>
              </a:ext>
            </a:extLst>
          </p:cNvPr>
          <p:cNvSpPr txBox="1"/>
          <p:nvPr/>
        </p:nvSpPr>
        <p:spPr>
          <a:xfrm>
            <a:off x="580453" y="2568293"/>
            <a:ext cx="3238103" cy="3631763"/>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1.08B is available in the grant cycle ending 4/17. </a:t>
            </a:r>
          </a:p>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LA did not receive funding last year.</a:t>
            </a:r>
          </a:p>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Concept Papers Due: 1/12/2024</a:t>
            </a:r>
          </a:p>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Application Deadline: 4/17/2024</a:t>
            </a:r>
          </a:p>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Eligible Entities:</a:t>
            </a:r>
          </a:p>
          <a:p>
            <a:pPr marL="660400" lvl="1"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Higher education institutions</a:t>
            </a:r>
          </a:p>
          <a:p>
            <a:pPr marL="660400" lvl="1"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For profit and non-profit entities </a:t>
            </a:r>
          </a:p>
          <a:p>
            <a:pPr marL="660400" lvl="1"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State governments</a:t>
            </a:r>
          </a:p>
          <a:p>
            <a:pPr marL="660400" lvl="1"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Local governments</a:t>
            </a:r>
          </a:p>
          <a:p>
            <a:pPr marL="660400" lvl="1"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Tribal governments</a:t>
            </a:r>
          </a:p>
          <a:p>
            <a:pPr marL="203200" indent="-203200">
              <a:spcBef>
                <a:spcPts val="600"/>
              </a:spcBef>
              <a:buSzPct val="100000"/>
              <a:buFont typeface="Arial"/>
              <a:buChar char="•"/>
            </a:pPr>
            <a:endParaRPr lang="en-US">
              <a:solidFill>
                <a:srgbClr val="313131"/>
              </a:solidFill>
            </a:endParaRPr>
          </a:p>
        </p:txBody>
      </p:sp>
      <p:sp>
        <p:nvSpPr>
          <p:cNvPr id="11" name="TextBox 10">
            <a:extLst>
              <a:ext uri="{FF2B5EF4-FFF2-40B4-BE49-F238E27FC236}">
                <a16:creationId xmlns:a16="http://schemas.microsoft.com/office/drawing/2014/main" id="{FC6ED853-AD4B-AE22-955F-DD725B31B587}"/>
              </a:ext>
            </a:extLst>
          </p:cNvPr>
          <p:cNvSpPr txBox="1"/>
          <p:nvPr/>
        </p:nvSpPr>
        <p:spPr>
          <a:xfrm>
            <a:off x="4626529" y="2542735"/>
            <a:ext cx="3221424" cy="3924151"/>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918M to is available in the grant cycle ending 4/17. </a:t>
            </a:r>
          </a:p>
          <a:p>
            <a:pPr marL="203200"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Entergy New Orleans received $54.8M from the prior award cycle.</a:t>
            </a:r>
          </a:p>
          <a:p>
            <a:pPr marL="203200"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Concept Papers Due: 1/12/2024 </a:t>
            </a:r>
          </a:p>
          <a:p>
            <a:pPr marL="203200"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Application Deadline: 4/17/2024</a:t>
            </a:r>
          </a:p>
          <a:p>
            <a:pPr marL="203200"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Eligible Entities:</a:t>
            </a:r>
          </a:p>
          <a:p>
            <a:pPr marL="660400" lvl="1"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Electric grid operator</a:t>
            </a:r>
          </a:p>
          <a:p>
            <a:pPr marL="660400" lvl="1"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Electric storage operator</a:t>
            </a:r>
          </a:p>
          <a:p>
            <a:pPr marL="660400" lvl="1"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Electricity generator</a:t>
            </a:r>
          </a:p>
          <a:p>
            <a:pPr marL="660400" lvl="1"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Transmission owner/operator</a:t>
            </a:r>
          </a:p>
          <a:p>
            <a:pPr marL="660400" lvl="1"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Distribution provider</a:t>
            </a:r>
          </a:p>
          <a:p>
            <a:pPr marL="660400" lvl="1" indent="-203200">
              <a:spcBef>
                <a:spcPts val="600"/>
              </a:spcBef>
              <a:buSzPct val="100000"/>
              <a:buFont typeface="Arial"/>
              <a:buChar char="•"/>
            </a:pPr>
            <a:r>
              <a:rPr lang="en-US" sz="1400" dirty="0">
                <a:latin typeface="Open Sans" panose="020B0606030504020204" pitchFamily="34" charset="0"/>
                <a:ea typeface="Open Sans" panose="020B0606030504020204" pitchFamily="34" charset="0"/>
                <a:cs typeface="Open Sans" panose="020B0606030504020204" pitchFamily="34" charset="0"/>
              </a:rPr>
              <a:t>Fuel supplier</a:t>
            </a:r>
          </a:p>
          <a:p>
            <a:pPr marL="203200" indent="-203200">
              <a:spcBef>
                <a:spcPts val="600"/>
              </a:spcBef>
              <a:buSzPct val="100000"/>
              <a:buFont typeface="Arial"/>
              <a:buChar char="•"/>
            </a:pPr>
            <a:endParaRPr lang="en-US" dirty="0">
              <a:solidFill>
                <a:srgbClr val="313131"/>
              </a:solidFill>
            </a:endParaRPr>
          </a:p>
        </p:txBody>
      </p:sp>
      <p:sp>
        <p:nvSpPr>
          <p:cNvPr id="13" name="Rectangle 12">
            <a:extLst>
              <a:ext uri="{FF2B5EF4-FFF2-40B4-BE49-F238E27FC236}">
                <a16:creationId xmlns:a16="http://schemas.microsoft.com/office/drawing/2014/main" id="{10C7B3EE-9721-CF05-E206-340F91721727}"/>
              </a:ext>
            </a:extLst>
          </p:cNvPr>
          <p:cNvSpPr/>
          <p:nvPr/>
        </p:nvSpPr>
        <p:spPr bwMode="gray">
          <a:xfrm>
            <a:off x="8475932" y="1533140"/>
            <a:ext cx="3496612" cy="456448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4" name="Rectangle 13">
            <a:extLst>
              <a:ext uri="{FF2B5EF4-FFF2-40B4-BE49-F238E27FC236}">
                <a16:creationId xmlns:a16="http://schemas.microsoft.com/office/drawing/2014/main" id="{B7B19EF0-38A1-9623-5DCE-C8E65DD22ADE}"/>
              </a:ext>
            </a:extLst>
          </p:cNvPr>
          <p:cNvSpPr/>
          <p:nvPr/>
        </p:nvSpPr>
        <p:spPr>
          <a:xfrm>
            <a:off x="8622816" y="1292385"/>
            <a:ext cx="3202844" cy="369332"/>
          </a:xfrm>
          <a:prstGeom prst="rect">
            <a:avLst/>
          </a:prstGeom>
          <a:solidFill>
            <a:srgbClr val="1F325C"/>
          </a:solidFill>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i="1">
                <a:solidFill>
                  <a:schemeClr val="bg1"/>
                </a:solidFill>
                <a:latin typeface="Open Sans"/>
              </a:rPr>
              <a:t>GRIP – GRID Innovation</a:t>
            </a:r>
            <a:endParaRPr kumimoji="0" lang="en-US" b="1" i="1" u="none" strike="noStrike" kern="1200" cap="none" spc="0" normalizeH="0" baseline="0" noProof="0">
              <a:ln>
                <a:noFill/>
              </a:ln>
              <a:solidFill>
                <a:schemeClr val="bg1"/>
              </a:solidFill>
              <a:effectLst/>
              <a:uLnTx/>
              <a:uFillTx/>
              <a:latin typeface="Open Sans"/>
              <a:ea typeface="+mn-ea"/>
              <a:cs typeface="+mn-cs"/>
            </a:endParaRPr>
          </a:p>
        </p:txBody>
      </p:sp>
      <p:cxnSp>
        <p:nvCxnSpPr>
          <p:cNvPr id="24" name="Straight Arrow Connector 23">
            <a:extLst>
              <a:ext uri="{FF2B5EF4-FFF2-40B4-BE49-F238E27FC236}">
                <a16:creationId xmlns:a16="http://schemas.microsoft.com/office/drawing/2014/main" id="{FDD717F4-07F2-9BD1-2F3B-DF1B5C448F61}"/>
              </a:ext>
            </a:extLst>
          </p:cNvPr>
          <p:cNvCxnSpPr>
            <a:cxnSpLocks/>
          </p:cNvCxnSpPr>
          <p:nvPr/>
        </p:nvCxnSpPr>
        <p:spPr>
          <a:xfrm flipV="1">
            <a:off x="12201581" y="1292385"/>
            <a:ext cx="0" cy="4913066"/>
          </a:xfrm>
          <a:prstGeom prst="straightConnector1">
            <a:avLst/>
          </a:prstGeom>
          <a:ln w="19050">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9874835-DF28-E4A6-D73D-C46C1A726F11}"/>
              </a:ext>
            </a:extLst>
          </p:cNvPr>
          <p:cNvSpPr txBox="1"/>
          <p:nvPr/>
        </p:nvSpPr>
        <p:spPr>
          <a:xfrm>
            <a:off x="8622816" y="1745673"/>
            <a:ext cx="3238103" cy="738664"/>
          </a:xfrm>
          <a:prstGeom prst="rect">
            <a:avLst/>
          </a:prstGeom>
          <a:noFill/>
        </p:spPr>
        <p:txBody>
          <a:bodyPr wrap="square" lIns="0" tIns="0" rIns="0" bIns="0" rtlCol="0">
            <a:spAutoFit/>
          </a:bodyPr>
          <a:lstStyle/>
          <a:p>
            <a:pPr algn="ctr">
              <a:spcBef>
                <a:spcPts val="600"/>
              </a:spcBef>
              <a:buSzPct val="100000"/>
            </a:pPr>
            <a:r>
              <a:rPr lang="en-US" sz="1600" b="1" i="1">
                <a:solidFill>
                  <a:srgbClr val="313131"/>
                </a:solidFill>
                <a:latin typeface="Open Sans" panose="020B0606030504020204" pitchFamily="34" charset="0"/>
                <a:ea typeface="Open Sans" panose="020B0606030504020204" pitchFamily="34" charset="0"/>
                <a:cs typeface="Open Sans" panose="020B0606030504020204" pitchFamily="34" charset="0"/>
              </a:rPr>
              <a:t>Grid Resilience and Innovation Partnerships Program – Grid Innovation </a:t>
            </a:r>
          </a:p>
        </p:txBody>
      </p:sp>
      <p:sp>
        <p:nvSpPr>
          <p:cNvPr id="26" name="TextBox 25">
            <a:extLst>
              <a:ext uri="{FF2B5EF4-FFF2-40B4-BE49-F238E27FC236}">
                <a16:creationId xmlns:a16="http://schemas.microsoft.com/office/drawing/2014/main" id="{F9AFA83F-6C19-999C-2176-85B25D76803E}"/>
              </a:ext>
            </a:extLst>
          </p:cNvPr>
          <p:cNvSpPr txBox="1"/>
          <p:nvPr/>
        </p:nvSpPr>
        <p:spPr>
          <a:xfrm>
            <a:off x="8622329" y="2568293"/>
            <a:ext cx="3162692" cy="3339376"/>
          </a:xfrm>
          <a:prstGeom prst="rect">
            <a:avLst/>
          </a:prstGeom>
          <a:noFill/>
        </p:spPr>
        <p:txBody>
          <a:bodyPr wrap="square" lIns="0" tIns="0" rIns="0" bIns="0" rtlCol="0">
            <a:spAutoFit/>
          </a:bodyPr>
          <a:lstStyle/>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1.82B available in the cycle ending 4/17. </a:t>
            </a:r>
          </a:p>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LDENR received $249M for the HERO Project last year.</a:t>
            </a:r>
          </a:p>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Concept Papers Due: 1/12/2024</a:t>
            </a:r>
          </a:p>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Application Deadline: 4/17/2024</a:t>
            </a:r>
          </a:p>
          <a:p>
            <a:pPr marL="203200"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Eligible Entities:</a:t>
            </a:r>
          </a:p>
          <a:p>
            <a:pPr marL="660400" lvl="1"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States</a:t>
            </a:r>
          </a:p>
          <a:p>
            <a:pPr marL="660400" lvl="1"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Tribes</a:t>
            </a:r>
          </a:p>
          <a:p>
            <a:pPr marL="660400" lvl="1"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Local governments</a:t>
            </a:r>
          </a:p>
          <a:p>
            <a:pPr marL="660400" lvl="1" indent="-203200">
              <a:spcBef>
                <a:spcPts val="600"/>
              </a:spcBef>
              <a:buSzPct val="100000"/>
              <a:buFont typeface="Arial"/>
              <a:buChar char="•"/>
            </a:pPr>
            <a:r>
              <a:rPr lang="en-US" sz="1400">
                <a:latin typeface="Open Sans" panose="020B0606030504020204" pitchFamily="34" charset="0"/>
                <a:ea typeface="Open Sans" panose="020B0606030504020204" pitchFamily="34" charset="0"/>
                <a:cs typeface="Open Sans" panose="020B0606030504020204" pitchFamily="34" charset="0"/>
              </a:rPr>
              <a:t>Public utility commission</a:t>
            </a:r>
          </a:p>
          <a:p>
            <a:pPr marL="203200" indent="-203200">
              <a:spcBef>
                <a:spcPts val="600"/>
              </a:spcBef>
              <a:buSzPct val="100000"/>
              <a:buFont typeface="Arial"/>
              <a:buChar char="•"/>
            </a:pPr>
            <a:endParaRPr lang="en-US">
              <a:solidFill>
                <a:srgbClr val="313131"/>
              </a:solidFill>
            </a:endParaRPr>
          </a:p>
        </p:txBody>
      </p:sp>
    </p:spTree>
    <p:extLst>
      <p:ext uri="{BB962C8B-B14F-4D97-AF65-F5344CB8AC3E}">
        <p14:creationId xmlns:p14="http://schemas.microsoft.com/office/powerpoint/2010/main" val="39096614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Upcoming Funding Opportunities </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pic>
        <p:nvPicPr>
          <p:cNvPr id="21" name="Picture 2" descr="Image">
            <a:extLst>
              <a:ext uri="{FF2B5EF4-FFF2-40B4-BE49-F238E27FC236}">
                <a16:creationId xmlns:a16="http://schemas.microsoft.com/office/drawing/2014/main" id="{B9302528-15D5-761F-B02D-31198342D41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13719" y="3022657"/>
            <a:ext cx="1881493" cy="243866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312EA0B3-3C43-7CAF-2769-8D46DFD639EF}"/>
              </a:ext>
            </a:extLst>
          </p:cNvPr>
          <p:cNvSpPr txBox="1"/>
          <p:nvPr/>
        </p:nvSpPr>
        <p:spPr>
          <a:xfrm>
            <a:off x="8756240" y="1579679"/>
            <a:ext cx="3065224" cy="1231106"/>
          </a:xfrm>
          <a:prstGeom prst="rect">
            <a:avLst/>
          </a:prstGeom>
          <a:noFill/>
        </p:spPr>
        <p:txBody>
          <a:bodyPr wrap="square" lIns="0" tIns="0" rIns="0" bIns="0" rtlCol="0">
            <a:spAutoFit/>
          </a:bodyPr>
          <a:lstStyle/>
          <a:p>
            <a:pPr algn="ctr">
              <a:spcBef>
                <a:spcPts val="600"/>
              </a:spcBef>
              <a:buSzPct val="100000"/>
            </a:pPr>
            <a:r>
              <a:rPr lang="en-US" sz="1600" b="1">
                <a:solidFill>
                  <a:srgbClr val="002060"/>
                </a:solidFill>
                <a:latin typeface="Open Sans" panose="020B0606030504020204" pitchFamily="34" charset="0"/>
                <a:ea typeface="Open Sans" panose="020B0606030504020204" pitchFamily="34" charset="0"/>
                <a:cs typeface="Open Sans" panose="020B0606030504020204" pitchFamily="34" charset="0"/>
              </a:rPr>
              <a:t>Visit the </a:t>
            </a:r>
            <a:r>
              <a:rPr lang="en-US" sz="1600" b="1" i="1">
                <a:solidFill>
                  <a:srgbClr val="002060"/>
                </a:solidFill>
                <a:latin typeface="Open Sans" panose="020B0606030504020204" pitchFamily="34" charset="0"/>
                <a:ea typeface="Open Sans" panose="020B0606030504020204" pitchFamily="34" charset="0"/>
                <a:cs typeface="Open Sans" panose="020B0606030504020204" pitchFamily="34" charset="0"/>
              </a:rPr>
              <a:t>Opportunity Tracker </a:t>
            </a:r>
            <a:r>
              <a:rPr lang="en-US" sz="1600" b="1">
                <a:solidFill>
                  <a:srgbClr val="002060"/>
                </a:solidFill>
                <a:latin typeface="Open Sans" panose="020B0606030504020204" pitchFamily="34" charset="0"/>
                <a:ea typeface="Open Sans" panose="020B0606030504020204" pitchFamily="34" charset="0"/>
                <a:cs typeface="Open Sans" panose="020B0606030504020204" pitchFamily="34" charset="0"/>
              </a:rPr>
              <a:t>tab on infrastructure.la.gov and select the </a:t>
            </a:r>
            <a:r>
              <a:rPr lang="en-US" sz="1600" b="1" i="1">
                <a:solidFill>
                  <a:srgbClr val="002060"/>
                </a:solidFill>
                <a:latin typeface="Open Sans" panose="020B0606030504020204" pitchFamily="34" charset="0"/>
                <a:ea typeface="Open Sans" panose="020B0606030504020204" pitchFamily="34" charset="0"/>
                <a:cs typeface="Open Sans" panose="020B0606030504020204" pitchFamily="34" charset="0"/>
              </a:rPr>
              <a:t>resilience</a:t>
            </a:r>
            <a:r>
              <a:rPr lang="en-US" sz="1600" b="1">
                <a:solidFill>
                  <a:srgbClr val="002060"/>
                </a:solidFill>
                <a:latin typeface="Open Sans" panose="020B0606030504020204" pitchFamily="34" charset="0"/>
                <a:ea typeface="Open Sans" panose="020B0606030504020204" pitchFamily="34" charset="0"/>
                <a:cs typeface="Open Sans" panose="020B0606030504020204" pitchFamily="34" charset="0"/>
              </a:rPr>
              <a:t> category to see current listing of resilience grants.</a:t>
            </a:r>
          </a:p>
        </p:txBody>
      </p:sp>
      <p:pic>
        <p:nvPicPr>
          <p:cNvPr id="11" name="Picture 10">
            <a:extLst>
              <a:ext uri="{FF2B5EF4-FFF2-40B4-BE49-F238E27FC236}">
                <a16:creationId xmlns:a16="http://schemas.microsoft.com/office/drawing/2014/main" id="{5272AF1D-9EBC-F577-D92F-3FDFF626AA61}"/>
              </a:ext>
            </a:extLst>
          </p:cNvPr>
          <p:cNvPicPr>
            <a:picLocks noChangeAspect="1"/>
          </p:cNvPicPr>
          <p:nvPr/>
        </p:nvPicPr>
        <p:blipFill>
          <a:blip r:embed="rId4"/>
          <a:stretch>
            <a:fillRect/>
          </a:stretch>
        </p:blipFill>
        <p:spPr>
          <a:xfrm>
            <a:off x="265374" y="1581269"/>
            <a:ext cx="8323715" cy="369546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6483596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Check Back for Updates on Resilience.la.gov</a:t>
            </a:r>
            <a:b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pic>
        <p:nvPicPr>
          <p:cNvPr id="2" name="Picture 1">
            <a:extLst>
              <a:ext uri="{FF2B5EF4-FFF2-40B4-BE49-F238E27FC236}">
                <a16:creationId xmlns:a16="http://schemas.microsoft.com/office/drawing/2014/main" id="{66D5A88E-0454-78A7-96EC-82947866DDD2}"/>
              </a:ext>
            </a:extLst>
          </p:cNvPr>
          <p:cNvPicPr>
            <a:picLocks noChangeAspect="1"/>
          </p:cNvPicPr>
          <p:nvPr/>
        </p:nvPicPr>
        <p:blipFill>
          <a:blip r:embed="rId3"/>
          <a:stretch>
            <a:fillRect/>
          </a:stretch>
        </p:blipFill>
        <p:spPr>
          <a:xfrm>
            <a:off x="646353" y="1477051"/>
            <a:ext cx="6648531" cy="3692314"/>
          </a:xfrm>
          <a:prstGeom prst="rect">
            <a:avLst/>
          </a:prstGeom>
          <a:effectLst>
            <a:outerShdw blurRad="50800" dist="38100" dir="2700000" algn="tl" rotWithShape="0">
              <a:prstClr val="black">
                <a:alpha val="40000"/>
              </a:prstClr>
            </a:outerShdw>
          </a:effectLst>
        </p:spPr>
      </p:pic>
      <p:grpSp>
        <p:nvGrpSpPr>
          <p:cNvPr id="9" name="Group 8">
            <a:extLst>
              <a:ext uri="{FF2B5EF4-FFF2-40B4-BE49-F238E27FC236}">
                <a16:creationId xmlns:a16="http://schemas.microsoft.com/office/drawing/2014/main" id="{E157E88B-F23F-9120-CC77-917F460C88CD}"/>
              </a:ext>
            </a:extLst>
          </p:cNvPr>
          <p:cNvGrpSpPr/>
          <p:nvPr/>
        </p:nvGrpSpPr>
        <p:grpSpPr>
          <a:xfrm>
            <a:off x="8183237" y="1738176"/>
            <a:ext cx="2239390" cy="3170063"/>
            <a:chOff x="4966480" y="3140429"/>
            <a:chExt cx="732064" cy="1036304"/>
          </a:xfrm>
        </p:grpSpPr>
        <p:pic>
          <p:nvPicPr>
            <p:cNvPr id="3" name="Picture 2" descr="Image">
              <a:extLst>
                <a:ext uri="{FF2B5EF4-FFF2-40B4-BE49-F238E27FC236}">
                  <a16:creationId xmlns:a16="http://schemas.microsoft.com/office/drawing/2014/main" id="{F8E004CD-FE79-DB84-2C83-BCCC4DEF93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66480" y="3140429"/>
              <a:ext cx="732064" cy="7320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59378FE-0F37-9175-7766-EE0BA97D2628}"/>
                </a:ext>
              </a:extLst>
            </p:cNvPr>
            <p:cNvSpPr txBox="1"/>
            <p:nvPr/>
          </p:nvSpPr>
          <p:spPr>
            <a:xfrm>
              <a:off x="4983595" y="3902413"/>
              <a:ext cx="697833" cy="274320"/>
            </a:xfrm>
            <a:prstGeom prst="rect">
              <a:avLst/>
            </a:prstGeom>
            <a:solidFill>
              <a:schemeClr val="tx1"/>
            </a:solidFill>
          </p:spPr>
          <p:txBody>
            <a:bodyPr wrap="square" lIns="0" tIns="0" rIns="0" bIns="0" rtlCol="0">
              <a:spAutoFit/>
            </a:bodyPr>
            <a:lstStyle/>
            <a:p>
              <a:pPr algn="ctr">
                <a:spcBef>
                  <a:spcPts val="600"/>
                </a:spcBef>
                <a:buSzPct val="100000"/>
              </a:pPr>
              <a:r>
                <a:rPr lang="en-US" b="1" i="1">
                  <a:solidFill>
                    <a:schemeClr val="bg1"/>
                  </a:solidFill>
                  <a:latin typeface="Open Sans" panose="020B0606030504020204" pitchFamily="34" charset="0"/>
                  <a:ea typeface="Open Sans" panose="020B0606030504020204" pitchFamily="34" charset="0"/>
                  <a:cs typeface="Open Sans" panose="020B0606030504020204" pitchFamily="34" charset="0"/>
                </a:rPr>
                <a:t>Scan</a:t>
              </a:r>
            </a:p>
          </p:txBody>
        </p:sp>
      </p:grpSp>
      <p:sp>
        <p:nvSpPr>
          <p:cNvPr id="10" name="TextBox 9">
            <a:extLst>
              <a:ext uri="{FF2B5EF4-FFF2-40B4-BE49-F238E27FC236}">
                <a16:creationId xmlns:a16="http://schemas.microsoft.com/office/drawing/2014/main" id="{C52E2AAA-84D4-E22D-2698-54E544C0CC70}"/>
              </a:ext>
            </a:extLst>
          </p:cNvPr>
          <p:cNvSpPr txBox="1"/>
          <p:nvPr/>
        </p:nvSpPr>
        <p:spPr>
          <a:xfrm>
            <a:off x="646353" y="5401135"/>
            <a:ext cx="9723916" cy="569387"/>
          </a:xfrm>
          <a:prstGeom prst="rect">
            <a:avLst/>
          </a:prstGeom>
          <a:noFill/>
        </p:spPr>
        <p:txBody>
          <a:bodyPr wrap="square" lIns="0" tIns="0" rIns="0" bIns="0" rtlCol="0">
            <a:spAutoFit/>
          </a:bodyPr>
          <a:lstStyle/>
          <a:p>
            <a:pPr>
              <a:spcBef>
                <a:spcPts val="600"/>
              </a:spcBef>
              <a:buSzPct val="100000"/>
            </a:pPr>
            <a:endParaRPr lang="en-US" sz="1600" b="1"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spcBef>
                <a:spcPts val="600"/>
              </a:spcBef>
              <a:buSzPct val="100000"/>
            </a:pPr>
            <a:r>
              <a:rPr lang="en-US" sz="1600" b="1" dirty="0">
                <a:solidFill>
                  <a:srgbClr val="002060"/>
                </a:solidFill>
                <a:latin typeface="Open Sans" panose="020B0606030504020204" pitchFamily="34" charset="0"/>
                <a:ea typeface="Open Sans" panose="020B0606030504020204" pitchFamily="34" charset="0"/>
                <a:cs typeface="Open Sans" panose="020B0606030504020204" pitchFamily="34" charset="0"/>
              </a:rPr>
              <a:t>The Resources tab will be updated with future meetings and past meeting notes.</a:t>
            </a:r>
          </a:p>
        </p:txBody>
      </p:sp>
    </p:spTree>
    <p:extLst>
      <p:ext uri="{BB962C8B-B14F-4D97-AF65-F5344CB8AC3E}">
        <p14:creationId xmlns:p14="http://schemas.microsoft.com/office/powerpoint/2010/main" val="401243200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DA36A18-5A03-F875-5879-7EF5EDA2786A}"/>
              </a:ext>
            </a:extLst>
          </p:cNvPr>
          <p:cNvSpPr>
            <a:spLocks noGrp="1"/>
          </p:cNvSpPr>
          <p:nvPr>
            <p:ph type="title" idx="4294967295"/>
          </p:nvPr>
        </p:nvSpPr>
        <p:spPr>
          <a:xfrm>
            <a:off x="400326" y="4784908"/>
            <a:ext cx="8972274" cy="562846"/>
          </a:xfrm>
        </p:spPr>
        <p:txBody>
          <a:bodyPr>
            <a:noAutofit/>
          </a:bodyPr>
          <a:lstStyle/>
          <a:p>
            <a:r>
              <a:rPr lang="en-US" sz="8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Updates &amp; Announcements</a:t>
            </a:r>
          </a:p>
        </p:txBody>
      </p:sp>
    </p:spTree>
    <p:extLst>
      <p:ext uri="{BB962C8B-B14F-4D97-AF65-F5344CB8AC3E}">
        <p14:creationId xmlns:p14="http://schemas.microsoft.com/office/powerpoint/2010/main" val="303931246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4C392-09A2-E445-9D14-5EA880AFE202}"/>
              </a:ext>
            </a:extLst>
          </p:cNvPr>
          <p:cNvSpPr>
            <a:spLocks noGrp="1"/>
          </p:cNvSpPr>
          <p:nvPr>
            <p:ph type="title"/>
          </p:nvPr>
        </p:nvSpPr>
        <p:spPr>
          <a:xfrm>
            <a:off x="838200" y="2658860"/>
            <a:ext cx="10515600" cy="2629172"/>
          </a:xfrm>
        </p:spPr>
        <p:txBody>
          <a:bodyPr>
            <a:noAutofit/>
          </a:bodyPr>
          <a:lstStyle/>
          <a:p>
            <a:pPr algn="ctr"/>
            <a: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What resilience-related grants is your agency hoping to pursue this year and how can the CRO best support your efforts?</a:t>
            </a:r>
            <a:b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br>
            <a: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
            </a:r>
            <a:b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br>
            <a:r>
              <a:rPr lang="en-US"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How can the CRO best support the incorporation of resilience in agency plans?</a:t>
            </a:r>
          </a:p>
        </p:txBody>
      </p:sp>
    </p:spTree>
    <p:extLst>
      <p:ext uri="{BB962C8B-B14F-4D97-AF65-F5344CB8AC3E}">
        <p14:creationId xmlns:p14="http://schemas.microsoft.com/office/powerpoint/2010/main" val="32833399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DA36A18-5A03-F875-5879-7EF5EDA2786A}"/>
              </a:ext>
            </a:extLst>
          </p:cNvPr>
          <p:cNvSpPr>
            <a:spLocks noGrp="1"/>
          </p:cNvSpPr>
          <p:nvPr>
            <p:ph type="title" idx="4294967295"/>
          </p:nvPr>
        </p:nvSpPr>
        <p:spPr>
          <a:xfrm>
            <a:off x="400326" y="4784908"/>
            <a:ext cx="7445375" cy="562846"/>
          </a:xfrm>
        </p:spPr>
        <p:txBody>
          <a:bodyPr>
            <a:noAutofit/>
          </a:bodyPr>
          <a:lstStyle/>
          <a:p>
            <a:r>
              <a:rPr lang="en-US" sz="8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Call to Order</a:t>
            </a:r>
          </a:p>
        </p:txBody>
      </p:sp>
    </p:spTree>
    <p:extLst>
      <p:ext uri="{BB962C8B-B14F-4D97-AF65-F5344CB8AC3E}">
        <p14:creationId xmlns:p14="http://schemas.microsoft.com/office/powerpoint/2010/main" val="231836652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292434"/>
            <a:ext cx="11385095" cy="645149"/>
          </a:xfrm>
        </p:spPr>
        <p:txBody>
          <a:bodyPr>
            <a:normAutofit/>
          </a:bodyPr>
          <a:lstStyle/>
          <a:p>
            <a:pPr defTabSz="1219165">
              <a:lnSpc>
                <a:spcPct val="150000"/>
              </a:lnSpc>
              <a:spcBef>
                <a:spcPts val="0"/>
              </a:spcBef>
              <a:buSzPct val="100000"/>
              <a:defRPr/>
            </a:pPr>
            <a:r>
              <a:rPr lang="en-US" sz="24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t>Adjourn: I Look Forward to Serving You</a:t>
            </a:r>
            <a:endParaRPr lang="en-US" sz="1600" dirty="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pic>
        <p:nvPicPr>
          <p:cNvPr id="9218" name="Picture 2" descr="Image">
            <a:extLst>
              <a:ext uri="{FF2B5EF4-FFF2-40B4-BE49-F238E27FC236}">
                <a16:creationId xmlns:a16="http://schemas.microsoft.com/office/drawing/2014/main" id="{944A9CE8-0A72-BF09-CCA6-96D8674A14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77148" y="1941269"/>
            <a:ext cx="2100277" cy="272223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7737244-897F-9A3F-AD35-8AAF59715AF7}"/>
              </a:ext>
            </a:extLst>
          </p:cNvPr>
          <p:cNvSpPr txBox="1"/>
          <p:nvPr/>
        </p:nvSpPr>
        <p:spPr>
          <a:xfrm>
            <a:off x="662513" y="2459504"/>
            <a:ext cx="6105524" cy="1938992"/>
          </a:xfrm>
          <a:prstGeom prst="rect">
            <a:avLst/>
          </a:prstGeom>
          <a:noFill/>
        </p:spPr>
        <p:txBody>
          <a:bodyPr wrap="square">
            <a:spAutoFit/>
          </a:bodyPr>
          <a:lstStyle/>
          <a:p>
            <a:r>
              <a:rPr lang="en-US" sz="4000" b="1">
                <a:latin typeface="Open Sans" panose="020B0606030504020204" pitchFamily="34" charset="0"/>
                <a:ea typeface="Open Sans" panose="020B0606030504020204" pitchFamily="34" charset="0"/>
                <a:cs typeface="Open Sans" panose="020B0606030504020204" pitchFamily="34" charset="0"/>
              </a:rPr>
              <a:t>Stephen Swiber</a:t>
            </a:r>
          </a:p>
          <a:p>
            <a:r>
              <a:rPr lang="en-US" sz="4000" b="1" i="1">
                <a:latin typeface="Open Sans" panose="020B0606030504020204" pitchFamily="34" charset="0"/>
                <a:ea typeface="Open Sans" panose="020B0606030504020204" pitchFamily="34" charset="0"/>
                <a:cs typeface="Open Sans" panose="020B0606030504020204" pitchFamily="34" charset="0"/>
              </a:rPr>
              <a:t>Chief Resilience Officer</a:t>
            </a:r>
          </a:p>
          <a:p>
            <a:r>
              <a:rPr lang="de-DE" sz="4000">
                <a:solidFill>
                  <a:srgbClr val="002060"/>
                </a:solidFill>
                <a:latin typeface="Open Sans" panose="020B0606030504020204" pitchFamily="34" charset="0"/>
                <a:ea typeface="Open Sans" panose="020B0606030504020204" pitchFamily="34" charset="0"/>
                <a:cs typeface="Open Sans" panose="020B0606030504020204" pitchFamily="34" charset="0"/>
              </a:rPr>
              <a:t>Stephen.Swiber@LA.GOV</a:t>
            </a:r>
            <a:endParaRPr lang="en-US" sz="4000">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727810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a:bodyPr>
          <a:lstStyle/>
          <a:p>
            <a:pPr defTabSz="1219165">
              <a:lnSpc>
                <a:spcPct val="150000"/>
              </a:lnSpc>
              <a:spcBef>
                <a:spcPts val="0"/>
              </a:spcBef>
              <a:buSzPct val="100000"/>
              <a:defRPr/>
            </a:pPr>
            <a:r>
              <a:rPr lang="en-US" sz="24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t>Roll Call</a:t>
            </a:r>
            <a:endParaRPr lang="en-US" sz="1600" dirty="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11" name="TextBox 10">
            <a:extLst>
              <a:ext uri="{FF2B5EF4-FFF2-40B4-BE49-F238E27FC236}">
                <a16:creationId xmlns:a16="http://schemas.microsoft.com/office/drawing/2014/main" id="{8D1FA664-CA92-56DD-8319-A63BDD7CC077}"/>
              </a:ext>
            </a:extLst>
          </p:cNvPr>
          <p:cNvSpPr txBox="1"/>
          <p:nvPr/>
        </p:nvSpPr>
        <p:spPr>
          <a:xfrm>
            <a:off x="616286" y="1122996"/>
            <a:ext cx="11004996" cy="5593006"/>
          </a:xfrm>
          <a:prstGeom prst="rect">
            <a:avLst/>
          </a:prstGeom>
          <a:noFill/>
        </p:spPr>
        <p:txBody>
          <a:bodyPr wrap="square">
            <a:spAutoFit/>
          </a:bodyPr>
          <a:lstStyle/>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Chief Resilience Officer            </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Director of the Governor's Office of Homeland Security and Emergency Preparedness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Governor's Executive Assistant for Coastal Activities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Commissioner of the Division of Administration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Commissioner of Insurance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Secretary of the Department of Transportation and Development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Executive Director of the Police Jury Association of Louisiana, Inc.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Executive Director of the Parish Presidents of Louisiana Association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Speaker of the House of Representatives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President of the Senate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Executive director of the Louisiana Municipal Association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A member from the Public Service Commission.</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Commissioner of Higher Education or designee.</a:t>
            </a:r>
          </a:p>
          <a:p>
            <a:pPr marL="285750" marR="0" lvl="0" indent="-285750" algn="l" defTabSz="1024506"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lang="en-US" sz="1600" kern="0" dirty="0">
                <a:solidFill>
                  <a:srgbClr val="000000"/>
                </a:solidFill>
                <a:latin typeface="Open Sans"/>
                <a:ea typeface="Open Sans Light" panose="020B0306030504020204" pitchFamily="34" charset="0"/>
                <a:cs typeface="Open Sans Light" panose="020B0306030504020204" pitchFamily="34" charset="0"/>
              </a:rPr>
              <a:t>The Secretary of the Department of Children and Family Services or designee.</a:t>
            </a:r>
          </a:p>
          <a:p>
            <a:pPr marL="342900" marR="0" lvl="0" indent="-342900" algn="l" defTabSz="1024506" rtl="0" eaLnBrk="1" fontAlgn="auto" latinLnBrk="0" hangingPunct="1">
              <a:lnSpc>
                <a:spcPct val="150000"/>
              </a:lnSpc>
              <a:spcBef>
                <a:spcPts val="0"/>
              </a:spcBef>
              <a:spcAft>
                <a:spcPts val="0"/>
              </a:spcAft>
              <a:buClrTx/>
              <a:buSzTx/>
              <a:buFont typeface="+mj-lt"/>
              <a:buAutoNum type="arabicPeriod"/>
              <a:tabLst/>
              <a:defRPr/>
            </a:pPr>
            <a:endParaRPr lang="en-US" sz="1600" kern="0" dirty="0">
              <a:solidFill>
                <a:srgbClr val="000000"/>
              </a:solidFill>
              <a:latin typeface="Open Sans"/>
              <a:ea typeface="Open Sans Light" panose="020B0306030504020204" pitchFamily="34" charset="0"/>
              <a:cs typeface="Open Sans Light" panose="020B0306030504020204" pitchFamily="34" charset="0"/>
            </a:endParaRPr>
          </a:p>
        </p:txBody>
      </p:sp>
      <p:graphicFrame>
        <p:nvGraphicFramePr>
          <p:cNvPr id="34" name="Diagram 33">
            <a:extLst>
              <a:ext uri="{FF2B5EF4-FFF2-40B4-BE49-F238E27FC236}">
                <a16:creationId xmlns:a16="http://schemas.microsoft.com/office/drawing/2014/main" id="{1C484D48-1C6A-6FAF-65E8-E9FCF4ED4409}"/>
              </a:ext>
            </a:extLst>
          </p:cNvPr>
          <p:cNvGraphicFramePr/>
          <p:nvPr/>
        </p:nvGraphicFramePr>
        <p:xfrm>
          <a:off x="6413864" y="6466395"/>
          <a:ext cx="5778136" cy="2005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01477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DA36A18-5A03-F875-5879-7EF5EDA2786A}"/>
              </a:ext>
            </a:extLst>
          </p:cNvPr>
          <p:cNvSpPr>
            <a:spLocks noGrp="1"/>
          </p:cNvSpPr>
          <p:nvPr>
            <p:ph type="title" idx="4294967295"/>
          </p:nvPr>
        </p:nvSpPr>
        <p:spPr>
          <a:xfrm>
            <a:off x="400326" y="4784908"/>
            <a:ext cx="8972274" cy="562846"/>
          </a:xfrm>
        </p:spPr>
        <p:txBody>
          <a:bodyPr>
            <a:noAutofit/>
          </a:bodyPr>
          <a:lstStyle/>
          <a:p>
            <a:r>
              <a:rPr lang="en-US" sz="8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 Comment</a:t>
            </a:r>
          </a:p>
        </p:txBody>
      </p:sp>
    </p:spTree>
    <p:extLst>
      <p:ext uri="{BB962C8B-B14F-4D97-AF65-F5344CB8AC3E}">
        <p14:creationId xmlns:p14="http://schemas.microsoft.com/office/powerpoint/2010/main" val="19805813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DA36A18-5A03-F875-5879-7EF5EDA2786A}"/>
              </a:ext>
            </a:extLst>
          </p:cNvPr>
          <p:cNvSpPr>
            <a:spLocks noGrp="1"/>
          </p:cNvSpPr>
          <p:nvPr>
            <p:ph type="title" idx="4294967295"/>
          </p:nvPr>
        </p:nvSpPr>
        <p:spPr>
          <a:xfrm>
            <a:off x="400326" y="4784908"/>
            <a:ext cx="8972274" cy="562846"/>
          </a:xfrm>
        </p:spPr>
        <p:txBody>
          <a:bodyPr>
            <a:noAutofit/>
          </a:bodyPr>
          <a:lstStyle/>
          <a:p>
            <a:r>
              <a:rPr lang="en-US" sz="8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pproval of Agenda</a:t>
            </a:r>
          </a:p>
        </p:txBody>
      </p:sp>
    </p:spTree>
    <p:extLst>
      <p:ext uri="{BB962C8B-B14F-4D97-AF65-F5344CB8AC3E}">
        <p14:creationId xmlns:p14="http://schemas.microsoft.com/office/powerpoint/2010/main" val="358742672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a:bodyPr>
          <a:lstStyle/>
          <a:p>
            <a:pPr defTabSz="1219165">
              <a:lnSpc>
                <a:spcPct val="150000"/>
              </a:lnSpc>
              <a:spcBef>
                <a:spcPts val="0"/>
              </a:spcBef>
              <a:buSzPct val="100000"/>
              <a:defRPr/>
            </a:pPr>
            <a:r>
              <a:rPr lang="en-US" sz="24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t>Opening Remarks</a:t>
            </a:r>
            <a:endParaRPr lang="en-US" sz="1600" dirty="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pic>
        <p:nvPicPr>
          <p:cNvPr id="4100" name="Picture 4" descr="Three candidates running for Louisiana's District 21 senate seat.">
            <a:extLst>
              <a:ext uri="{FF2B5EF4-FFF2-40B4-BE49-F238E27FC236}">
                <a16:creationId xmlns:a16="http://schemas.microsoft.com/office/drawing/2014/main" id="{5FFDC2A7-F233-0A80-5E6B-59E4935333C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0541" y="1806145"/>
            <a:ext cx="3342630" cy="324571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1BEA7A53-DDE5-F770-9415-E18E6C0F705A}"/>
              </a:ext>
            </a:extLst>
          </p:cNvPr>
          <p:cNvSpPr/>
          <p:nvPr/>
        </p:nvSpPr>
        <p:spPr bwMode="gray">
          <a:xfrm>
            <a:off x="4032487" y="2805434"/>
            <a:ext cx="6774058" cy="148042"/>
          </a:xfrm>
          <a:prstGeom prst="rect">
            <a:avLst/>
          </a:prstGeom>
          <a:gradFill>
            <a:gsLst>
              <a:gs pos="73000">
                <a:schemeClr val="accent1">
                  <a:lumMod val="20000"/>
                  <a:lumOff val="80000"/>
                </a:schemeClr>
              </a:gs>
              <a:gs pos="100000">
                <a:schemeClr val="bg1"/>
              </a:gs>
              <a:gs pos="0">
                <a:srgbClr val="046A38"/>
              </a:gs>
            </a:gsLst>
            <a:lin ang="0" scaled="0"/>
          </a:gradFill>
          <a:ln w="19050" algn="ctr">
            <a:noFill/>
            <a:miter lim="800000"/>
            <a:headEnd/>
            <a:tailEnd/>
          </a:ln>
        </p:spPr>
        <p:txBody>
          <a:bodyPr wrap="square" lIns="130387" tIns="130387" rIns="130387" bIns="130387" rtlCol="0" anchor="ctr"/>
          <a:lstStyle/>
          <a:p>
            <a:pPr algn="ctr">
              <a:lnSpc>
                <a:spcPct val="106000"/>
              </a:lnSpc>
              <a:buFont typeface="Wingdings 2" pitchFamily="18" charset="2"/>
              <a:buNone/>
            </a:pPr>
            <a:endParaRPr lang="en-GB" sz="2347" b="1">
              <a:solidFill>
                <a:schemeClr val="bg1"/>
              </a:solidFill>
            </a:endParaRPr>
          </a:p>
        </p:txBody>
      </p:sp>
      <p:sp>
        <p:nvSpPr>
          <p:cNvPr id="3" name="TextBox 2">
            <a:extLst>
              <a:ext uri="{FF2B5EF4-FFF2-40B4-BE49-F238E27FC236}">
                <a16:creationId xmlns:a16="http://schemas.microsoft.com/office/drawing/2014/main" id="{1970C043-22E8-4440-5F85-78D40F622C51}"/>
              </a:ext>
            </a:extLst>
          </p:cNvPr>
          <p:cNvSpPr txBox="1"/>
          <p:nvPr/>
        </p:nvSpPr>
        <p:spPr>
          <a:xfrm>
            <a:off x="3944469" y="2083540"/>
            <a:ext cx="6221507" cy="738664"/>
          </a:xfrm>
          <a:prstGeom prst="rect">
            <a:avLst/>
          </a:prstGeom>
          <a:noFill/>
        </p:spPr>
        <p:txBody>
          <a:bodyPr wrap="square" rtlCol="0">
            <a:spAutoFit/>
          </a:bodyPr>
          <a:lstStyle/>
          <a:p>
            <a:r>
              <a:rPr lang="en-US" sz="2400" b="1">
                <a:latin typeface="Open Sans" panose="020B0606030504020204" pitchFamily="34" charset="0"/>
                <a:ea typeface="Open Sans" panose="020B0606030504020204" pitchFamily="34" charset="0"/>
                <a:cs typeface="Open Sans" panose="020B0606030504020204" pitchFamily="34" charset="0"/>
              </a:rPr>
              <a:t>Stephen Swiber, </a:t>
            </a:r>
            <a:r>
              <a:rPr lang="en-US" sz="2400" b="1" i="1">
                <a:latin typeface="Open Sans" panose="020B0606030504020204" pitchFamily="34" charset="0"/>
                <a:ea typeface="Open Sans" panose="020B0606030504020204" pitchFamily="34" charset="0"/>
                <a:cs typeface="Open Sans" panose="020B0606030504020204" pitchFamily="34" charset="0"/>
              </a:rPr>
              <a:t>Chief Resilience Officer</a:t>
            </a:r>
          </a:p>
          <a:p>
            <a:r>
              <a:rPr lang="de-DE">
                <a:solidFill>
                  <a:srgbClr val="002060"/>
                </a:solidFill>
                <a:latin typeface="Open Sans" panose="020B0606030504020204" pitchFamily="34" charset="0"/>
                <a:ea typeface="Open Sans" panose="020B0606030504020204" pitchFamily="34" charset="0"/>
                <a:cs typeface="Open Sans" panose="020B0606030504020204" pitchFamily="34" charset="0"/>
              </a:rPr>
              <a:t>Stephen.Swiber@LA.GOV</a:t>
            </a:r>
            <a:endParaRPr lang="en-US">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F8450894-8CCA-713D-44CA-61DF5DFFA535}"/>
              </a:ext>
            </a:extLst>
          </p:cNvPr>
          <p:cNvSpPr txBox="1"/>
          <p:nvPr/>
        </p:nvSpPr>
        <p:spPr>
          <a:xfrm>
            <a:off x="4032487" y="3222405"/>
            <a:ext cx="7454119" cy="2585323"/>
          </a:xfrm>
          <a:prstGeom prst="rect">
            <a:avLst/>
          </a:prstGeom>
          <a:noFill/>
        </p:spPr>
        <p:txBody>
          <a:bodyPr wrap="square" rtlCol="0">
            <a:spAutoFit/>
          </a:bodyPr>
          <a:lstStyle/>
          <a:p>
            <a:r>
              <a:rPr lang="en-US" dirty="0">
                <a:latin typeface="Open Sans" panose="020B0606030504020204" pitchFamily="34" charset="0"/>
                <a:ea typeface="Open Sans" panose="020B0606030504020204" pitchFamily="34" charset="0"/>
                <a:cs typeface="Open Sans" panose="020B0606030504020204" pitchFamily="34" charset="0"/>
              </a:rPr>
              <a:t>As a lifelong Louisiana resident, I am extremely excited to help lead efforts to make Louisiana a stronger State. </a:t>
            </a:r>
          </a:p>
          <a:p>
            <a:endParaRPr lang="en-US" dirty="0">
              <a:latin typeface="Open Sans" panose="020B0606030504020204" pitchFamily="34" charset="0"/>
              <a:ea typeface="Open Sans" panose="020B0606030504020204" pitchFamily="34" charset="0"/>
              <a:cs typeface="Open Sans" panose="020B0606030504020204" pitchFamily="34" charset="0"/>
            </a:endParaRPr>
          </a:p>
          <a:p>
            <a:r>
              <a:rPr lang="en-US" dirty="0">
                <a:latin typeface="Open Sans" panose="020B0606030504020204" pitchFamily="34" charset="0"/>
                <a:ea typeface="Open Sans" panose="020B0606030504020204" pitchFamily="34" charset="0"/>
                <a:cs typeface="Open Sans" panose="020B0606030504020204" pitchFamily="34" charset="0"/>
              </a:rPr>
              <a:t>Resilience building is essential to improving the everyday lives of its residents and improve our ability to respond to challenges in the future.</a:t>
            </a:r>
          </a:p>
          <a:p>
            <a:endParaRPr lang="en-US" dirty="0">
              <a:latin typeface="Open Sans" panose="020B0606030504020204" pitchFamily="34" charset="0"/>
              <a:ea typeface="Open Sans" panose="020B0606030504020204" pitchFamily="34" charset="0"/>
              <a:cs typeface="Open Sans" panose="020B0606030504020204" pitchFamily="34" charset="0"/>
            </a:endParaRPr>
          </a:p>
          <a:p>
            <a:r>
              <a:rPr lang="en-US" dirty="0">
                <a:latin typeface="Open Sans" panose="020B0606030504020204" pitchFamily="34" charset="0"/>
                <a:ea typeface="Open Sans" panose="020B0606030504020204" pitchFamily="34" charset="0"/>
                <a:cs typeface="Open Sans" panose="020B0606030504020204" pitchFamily="34" charset="0"/>
              </a:rPr>
              <a:t>As the new CRO, I am here to not just talk the talk but get to work and make resilience an actionable and achievable goal for Louisiana.</a:t>
            </a:r>
          </a:p>
        </p:txBody>
      </p:sp>
    </p:spTree>
    <p:extLst>
      <p:ext uri="{BB962C8B-B14F-4D97-AF65-F5344CB8AC3E}">
        <p14:creationId xmlns:p14="http://schemas.microsoft.com/office/powerpoint/2010/main" val="396111614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86D07C0D-E55A-4312-9C04-DC27952CFA84}"/>
              </a:ext>
            </a:extLst>
          </p:cNvPr>
          <p:cNvSpPr/>
          <p:nvPr/>
        </p:nvSpPr>
        <p:spPr>
          <a:xfrm>
            <a:off x="9095484" y="2059806"/>
            <a:ext cx="2573053" cy="1070639"/>
          </a:xfrm>
          <a:prstGeom prst="rect">
            <a:avLst/>
          </a:prstGeom>
          <a:solidFill>
            <a:schemeClr val="accent6">
              <a:lumMod val="20000"/>
              <a:lumOff val="80000"/>
            </a:schemeClr>
          </a:solidFill>
          <a:ln w="28575" algn="ctr">
            <a:solidFill>
              <a:srgbClr val="002060"/>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r"/>
            <a:endParaRPr lang="en-US" sz="1600" b="1" kern="0">
              <a:solidFill>
                <a:srgbClr val="9F3E03"/>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1" name="Straight Connector 30">
            <a:extLst>
              <a:ext uri="{FF2B5EF4-FFF2-40B4-BE49-F238E27FC236}">
                <a16:creationId xmlns:a16="http://schemas.microsoft.com/office/drawing/2014/main" id="{F39685D3-2DEC-9A0B-EF23-B91EB1219D38}"/>
              </a:ext>
            </a:extLst>
          </p:cNvPr>
          <p:cNvCxnSpPr>
            <a:cxnSpLocks/>
          </p:cNvCxnSpPr>
          <p:nvPr/>
        </p:nvCxnSpPr>
        <p:spPr>
          <a:xfrm flipV="1">
            <a:off x="10610999" y="5220949"/>
            <a:ext cx="0" cy="548640"/>
          </a:xfrm>
          <a:prstGeom prst="line">
            <a:avLst/>
          </a:prstGeom>
        </p:spPr>
        <p:style>
          <a:lnRef idx="3">
            <a:schemeClr val="dk1"/>
          </a:lnRef>
          <a:fillRef idx="0">
            <a:schemeClr val="dk1"/>
          </a:fillRef>
          <a:effectRef idx="2">
            <a:schemeClr val="dk1"/>
          </a:effectRef>
          <a:fontRef idx="minor">
            <a:schemeClr val="tx1"/>
          </a:fontRef>
        </p:style>
      </p:cxnSp>
      <p:cxnSp>
        <p:nvCxnSpPr>
          <p:cNvPr id="26" name="Straight Connector 25">
            <a:extLst>
              <a:ext uri="{FF2B5EF4-FFF2-40B4-BE49-F238E27FC236}">
                <a16:creationId xmlns:a16="http://schemas.microsoft.com/office/drawing/2014/main" id="{0FBED4B5-BF96-7F97-C581-A206CD0F1F0A}"/>
              </a:ext>
            </a:extLst>
          </p:cNvPr>
          <p:cNvCxnSpPr>
            <a:cxnSpLocks/>
          </p:cNvCxnSpPr>
          <p:nvPr/>
        </p:nvCxnSpPr>
        <p:spPr>
          <a:xfrm flipV="1">
            <a:off x="6804334" y="5251413"/>
            <a:ext cx="0" cy="548640"/>
          </a:xfrm>
          <a:prstGeom prst="line">
            <a:avLst/>
          </a:prstGeom>
        </p:spPr>
        <p:style>
          <a:lnRef idx="3">
            <a:schemeClr val="dk1"/>
          </a:lnRef>
          <a:fillRef idx="0">
            <a:schemeClr val="dk1"/>
          </a:fillRef>
          <a:effectRef idx="2">
            <a:schemeClr val="dk1"/>
          </a:effectRef>
          <a:fontRef idx="minor">
            <a:schemeClr val="tx1"/>
          </a:fontRef>
        </p:style>
      </p:cxnSp>
      <p:cxnSp>
        <p:nvCxnSpPr>
          <p:cNvPr id="34" name="Straight Connector 33">
            <a:extLst>
              <a:ext uri="{FF2B5EF4-FFF2-40B4-BE49-F238E27FC236}">
                <a16:creationId xmlns:a16="http://schemas.microsoft.com/office/drawing/2014/main" id="{AF9C8045-CE0D-BD03-4024-4ABAF4C46FA7}"/>
              </a:ext>
            </a:extLst>
          </p:cNvPr>
          <p:cNvCxnSpPr>
            <a:cxnSpLocks/>
          </p:cNvCxnSpPr>
          <p:nvPr/>
        </p:nvCxnSpPr>
        <p:spPr>
          <a:xfrm flipV="1">
            <a:off x="430557" y="5296103"/>
            <a:ext cx="0" cy="503950"/>
          </a:xfrm>
          <a:prstGeom prst="line">
            <a:avLst/>
          </a:prstGeom>
        </p:spPr>
        <p:style>
          <a:lnRef idx="3">
            <a:schemeClr val="dk1"/>
          </a:lnRef>
          <a:fillRef idx="0">
            <a:schemeClr val="dk1"/>
          </a:fillRef>
          <a:effectRef idx="2">
            <a:schemeClr val="dk1"/>
          </a:effectRef>
          <a:fontRef idx="minor">
            <a:schemeClr val="tx1"/>
          </a:fontRef>
        </p:style>
      </p:cxnSp>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a:bodyPr>
          <a:lstStyle/>
          <a:p>
            <a:pPr defTabSz="1219165">
              <a:lnSpc>
                <a:spcPct val="150000"/>
              </a:lnSpc>
              <a:spcBef>
                <a:spcPts val="0"/>
              </a:spcBef>
              <a:buSzPct val="100000"/>
              <a:defRPr/>
            </a:pPr>
            <a:r>
              <a:rPr lang="en-US" sz="2400" b="1" dirty="0">
                <a:solidFill>
                  <a:prstClr val="black"/>
                </a:solidFill>
                <a:uFillTx/>
                <a:latin typeface="Open Sans" panose="020B0606030504020204" pitchFamily="34" charset="0"/>
                <a:ea typeface="Open Sans" panose="020B0606030504020204" pitchFamily="34" charset="0"/>
                <a:cs typeface="Open Sans" panose="020B0606030504020204" pitchFamily="34" charset="0"/>
              </a:rPr>
              <a:t>History of Resilience in Louisiana</a:t>
            </a:r>
            <a:endParaRPr lang="en-US" sz="1600" dirty="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sp>
        <p:nvSpPr>
          <p:cNvPr id="13" name="Arrow: Right 12">
            <a:extLst>
              <a:ext uri="{FF2B5EF4-FFF2-40B4-BE49-F238E27FC236}">
                <a16:creationId xmlns:a16="http://schemas.microsoft.com/office/drawing/2014/main" id="{18F1FA49-E60B-29A7-D5CA-63C9D2C17C16}"/>
              </a:ext>
            </a:extLst>
          </p:cNvPr>
          <p:cNvSpPr/>
          <p:nvPr/>
        </p:nvSpPr>
        <p:spPr>
          <a:xfrm>
            <a:off x="6774287" y="4850413"/>
            <a:ext cx="4987152" cy="1012505"/>
          </a:xfrm>
          <a:prstGeom prst="rightArrow">
            <a:avLst/>
          </a:prstGeom>
          <a:solidFill>
            <a:srgbClr val="D9D9D9"/>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endParaRPr kumimoji="0" lang="en-US" sz="1600" b="1"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0829CF6A-F09C-B2AE-084B-45A50410D6B4}"/>
              </a:ext>
            </a:extLst>
          </p:cNvPr>
          <p:cNvSpPr/>
          <p:nvPr/>
        </p:nvSpPr>
        <p:spPr bwMode="gray">
          <a:xfrm>
            <a:off x="430558" y="5107237"/>
            <a:ext cx="6343729" cy="499812"/>
          </a:xfrm>
          <a:prstGeom prst="rect">
            <a:avLst/>
          </a:prstGeom>
          <a:solidFill>
            <a:schemeClr val="accent1">
              <a:lumMod val="20000"/>
              <a:lumOff val="80000"/>
            </a:schemeClr>
          </a:solidFill>
          <a:ln w="19050" algn="ctr">
            <a:solidFill>
              <a:schemeClr val="accent1">
                <a:lumMod val="20000"/>
                <a:lumOff val="80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9" name="Group 8">
            <a:extLst>
              <a:ext uri="{FF2B5EF4-FFF2-40B4-BE49-F238E27FC236}">
                <a16:creationId xmlns:a16="http://schemas.microsoft.com/office/drawing/2014/main" id="{C41399DC-B31E-AADA-8481-133CA17176CD}"/>
              </a:ext>
            </a:extLst>
          </p:cNvPr>
          <p:cNvGrpSpPr/>
          <p:nvPr/>
        </p:nvGrpSpPr>
        <p:grpSpPr>
          <a:xfrm>
            <a:off x="699752" y="3034985"/>
            <a:ext cx="3941822" cy="1772250"/>
            <a:chOff x="699752" y="3034985"/>
            <a:chExt cx="3941822" cy="1772250"/>
          </a:xfrm>
        </p:grpSpPr>
        <p:sp>
          <p:nvSpPr>
            <p:cNvPr id="4" name="Rectangle 3">
              <a:extLst>
                <a:ext uri="{FF2B5EF4-FFF2-40B4-BE49-F238E27FC236}">
                  <a16:creationId xmlns:a16="http://schemas.microsoft.com/office/drawing/2014/main" id="{A6B40E8E-37E8-4FB0-5191-91E17AF81F9C}"/>
                </a:ext>
              </a:extLst>
            </p:cNvPr>
            <p:cNvSpPr/>
            <p:nvPr/>
          </p:nvSpPr>
          <p:spPr>
            <a:xfrm>
              <a:off x="699752" y="3034985"/>
              <a:ext cx="3885675" cy="1751815"/>
            </a:xfrm>
            <a:prstGeom prst="rect">
              <a:avLst/>
            </a:prstGeom>
            <a:solidFill>
              <a:schemeClr val="accent6">
                <a:lumMod val="20000"/>
                <a:lumOff val="80000"/>
              </a:schemeClr>
            </a:solidFill>
            <a:ln w="28575" algn="ctr">
              <a:solidFill>
                <a:srgbClr val="002060"/>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r"/>
              <a:endParaRPr lang="en-US" sz="1600" b="1" kern="0">
                <a:solidFill>
                  <a:srgbClr val="9F3E0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TextBox 22">
              <a:extLst>
                <a:ext uri="{FF2B5EF4-FFF2-40B4-BE49-F238E27FC236}">
                  <a16:creationId xmlns:a16="http://schemas.microsoft.com/office/drawing/2014/main" id="{B7D8E36B-F601-97A5-2B18-FF56AEE3D410}"/>
                </a:ext>
              </a:extLst>
            </p:cNvPr>
            <p:cNvSpPr txBox="1"/>
            <p:nvPr/>
          </p:nvSpPr>
          <p:spPr>
            <a:xfrm>
              <a:off x="755899" y="3114464"/>
              <a:ext cx="3885675" cy="1692771"/>
            </a:xfrm>
            <a:prstGeom prst="rect">
              <a:avLst/>
            </a:prstGeom>
            <a:noFill/>
          </p:spPr>
          <p:txBody>
            <a:bodyPr wrap="square" rtlCol="0">
              <a:spAutoFit/>
            </a:bodyPr>
            <a:lstStyle/>
            <a:p>
              <a:pPr algn="ctr">
                <a:buClr>
                  <a:srgbClr val="000000"/>
                </a:buClr>
                <a:buSzPct val="80000"/>
              </a:pPr>
              <a:r>
                <a:rPr lang="en-US" sz="14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December 2005: Formulation of CPRA following Hurricane Katrina</a:t>
              </a:r>
            </a:p>
            <a:p>
              <a:pPr>
                <a:buClr>
                  <a:srgbClr val="000000"/>
                </a:buClr>
                <a:buSzPct val="80000"/>
              </a:pPr>
              <a:endParaRPr lang="en-US" sz="1000" dirty="0">
                <a:solidFill>
                  <a:srgbClr val="6B8B75"/>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Clr>
                  <a:srgbClr val="000000"/>
                </a:buClr>
                <a:buSzPct val="80000"/>
                <a:buFont typeface="Arial" panose="020B0604020202020204" pitchFamily="34" charset="0"/>
                <a:buChar char="•"/>
              </a:pPr>
              <a:r>
                <a:rPr kumimoji="0" lang="en-US" sz="1100" b="1" i="1"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Louisiana</a:t>
              </a:r>
              <a:r>
                <a:rPr lang="en-US" sz="11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 Legislature restructured the State’s Wetland Conservation and Restoration Authority to form the Coastal Protection and Restoration Authority.</a:t>
              </a:r>
            </a:p>
            <a:p>
              <a:pPr marL="171450" indent="-171450">
                <a:buClr>
                  <a:srgbClr val="000000"/>
                </a:buClr>
                <a:buSzPct val="80000"/>
                <a:buFont typeface="Arial" panose="020B0604020202020204" pitchFamily="34" charset="0"/>
                <a:buChar char="•"/>
              </a:pPr>
              <a:r>
                <a:rPr kumimoji="0" lang="en-US" sz="1100" b="1" i="1"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Goal: Address recovery issues confronting Louisiana following Hurricane Katrina and Rita </a:t>
              </a:r>
              <a:endParaRPr kumimoji="0" lang="en-US" sz="1200" b="1" i="1" u="none" strike="noStrike" kern="1200" cap="none" spc="0" normalizeH="0" baseline="0" noProof="0" dirty="0">
                <a:ln>
                  <a:noFill/>
                </a:ln>
                <a:solidFill>
                  <a:srgbClr val="374C8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7" name="TextBox 26">
            <a:extLst>
              <a:ext uri="{FF2B5EF4-FFF2-40B4-BE49-F238E27FC236}">
                <a16:creationId xmlns:a16="http://schemas.microsoft.com/office/drawing/2014/main" id="{47E5BD42-4279-4235-A575-5224DC20153D}"/>
              </a:ext>
            </a:extLst>
          </p:cNvPr>
          <p:cNvSpPr txBox="1"/>
          <p:nvPr/>
        </p:nvSpPr>
        <p:spPr>
          <a:xfrm>
            <a:off x="6549110" y="5833273"/>
            <a:ext cx="547411" cy="369332"/>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June 2023</a:t>
            </a:r>
            <a:endParaRPr kumimoji="0" lang="en-US" sz="1200" b="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A4B4610F-3864-2CDD-D919-B5E33E583EB5}"/>
              </a:ext>
            </a:extLst>
          </p:cNvPr>
          <p:cNvSpPr txBox="1"/>
          <p:nvPr/>
        </p:nvSpPr>
        <p:spPr>
          <a:xfrm>
            <a:off x="11537" y="5862918"/>
            <a:ext cx="838039" cy="394980"/>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Dec </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2005</a:t>
            </a:r>
            <a:endParaRPr kumimoji="0" lang="en-US" sz="1200" b="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050" name="Picture 2" descr="Coastal Protection and Restoration AuthorityAbout CPRA | Coastal Protection  And Restoration Authority">
            <a:extLst>
              <a:ext uri="{FF2B5EF4-FFF2-40B4-BE49-F238E27FC236}">
                <a16:creationId xmlns:a16="http://schemas.microsoft.com/office/drawing/2014/main" id="{CC90CC29-765A-18C7-D0B8-C36A1E63A8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0269" y="1228362"/>
            <a:ext cx="1711213" cy="1711213"/>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EF948E4E-BFEA-96C3-E6A3-76F7830F835C}"/>
              </a:ext>
            </a:extLst>
          </p:cNvPr>
          <p:cNvSpPr txBox="1"/>
          <p:nvPr/>
        </p:nvSpPr>
        <p:spPr>
          <a:xfrm>
            <a:off x="822101" y="5187955"/>
            <a:ext cx="5868473" cy="307777"/>
          </a:xfrm>
          <a:prstGeom prst="rect">
            <a:avLst/>
          </a:prstGeom>
          <a:noFill/>
        </p:spPr>
        <p:txBody>
          <a:bodyPr wrap="square" rtlCol="0">
            <a:spAutoFit/>
          </a:bodyPr>
          <a:lstStyle/>
          <a:p>
            <a:r>
              <a:rPr lang="en-US" sz="14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Resilience work in LA primarily focused on coastal restoration</a:t>
            </a:r>
          </a:p>
        </p:txBody>
      </p:sp>
      <p:grpSp>
        <p:nvGrpSpPr>
          <p:cNvPr id="11" name="Group 10">
            <a:extLst>
              <a:ext uri="{FF2B5EF4-FFF2-40B4-BE49-F238E27FC236}">
                <a16:creationId xmlns:a16="http://schemas.microsoft.com/office/drawing/2014/main" id="{66F967CF-8D0C-E908-A723-2EAD072DA821}"/>
              </a:ext>
            </a:extLst>
          </p:cNvPr>
          <p:cNvGrpSpPr/>
          <p:nvPr/>
        </p:nvGrpSpPr>
        <p:grpSpPr>
          <a:xfrm>
            <a:off x="2663035" y="1167919"/>
            <a:ext cx="3941822" cy="1751815"/>
            <a:chOff x="43772" y="3034985"/>
            <a:chExt cx="3941822" cy="1751815"/>
          </a:xfrm>
        </p:grpSpPr>
        <p:sp>
          <p:nvSpPr>
            <p:cNvPr id="15" name="Rectangle 14">
              <a:extLst>
                <a:ext uri="{FF2B5EF4-FFF2-40B4-BE49-F238E27FC236}">
                  <a16:creationId xmlns:a16="http://schemas.microsoft.com/office/drawing/2014/main" id="{BB151527-B57D-BDE6-A592-D0B48E5B253F}"/>
                </a:ext>
              </a:extLst>
            </p:cNvPr>
            <p:cNvSpPr/>
            <p:nvPr/>
          </p:nvSpPr>
          <p:spPr>
            <a:xfrm>
              <a:off x="43772" y="3034985"/>
              <a:ext cx="3885675" cy="1751815"/>
            </a:xfrm>
            <a:prstGeom prst="rect">
              <a:avLst/>
            </a:prstGeom>
            <a:solidFill>
              <a:schemeClr val="accent6">
                <a:lumMod val="20000"/>
                <a:lumOff val="80000"/>
              </a:schemeClr>
            </a:solidFill>
            <a:ln w="28575" algn="ctr">
              <a:solidFill>
                <a:srgbClr val="002060"/>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r"/>
              <a:endParaRPr lang="en-US" sz="1600" b="1" kern="0">
                <a:solidFill>
                  <a:srgbClr val="9F3E0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extBox 17">
              <a:extLst>
                <a:ext uri="{FF2B5EF4-FFF2-40B4-BE49-F238E27FC236}">
                  <a16:creationId xmlns:a16="http://schemas.microsoft.com/office/drawing/2014/main" id="{2AF4D8B2-08D2-857D-F338-E74A545032AB}"/>
                </a:ext>
              </a:extLst>
            </p:cNvPr>
            <p:cNvSpPr txBox="1"/>
            <p:nvPr/>
          </p:nvSpPr>
          <p:spPr>
            <a:xfrm>
              <a:off x="99919" y="3114464"/>
              <a:ext cx="3885675" cy="1646605"/>
            </a:xfrm>
            <a:prstGeom prst="rect">
              <a:avLst/>
            </a:prstGeom>
            <a:noFill/>
          </p:spPr>
          <p:txBody>
            <a:bodyPr wrap="square" rtlCol="0">
              <a:spAutoFit/>
            </a:bodyPr>
            <a:lstStyle/>
            <a:p>
              <a:pPr algn="ctr">
                <a:buClr>
                  <a:srgbClr val="000000"/>
                </a:buClr>
                <a:buSzPct val="80000"/>
              </a:pPr>
              <a:r>
                <a:rPr lang="en-US" sz="14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Governor’s Office of Coastal Activities</a:t>
              </a:r>
            </a:p>
            <a:p>
              <a:pPr algn="ctr">
                <a:buClr>
                  <a:srgbClr val="000000"/>
                </a:buClr>
                <a:buSzPct val="80000"/>
              </a:pPr>
              <a:endParaRPr lang="en-US" sz="1000" dirty="0">
                <a:solidFill>
                  <a:srgbClr val="6B8B75"/>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Clr>
                  <a:srgbClr val="000000"/>
                </a:buClr>
                <a:buSzPct val="80000"/>
                <a:buFont typeface="Arial" panose="020B0604020202020204" pitchFamily="34" charset="0"/>
                <a:buChar char="•"/>
              </a:pPr>
              <a:r>
                <a:rPr kumimoji="0" lang="en-US" sz="1100" b="1" i="1" u="none" strike="noStrike" kern="1200" cap="none" spc="0" normalizeH="0" baseline="0" noProof="0" dirty="0">
                  <a:ln>
                    <a:noFill/>
                  </a:ln>
                  <a:solidFill>
                    <a:srgbClr val="002060"/>
                  </a:solidFill>
                  <a:effectLst/>
                  <a:uLnTx/>
                  <a:uFillTx/>
                  <a:latin typeface="Open Sans" panose="020B0606030504020204" pitchFamily="34" charset="0"/>
                  <a:ea typeface="Open Sans" panose="020B0606030504020204" pitchFamily="34" charset="0"/>
                  <a:cs typeface="Open Sans" panose="020B0606030504020204" pitchFamily="34" charset="0"/>
                </a:rPr>
                <a:t>The Resilience Officer and GOCA directs and coordinates the development and implementation of policies, plans, and programs which encourage multiple uses of the coastal zone and achieve a proper balance between development and conservation, restoration, creation, and nourishment of coastal resources.</a:t>
              </a:r>
              <a:endParaRPr kumimoji="0" lang="en-US" sz="1200" b="1" i="1" u="none" strike="noStrike" kern="1200" cap="none" spc="0" normalizeH="0" baseline="0" noProof="0" dirty="0">
                <a:ln>
                  <a:noFill/>
                </a:ln>
                <a:solidFill>
                  <a:srgbClr val="374C8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 name="Group 18">
            <a:extLst>
              <a:ext uri="{FF2B5EF4-FFF2-40B4-BE49-F238E27FC236}">
                <a16:creationId xmlns:a16="http://schemas.microsoft.com/office/drawing/2014/main" id="{5F357916-8B9C-A313-BA55-965AA593F670}"/>
              </a:ext>
            </a:extLst>
          </p:cNvPr>
          <p:cNvGrpSpPr/>
          <p:nvPr/>
        </p:nvGrpSpPr>
        <p:grpSpPr>
          <a:xfrm>
            <a:off x="5885084" y="3697357"/>
            <a:ext cx="1846017" cy="1506249"/>
            <a:chOff x="699752" y="3034985"/>
            <a:chExt cx="3941822" cy="2153922"/>
          </a:xfrm>
        </p:grpSpPr>
        <p:sp>
          <p:nvSpPr>
            <p:cNvPr id="20" name="Rectangle 19">
              <a:extLst>
                <a:ext uri="{FF2B5EF4-FFF2-40B4-BE49-F238E27FC236}">
                  <a16:creationId xmlns:a16="http://schemas.microsoft.com/office/drawing/2014/main" id="{8632C10A-47B6-307E-B537-2A02559C027A}"/>
                </a:ext>
              </a:extLst>
            </p:cNvPr>
            <p:cNvSpPr/>
            <p:nvPr/>
          </p:nvSpPr>
          <p:spPr>
            <a:xfrm>
              <a:off x="699752" y="3034985"/>
              <a:ext cx="3885675" cy="1751815"/>
            </a:xfrm>
            <a:prstGeom prst="rect">
              <a:avLst/>
            </a:prstGeom>
            <a:solidFill>
              <a:schemeClr val="accent6">
                <a:lumMod val="20000"/>
                <a:lumOff val="80000"/>
              </a:schemeClr>
            </a:solidFill>
            <a:ln w="28575" algn="ctr">
              <a:solidFill>
                <a:srgbClr val="002060"/>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r"/>
              <a:endParaRPr lang="en-US" sz="1600" b="1" kern="0">
                <a:solidFill>
                  <a:srgbClr val="9F3E0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4148C128-4B75-4FBF-A782-B36A293D656F}"/>
                </a:ext>
              </a:extLst>
            </p:cNvPr>
            <p:cNvSpPr txBox="1"/>
            <p:nvPr/>
          </p:nvSpPr>
          <p:spPr>
            <a:xfrm>
              <a:off x="755900" y="3114463"/>
              <a:ext cx="3885674" cy="2074444"/>
            </a:xfrm>
            <a:prstGeom prst="rect">
              <a:avLst/>
            </a:prstGeom>
            <a:noFill/>
          </p:spPr>
          <p:txBody>
            <a:bodyPr wrap="square" rtlCol="0">
              <a:spAutoFit/>
            </a:bodyPr>
            <a:lstStyle/>
            <a:p>
              <a:pPr algn="ctr">
                <a:buClr>
                  <a:srgbClr val="000000"/>
                </a:buClr>
                <a:buSzPct val="80000"/>
              </a:pPr>
              <a:r>
                <a:rPr lang="en-US" sz="14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Louisiana Becomes the 11</a:t>
              </a:r>
              <a:r>
                <a:rPr lang="en-US" sz="1400" b="1" i="1" baseline="30000" dirty="0">
                  <a:solidFill>
                    <a:srgbClr val="002060"/>
                  </a:solidFill>
                  <a:latin typeface="Open Sans" panose="020B0606030504020204" pitchFamily="34" charset="0"/>
                  <a:ea typeface="Open Sans" panose="020B0606030504020204" pitchFamily="34" charset="0"/>
                  <a:cs typeface="Open Sans" panose="020B0606030504020204" pitchFamily="34" charset="0"/>
                </a:rPr>
                <a:t>th</a:t>
              </a:r>
              <a:r>
                <a:rPr lang="en-US" sz="14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 State to name a Chief Resilience Officer per Act 315</a:t>
              </a:r>
            </a:p>
            <a:p>
              <a:pPr algn="ctr">
                <a:buClr>
                  <a:srgbClr val="000000"/>
                </a:buClr>
                <a:buSzPct val="80000"/>
              </a:pPr>
              <a:endParaRPr lang="en-US" sz="1000" dirty="0">
                <a:solidFill>
                  <a:srgbClr val="6B8B75"/>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2" name="TextBox 31">
            <a:extLst>
              <a:ext uri="{FF2B5EF4-FFF2-40B4-BE49-F238E27FC236}">
                <a16:creationId xmlns:a16="http://schemas.microsoft.com/office/drawing/2014/main" id="{503970A2-706E-6B3D-BED9-626AC3ED1FD8}"/>
              </a:ext>
            </a:extLst>
          </p:cNvPr>
          <p:cNvSpPr txBox="1"/>
          <p:nvPr/>
        </p:nvSpPr>
        <p:spPr>
          <a:xfrm>
            <a:off x="10355775" y="5753114"/>
            <a:ext cx="547411" cy="18466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lang="en-US" sz="1200" b="1" dirty="0">
                <a:solidFill>
                  <a:prstClr val="black"/>
                </a:solidFill>
                <a:latin typeface="Open Sans" panose="020B0606030504020204" pitchFamily="34" charset="0"/>
                <a:ea typeface="Open Sans" panose="020B0606030504020204" pitchFamily="34" charset="0"/>
                <a:cs typeface="Open Sans" panose="020B0606030504020204" pitchFamily="34" charset="0"/>
              </a:rPr>
              <a:t>2024</a:t>
            </a:r>
            <a:endParaRPr kumimoji="0" lang="en-US" sz="1200" b="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33" name="Group 32">
            <a:extLst>
              <a:ext uri="{FF2B5EF4-FFF2-40B4-BE49-F238E27FC236}">
                <a16:creationId xmlns:a16="http://schemas.microsoft.com/office/drawing/2014/main" id="{30F5D71A-D427-DDE3-9DA5-8ACBEB4A3A15}"/>
              </a:ext>
            </a:extLst>
          </p:cNvPr>
          <p:cNvGrpSpPr/>
          <p:nvPr/>
        </p:nvGrpSpPr>
        <p:grpSpPr>
          <a:xfrm>
            <a:off x="8213205" y="3339795"/>
            <a:ext cx="1529315" cy="1012506"/>
            <a:chOff x="699752" y="3034985"/>
            <a:chExt cx="3941820" cy="1751815"/>
          </a:xfrm>
        </p:grpSpPr>
        <p:sp>
          <p:nvSpPr>
            <p:cNvPr id="38" name="Rectangle 37">
              <a:extLst>
                <a:ext uri="{FF2B5EF4-FFF2-40B4-BE49-F238E27FC236}">
                  <a16:creationId xmlns:a16="http://schemas.microsoft.com/office/drawing/2014/main" id="{016BC0D2-F40E-1B99-2E19-1034CE588A9A}"/>
                </a:ext>
              </a:extLst>
            </p:cNvPr>
            <p:cNvSpPr/>
            <p:nvPr/>
          </p:nvSpPr>
          <p:spPr>
            <a:xfrm>
              <a:off x="699752" y="3034985"/>
              <a:ext cx="3885675" cy="1751815"/>
            </a:xfrm>
            <a:prstGeom prst="rect">
              <a:avLst/>
            </a:prstGeom>
            <a:solidFill>
              <a:schemeClr val="accent6">
                <a:lumMod val="20000"/>
                <a:lumOff val="80000"/>
              </a:schemeClr>
            </a:solidFill>
            <a:ln w="28575" algn="ctr">
              <a:solidFill>
                <a:srgbClr val="002060"/>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r"/>
              <a:endParaRPr lang="en-US" sz="1600" b="1" kern="0">
                <a:solidFill>
                  <a:srgbClr val="9F3E0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a:extLst>
                <a:ext uri="{FF2B5EF4-FFF2-40B4-BE49-F238E27FC236}">
                  <a16:creationId xmlns:a16="http://schemas.microsoft.com/office/drawing/2014/main" id="{3FAE1C5A-FD43-4834-07CC-577213D69C8D}"/>
                </a:ext>
              </a:extLst>
            </p:cNvPr>
            <p:cNvSpPr txBox="1"/>
            <p:nvPr/>
          </p:nvSpPr>
          <p:spPr>
            <a:xfrm>
              <a:off x="755900" y="3114464"/>
              <a:ext cx="3885672" cy="1650774"/>
            </a:xfrm>
            <a:prstGeom prst="rect">
              <a:avLst/>
            </a:prstGeom>
            <a:noFill/>
          </p:spPr>
          <p:txBody>
            <a:bodyPr wrap="square" rtlCol="0">
              <a:spAutoFit/>
            </a:bodyPr>
            <a:lstStyle/>
            <a:p>
              <a:pPr algn="ctr">
                <a:buClr>
                  <a:srgbClr val="000000"/>
                </a:buClr>
                <a:buSzPct val="80000"/>
              </a:pPr>
              <a:r>
                <a:rPr lang="en-US" sz="14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First Louisiana Resilience Annual Report Released</a:t>
              </a:r>
              <a:endParaRPr lang="en-US" sz="1000" dirty="0">
                <a:solidFill>
                  <a:srgbClr val="6B8B75"/>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0" name="TextBox 39">
            <a:extLst>
              <a:ext uri="{FF2B5EF4-FFF2-40B4-BE49-F238E27FC236}">
                <a16:creationId xmlns:a16="http://schemas.microsoft.com/office/drawing/2014/main" id="{7F44BE39-E7F9-78A0-67DD-38168CD6B1C3}"/>
              </a:ext>
            </a:extLst>
          </p:cNvPr>
          <p:cNvSpPr txBox="1"/>
          <p:nvPr/>
        </p:nvSpPr>
        <p:spPr>
          <a:xfrm>
            <a:off x="6816143" y="5080489"/>
            <a:ext cx="4903439" cy="523220"/>
          </a:xfrm>
          <a:prstGeom prst="rect">
            <a:avLst/>
          </a:prstGeom>
          <a:noFill/>
        </p:spPr>
        <p:txBody>
          <a:bodyPr wrap="square" rtlCol="0">
            <a:spAutoFit/>
          </a:bodyPr>
          <a:lstStyle/>
          <a:p>
            <a:r>
              <a:rPr lang="en-US" sz="14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Establish the role of CRO to advance and coordinate adaptation throughout Louisiana</a:t>
            </a:r>
          </a:p>
        </p:txBody>
      </p:sp>
      <p:sp>
        <p:nvSpPr>
          <p:cNvPr id="48" name="TextBox 47">
            <a:extLst>
              <a:ext uri="{FF2B5EF4-FFF2-40B4-BE49-F238E27FC236}">
                <a16:creationId xmlns:a16="http://schemas.microsoft.com/office/drawing/2014/main" id="{EB973FAD-F799-CC04-4826-72AB86D93D7A}"/>
              </a:ext>
            </a:extLst>
          </p:cNvPr>
          <p:cNvSpPr txBox="1"/>
          <p:nvPr/>
        </p:nvSpPr>
        <p:spPr>
          <a:xfrm>
            <a:off x="9078072" y="2101903"/>
            <a:ext cx="2590465" cy="954107"/>
          </a:xfrm>
          <a:prstGeom prst="rect">
            <a:avLst/>
          </a:prstGeom>
          <a:noFill/>
        </p:spPr>
        <p:txBody>
          <a:bodyPr wrap="square" rtlCol="0">
            <a:spAutoFit/>
          </a:bodyPr>
          <a:lstStyle/>
          <a:p>
            <a:pPr algn="ctr">
              <a:buClr>
                <a:srgbClr val="000000"/>
              </a:buClr>
              <a:buSzPct val="80000"/>
            </a:pPr>
            <a:r>
              <a:rPr lang="en-US" sz="14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Public facing website resilience.la.gov goes live &amp; resilience grants tracked on infrastructure.la.gov</a:t>
            </a:r>
            <a:endParaRPr lang="en-US" sz="1000" dirty="0">
              <a:solidFill>
                <a:srgbClr val="6B8B75"/>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0" name="Group 49">
            <a:extLst>
              <a:ext uri="{FF2B5EF4-FFF2-40B4-BE49-F238E27FC236}">
                <a16:creationId xmlns:a16="http://schemas.microsoft.com/office/drawing/2014/main" id="{9A802639-A520-4891-BACA-BF1D1EBE3B89}"/>
              </a:ext>
            </a:extLst>
          </p:cNvPr>
          <p:cNvGrpSpPr/>
          <p:nvPr/>
        </p:nvGrpSpPr>
        <p:grpSpPr>
          <a:xfrm>
            <a:off x="10292149" y="3672946"/>
            <a:ext cx="1729645" cy="1019388"/>
            <a:chOff x="699752" y="3034985"/>
            <a:chExt cx="3943198" cy="1763722"/>
          </a:xfrm>
        </p:grpSpPr>
        <p:sp>
          <p:nvSpPr>
            <p:cNvPr id="51" name="Rectangle 50">
              <a:extLst>
                <a:ext uri="{FF2B5EF4-FFF2-40B4-BE49-F238E27FC236}">
                  <a16:creationId xmlns:a16="http://schemas.microsoft.com/office/drawing/2014/main" id="{E6D44CE7-BAA9-6422-436E-3824C1C3950A}"/>
                </a:ext>
              </a:extLst>
            </p:cNvPr>
            <p:cNvSpPr/>
            <p:nvPr/>
          </p:nvSpPr>
          <p:spPr>
            <a:xfrm>
              <a:off x="699752" y="3034985"/>
              <a:ext cx="3885675" cy="1751815"/>
            </a:xfrm>
            <a:prstGeom prst="rect">
              <a:avLst/>
            </a:prstGeom>
            <a:solidFill>
              <a:schemeClr val="accent6">
                <a:lumMod val="20000"/>
                <a:lumOff val="80000"/>
              </a:schemeClr>
            </a:solidFill>
            <a:ln w="28575" algn="ctr">
              <a:solidFill>
                <a:srgbClr val="002060"/>
              </a:solid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r"/>
              <a:endParaRPr lang="en-US" sz="1600" b="1" kern="0">
                <a:solidFill>
                  <a:srgbClr val="9F3E0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 name="TextBox 51">
              <a:extLst>
                <a:ext uri="{FF2B5EF4-FFF2-40B4-BE49-F238E27FC236}">
                  <a16:creationId xmlns:a16="http://schemas.microsoft.com/office/drawing/2014/main" id="{3B9D672B-EC40-8D35-F30E-E7DD1E5AC1C3}"/>
                </a:ext>
              </a:extLst>
            </p:cNvPr>
            <p:cNvSpPr txBox="1"/>
            <p:nvPr/>
          </p:nvSpPr>
          <p:spPr>
            <a:xfrm>
              <a:off x="757273" y="3147933"/>
              <a:ext cx="3885677" cy="1650774"/>
            </a:xfrm>
            <a:prstGeom prst="rect">
              <a:avLst/>
            </a:prstGeom>
            <a:noFill/>
          </p:spPr>
          <p:txBody>
            <a:bodyPr wrap="square" rtlCol="0">
              <a:spAutoFit/>
            </a:bodyPr>
            <a:lstStyle/>
            <a:p>
              <a:pPr algn="ctr">
                <a:buClr>
                  <a:srgbClr val="000000"/>
                </a:buClr>
                <a:buSzPct val="80000"/>
              </a:pPr>
              <a:r>
                <a:rPr lang="en-US" sz="1400" b="1" i="1" dirty="0">
                  <a:solidFill>
                    <a:srgbClr val="002060"/>
                  </a:solidFill>
                  <a:latin typeface="Open Sans" panose="020B0606030504020204" pitchFamily="34" charset="0"/>
                  <a:ea typeface="Open Sans" panose="020B0606030504020204" pitchFamily="34" charset="0"/>
                  <a:cs typeface="Open Sans" panose="020B0606030504020204" pitchFamily="34" charset="0"/>
                </a:rPr>
                <a:t>New CRO named to support a Resilience Louisiana</a:t>
              </a:r>
              <a:endParaRPr lang="en-US" sz="1000" dirty="0">
                <a:solidFill>
                  <a:srgbClr val="6B8B75"/>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50427496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2DB6815-EB52-0716-B01D-B3E0B9FB6DD5}"/>
              </a:ext>
            </a:extLst>
          </p:cNvPr>
          <p:cNvSpPr>
            <a:spLocks noGrp="1"/>
          </p:cNvSpPr>
          <p:nvPr>
            <p:ph type="title"/>
          </p:nvPr>
        </p:nvSpPr>
        <p:spPr>
          <a:xfrm>
            <a:off x="436369" y="378159"/>
            <a:ext cx="11385095" cy="645149"/>
          </a:xfrm>
        </p:spPr>
        <p:txBody>
          <a:bodyPr>
            <a:normAutofit fontScale="90000"/>
          </a:bodyPr>
          <a:lstStyle/>
          <a:p>
            <a:pPr defTabSz="1219165">
              <a:lnSpc>
                <a:spcPct val="150000"/>
              </a:lnSpc>
              <a:spcBef>
                <a:spcPts val="0"/>
              </a:spcBef>
              <a:buSzPct val="100000"/>
              <a:defRPr/>
            </a:pPr>
            <a:r>
              <a:rPr lang="en-US" sz="24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Legislative History of the Chief Resilience Officer </a:t>
            </a:r>
            <a: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t/>
            </a:r>
            <a:br>
              <a:rPr lang="en-US" sz="1600" b="1">
                <a:solidFill>
                  <a:prstClr val="black"/>
                </a:solidFill>
                <a:uFillTx/>
                <a:latin typeface="Open Sans" panose="020B0606030504020204" pitchFamily="34" charset="0"/>
                <a:ea typeface="Open Sans" panose="020B0606030504020204" pitchFamily="34" charset="0"/>
                <a:cs typeface="Open Sans" panose="020B0606030504020204" pitchFamily="34" charset="0"/>
              </a:rPr>
            </a:br>
            <a:endParaRPr lang="en-US" sz="1600">
              <a:solidFill>
                <a:schemeClr val="tx2"/>
              </a:solidFill>
              <a:uFillTx/>
            </a:endParaRPr>
          </a:p>
        </p:txBody>
      </p:sp>
      <p:grpSp>
        <p:nvGrpSpPr>
          <p:cNvPr id="5" name="General_Border_111">
            <a:extLst>
              <a:ext uri="{FF2B5EF4-FFF2-40B4-BE49-F238E27FC236}">
                <a16:creationId xmlns:a16="http://schemas.microsoft.com/office/drawing/2014/main" id="{9E803A60-D75B-907A-0396-87CA2053FB91}"/>
              </a:ext>
            </a:extLst>
          </p:cNvPr>
          <p:cNvGrpSpPr>
            <a:grpSpLocks noChangeAspect="1"/>
          </p:cNvGrpSpPr>
          <p:nvPr/>
        </p:nvGrpSpPr>
        <p:grpSpPr bwMode="auto">
          <a:xfrm>
            <a:off x="0" y="0"/>
            <a:ext cx="0" cy="0"/>
            <a:chOff x="1926" y="792"/>
            <a:chExt cx="340" cy="340"/>
          </a:xfrm>
          <a:solidFill>
            <a:schemeClr val="accent3"/>
          </a:solidFill>
        </p:grpSpPr>
        <p:sp>
          <p:nvSpPr>
            <p:cNvPr id="7" name="Freeform 267">
              <a:extLst>
                <a:ext uri="{FF2B5EF4-FFF2-40B4-BE49-F238E27FC236}">
                  <a16:creationId xmlns:a16="http://schemas.microsoft.com/office/drawing/2014/main" id="{FE6911EE-4BCC-73A7-7953-6A51F9E18731}"/>
                </a:ext>
              </a:extLst>
            </p:cNvPr>
            <p:cNvSpPr>
              <a:spLocks noEditPoints="1"/>
            </p:cNvSpPr>
            <p:nvPr/>
          </p:nvSpPr>
          <p:spPr bwMode="auto">
            <a:xfrm>
              <a:off x="1926"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268">
              <a:extLst>
                <a:ext uri="{FF2B5EF4-FFF2-40B4-BE49-F238E27FC236}">
                  <a16:creationId xmlns:a16="http://schemas.microsoft.com/office/drawing/2014/main" id="{202F20F5-1437-54B8-40D4-8C1FF1B1656D}"/>
                </a:ext>
              </a:extLst>
            </p:cNvPr>
            <p:cNvSpPr>
              <a:spLocks noEditPoints="1"/>
            </p:cNvSpPr>
            <p:nvPr/>
          </p:nvSpPr>
          <p:spPr bwMode="auto">
            <a:xfrm>
              <a:off x="1996" y="875"/>
              <a:ext cx="196" cy="157"/>
            </a:xfrm>
            <a:custGeom>
              <a:avLst/>
              <a:gdLst>
                <a:gd name="T0" fmla="*/ 75 w 295"/>
                <a:gd name="T1" fmla="*/ 163 h 237"/>
                <a:gd name="T2" fmla="*/ 118 w 295"/>
                <a:gd name="T3" fmla="*/ 120 h 237"/>
                <a:gd name="T4" fmla="*/ 75 w 295"/>
                <a:gd name="T5" fmla="*/ 77 h 237"/>
                <a:gd name="T6" fmla="*/ 32 w 295"/>
                <a:gd name="T7" fmla="*/ 120 h 237"/>
                <a:gd name="T8" fmla="*/ 75 w 295"/>
                <a:gd name="T9" fmla="*/ 163 h 237"/>
                <a:gd name="T10" fmla="*/ 75 w 295"/>
                <a:gd name="T11" fmla="*/ 99 h 237"/>
                <a:gd name="T12" fmla="*/ 96 w 295"/>
                <a:gd name="T13" fmla="*/ 120 h 237"/>
                <a:gd name="T14" fmla="*/ 75 w 295"/>
                <a:gd name="T15" fmla="*/ 141 h 237"/>
                <a:gd name="T16" fmla="*/ 54 w 295"/>
                <a:gd name="T17" fmla="*/ 120 h 237"/>
                <a:gd name="T18" fmla="*/ 75 w 295"/>
                <a:gd name="T19" fmla="*/ 99 h 237"/>
                <a:gd name="T20" fmla="*/ 171 w 295"/>
                <a:gd name="T21" fmla="*/ 90 h 237"/>
                <a:gd name="T22" fmla="*/ 182 w 295"/>
                <a:gd name="T23" fmla="*/ 119 h 237"/>
                <a:gd name="T24" fmla="*/ 171 w 295"/>
                <a:gd name="T25" fmla="*/ 148 h 237"/>
                <a:gd name="T26" fmla="*/ 163 w 295"/>
                <a:gd name="T27" fmla="*/ 151 h 237"/>
                <a:gd name="T28" fmla="*/ 156 w 295"/>
                <a:gd name="T29" fmla="*/ 149 h 237"/>
                <a:gd name="T30" fmla="*/ 155 w 295"/>
                <a:gd name="T31" fmla="*/ 133 h 237"/>
                <a:gd name="T32" fmla="*/ 161 w 295"/>
                <a:gd name="T33" fmla="*/ 119 h 237"/>
                <a:gd name="T34" fmla="*/ 155 w 295"/>
                <a:gd name="T35" fmla="*/ 105 h 237"/>
                <a:gd name="T36" fmla="*/ 156 w 295"/>
                <a:gd name="T37" fmla="*/ 90 h 237"/>
                <a:gd name="T38" fmla="*/ 171 w 295"/>
                <a:gd name="T39" fmla="*/ 90 h 237"/>
                <a:gd name="T40" fmla="*/ 239 w 295"/>
                <a:gd name="T41" fmla="*/ 119 h 237"/>
                <a:gd name="T42" fmla="*/ 204 w 295"/>
                <a:gd name="T43" fmla="*/ 192 h 237"/>
                <a:gd name="T44" fmla="*/ 197 w 295"/>
                <a:gd name="T45" fmla="*/ 194 h 237"/>
                <a:gd name="T46" fmla="*/ 189 w 295"/>
                <a:gd name="T47" fmla="*/ 191 h 237"/>
                <a:gd name="T48" fmla="*/ 190 w 295"/>
                <a:gd name="T49" fmla="*/ 176 h 237"/>
                <a:gd name="T50" fmla="*/ 217 w 295"/>
                <a:gd name="T51" fmla="*/ 119 h 237"/>
                <a:gd name="T52" fmla="*/ 190 w 295"/>
                <a:gd name="T53" fmla="*/ 63 h 237"/>
                <a:gd name="T54" fmla="*/ 189 w 295"/>
                <a:gd name="T55" fmla="*/ 48 h 237"/>
                <a:gd name="T56" fmla="*/ 204 w 295"/>
                <a:gd name="T57" fmla="*/ 47 h 237"/>
                <a:gd name="T58" fmla="*/ 239 w 295"/>
                <a:gd name="T59" fmla="*/ 119 h 237"/>
                <a:gd name="T60" fmla="*/ 295 w 295"/>
                <a:gd name="T61" fmla="*/ 119 h 237"/>
                <a:gd name="T62" fmla="*/ 238 w 295"/>
                <a:gd name="T63" fmla="*/ 235 h 237"/>
                <a:gd name="T64" fmla="*/ 231 w 295"/>
                <a:gd name="T65" fmla="*/ 237 h 237"/>
                <a:gd name="T66" fmla="*/ 223 w 295"/>
                <a:gd name="T67" fmla="*/ 233 h 237"/>
                <a:gd name="T68" fmla="*/ 225 w 295"/>
                <a:gd name="T69" fmla="*/ 218 h 237"/>
                <a:gd name="T70" fmla="*/ 274 w 295"/>
                <a:gd name="T71" fmla="*/ 119 h 237"/>
                <a:gd name="T72" fmla="*/ 225 w 295"/>
                <a:gd name="T73" fmla="*/ 20 h 237"/>
                <a:gd name="T74" fmla="*/ 223 w 295"/>
                <a:gd name="T75" fmla="*/ 5 h 237"/>
                <a:gd name="T76" fmla="*/ 238 w 295"/>
                <a:gd name="T77" fmla="*/ 3 h 237"/>
                <a:gd name="T78" fmla="*/ 295 w 295"/>
                <a:gd name="T79" fmla="*/ 119 h 237"/>
                <a:gd name="T80" fmla="*/ 150 w 295"/>
                <a:gd name="T81" fmla="*/ 195 h 237"/>
                <a:gd name="T82" fmla="*/ 150 w 295"/>
                <a:gd name="T83" fmla="*/ 227 h 237"/>
                <a:gd name="T84" fmla="*/ 139 w 295"/>
                <a:gd name="T85" fmla="*/ 237 h 237"/>
                <a:gd name="T86" fmla="*/ 128 w 295"/>
                <a:gd name="T87" fmla="*/ 227 h 237"/>
                <a:gd name="T88" fmla="*/ 128 w 295"/>
                <a:gd name="T89" fmla="*/ 205 h 237"/>
                <a:gd name="T90" fmla="*/ 22 w 295"/>
                <a:gd name="T91" fmla="*/ 205 h 237"/>
                <a:gd name="T92" fmla="*/ 22 w 295"/>
                <a:gd name="T93" fmla="*/ 227 h 237"/>
                <a:gd name="T94" fmla="*/ 11 w 295"/>
                <a:gd name="T95" fmla="*/ 237 h 237"/>
                <a:gd name="T96" fmla="*/ 0 w 295"/>
                <a:gd name="T97" fmla="*/ 227 h 237"/>
                <a:gd name="T98" fmla="*/ 0 w 295"/>
                <a:gd name="T99" fmla="*/ 195 h 237"/>
                <a:gd name="T100" fmla="*/ 11 w 295"/>
                <a:gd name="T101" fmla="*/ 184 h 237"/>
                <a:gd name="T102" fmla="*/ 139 w 295"/>
                <a:gd name="T103" fmla="*/ 184 h 237"/>
                <a:gd name="T104" fmla="*/ 150 w 295"/>
                <a:gd name="T105" fmla="*/ 19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37">
                  <a:moveTo>
                    <a:pt x="75" y="163"/>
                  </a:moveTo>
                  <a:cubicBezTo>
                    <a:pt x="99" y="163"/>
                    <a:pt x="118" y="144"/>
                    <a:pt x="118" y="120"/>
                  </a:cubicBezTo>
                  <a:cubicBezTo>
                    <a:pt x="118" y="96"/>
                    <a:pt x="99" y="77"/>
                    <a:pt x="75" y="77"/>
                  </a:cubicBezTo>
                  <a:cubicBezTo>
                    <a:pt x="51" y="77"/>
                    <a:pt x="32" y="96"/>
                    <a:pt x="32" y="120"/>
                  </a:cubicBezTo>
                  <a:cubicBezTo>
                    <a:pt x="32" y="144"/>
                    <a:pt x="51" y="163"/>
                    <a:pt x="75" y="163"/>
                  </a:cubicBezTo>
                  <a:close/>
                  <a:moveTo>
                    <a:pt x="75" y="99"/>
                  </a:moveTo>
                  <a:cubicBezTo>
                    <a:pt x="87" y="99"/>
                    <a:pt x="96" y="108"/>
                    <a:pt x="96" y="120"/>
                  </a:cubicBezTo>
                  <a:cubicBezTo>
                    <a:pt x="96" y="132"/>
                    <a:pt x="87" y="141"/>
                    <a:pt x="75" y="141"/>
                  </a:cubicBezTo>
                  <a:cubicBezTo>
                    <a:pt x="63" y="141"/>
                    <a:pt x="54" y="132"/>
                    <a:pt x="54" y="120"/>
                  </a:cubicBezTo>
                  <a:cubicBezTo>
                    <a:pt x="54" y="108"/>
                    <a:pt x="63" y="99"/>
                    <a:pt x="75" y="99"/>
                  </a:cubicBezTo>
                  <a:close/>
                  <a:moveTo>
                    <a:pt x="171" y="90"/>
                  </a:moveTo>
                  <a:cubicBezTo>
                    <a:pt x="178" y="98"/>
                    <a:pt x="182" y="109"/>
                    <a:pt x="182" y="119"/>
                  </a:cubicBezTo>
                  <a:cubicBezTo>
                    <a:pt x="182" y="130"/>
                    <a:pt x="178" y="140"/>
                    <a:pt x="171" y="148"/>
                  </a:cubicBezTo>
                  <a:cubicBezTo>
                    <a:pt x="169" y="150"/>
                    <a:pt x="166" y="151"/>
                    <a:pt x="163" y="151"/>
                  </a:cubicBezTo>
                  <a:cubicBezTo>
                    <a:pt x="160" y="151"/>
                    <a:pt x="158" y="150"/>
                    <a:pt x="156" y="149"/>
                  </a:cubicBezTo>
                  <a:cubicBezTo>
                    <a:pt x="151" y="144"/>
                    <a:pt x="151" y="138"/>
                    <a:pt x="155" y="133"/>
                  </a:cubicBezTo>
                  <a:cubicBezTo>
                    <a:pt x="159" y="130"/>
                    <a:pt x="161" y="124"/>
                    <a:pt x="161" y="119"/>
                  </a:cubicBezTo>
                  <a:cubicBezTo>
                    <a:pt x="161" y="114"/>
                    <a:pt x="159" y="109"/>
                    <a:pt x="155" y="105"/>
                  </a:cubicBezTo>
                  <a:cubicBezTo>
                    <a:pt x="151" y="101"/>
                    <a:pt x="151" y="94"/>
                    <a:pt x="156" y="90"/>
                  </a:cubicBezTo>
                  <a:cubicBezTo>
                    <a:pt x="160" y="86"/>
                    <a:pt x="167" y="86"/>
                    <a:pt x="171" y="90"/>
                  </a:cubicBezTo>
                  <a:close/>
                  <a:moveTo>
                    <a:pt x="239" y="119"/>
                  </a:moveTo>
                  <a:cubicBezTo>
                    <a:pt x="239" y="147"/>
                    <a:pt x="226" y="174"/>
                    <a:pt x="204" y="192"/>
                  </a:cubicBezTo>
                  <a:cubicBezTo>
                    <a:pt x="202" y="194"/>
                    <a:pt x="200" y="194"/>
                    <a:pt x="197" y="194"/>
                  </a:cubicBezTo>
                  <a:cubicBezTo>
                    <a:pt x="194" y="194"/>
                    <a:pt x="191" y="193"/>
                    <a:pt x="189" y="191"/>
                  </a:cubicBezTo>
                  <a:cubicBezTo>
                    <a:pt x="185" y="186"/>
                    <a:pt x="186" y="179"/>
                    <a:pt x="190" y="176"/>
                  </a:cubicBezTo>
                  <a:cubicBezTo>
                    <a:pt x="207" y="161"/>
                    <a:pt x="217" y="141"/>
                    <a:pt x="217" y="119"/>
                  </a:cubicBezTo>
                  <a:cubicBezTo>
                    <a:pt x="217" y="98"/>
                    <a:pt x="207" y="77"/>
                    <a:pt x="190" y="63"/>
                  </a:cubicBezTo>
                  <a:cubicBezTo>
                    <a:pt x="186" y="59"/>
                    <a:pt x="185" y="52"/>
                    <a:pt x="189" y="48"/>
                  </a:cubicBezTo>
                  <a:cubicBezTo>
                    <a:pt x="193" y="43"/>
                    <a:pt x="200" y="43"/>
                    <a:pt x="204" y="47"/>
                  </a:cubicBezTo>
                  <a:cubicBezTo>
                    <a:pt x="226" y="65"/>
                    <a:pt x="239" y="91"/>
                    <a:pt x="239" y="119"/>
                  </a:cubicBezTo>
                  <a:close/>
                  <a:moveTo>
                    <a:pt x="295" y="119"/>
                  </a:moveTo>
                  <a:cubicBezTo>
                    <a:pt x="295" y="164"/>
                    <a:pt x="274" y="206"/>
                    <a:pt x="238" y="235"/>
                  </a:cubicBezTo>
                  <a:cubicBezTo>
                    <a:pt x="236" y="237"/>
                    <a:pt x="234" y="237"/>
                    <a:pt x="231" y="237"/>
                  </a:cubicBezTo>
                  <a:cubicBezTo>
                    <a:pt x="228" y="237"/>
                    <a:pt x="225" y="236"/>
                    <a:pt x="223" y="233"/>
                  </a:cubicBezTo>
                  <a:cubicBezTo>
                    <a:pt x="219" y="229"/>
                    <a:pt x="220" y="222"/>
                    <a:pt x="225" y="218"/>
                  </a:cubicBezTo>
                  <a:cubicBezTo>
                    <a:pt x="256" y="194"/>
                    <a:pt x="274" y="158"/>
                    <a:pt x="274" y="119"/>
                  </a:cubicBezTo>
                  <a:cubicBezTo>
                    <a:pt x="274" y="81"/>
                    <a:pt x="256" y="45"/>
                    <a:pt x="225" y="20"/>
                  </a:cubicBezTo>
                  <a:cubicBezTo>
                    <a:pt x="220" y="17"/>
                    <a:pt x="219" y="10"/>
                    <a:pt x="223" y="5"/>
                  </a:cubicBezTo>
                  <a:cubicBezTo>
                    <a:pt x="227" y="1"/>
                    <a:pt x="233" y="0"/>
                    <a:pt x="238" y="3"/>
                  </a:cubicBezTo>
                  <a:cubicBezTo>
                    <a:pt x="274" y="32"/>
                    <a:pt x="295" y="74"/>
                    <a:pt x="295" y="119"/>
                  </a:cubicBezTo>
                  <a:close/>
                  <a:moveTo>
                    <a:pt x="150" y="195"/>
                  </a:moveTo>
                  <a:cubicBezTo>
                    <a:pt x="150" y="227"/>
                    <a:pt x="150" y="227"/>
                    <a:pt x="150" y="227"/>
                  </a:cubicBezTo>
                  <a:cubicBezTo>
                    <a:pt x="150" y="233"/>
                    <a:pt x="145" y="237"/>
                    <a:pt x="139" y="237"/>
                  </a:cubicBezTo>
                  <a:cubicBezTo>
                    <a:pt x="133" y="237"/>
                    <a:pt x="128" y="233"/>
                    <a:pt x="128" y="227"/>
                  </a:cubicBezTo>
                  <a:cubicBezTo>
                    <a:pt x="128" y="205"/>
                    <a:pt x="128" y="205"/>
                    <a:pt x="128" y="205"/>
                  </a:cubicBezTo>
                  <a:cubicBezTo>
                    <a:pt x="22" y="205"/>
                    <a:pt x="22" y="205"/>
                    <a:pt x="22" y="205"/>
                  </a:cubicBezTo>
                  <a:cubicBezTo>
                    <a:pt x="22" y="227"/>
                    <a:pt x="22" y="227"/>
                    <a:pt x="22" y="227"/>
                  </a:cubicBezTo>
                  <a:cubicBezTo>
                    <a:pt x="22" y="233"/>
                    <a:pt x="17" y="237"/>
                    <a:pt x="11" y="237"/>
                  </a:cubicBezTo>
                  <a:cubicBezTo>
                    <a:pt x="5" y="237"/>
                    <a:pt x="0" y="233"/>
                    <a:pt x="0" y="227"/>
                  </a:cubicBezTo>
                  <a:cubicBezTo>
                    <a:pt x="0" y="195"/>
                    <a:pt x="0" y="195"/>
                    <a:pt x="0" y="195"/>
                  </a:cubicBezTo>
                  <a:cubicBezTo>
                    <a:pt x="0" y="189"/>
                    <a:pt x="5" y="184"/>
                    <a:pt x="11" y="184"/>
                  </a:cubicBezTo>
                  <a:cubicBezTo>
                    <a:pt x="139" y="184"/>
                    <a:pt x="139" y="184"/>
                    <a:pt x="139" y="184"/>
                  </a:cubicBezTo>
                  <a:cubicBezTo>
                    <a:pt x="145" y="184"/>
                    <a:pt x="150" y="189"/>
                    <a:pt x="150" y="195"/>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General_Fill_61">
            <a:extLst>
              <a:ext uri="{FF2B5EF4-FFF2-40B4-BE49-F238E27FC236}">
                <a16:creationId xmlns:a16="http://schemas.microsoft.com/office/drawing/2014/main" id="{4031703A-F904-6B78-5BEB-F1D75721D19D}"/>
              </a:ext>
            </a:extLst>
          </p:cNvPr>
          <p:cNvSpPr>
            <a:spLocks noChangeAspect="1" noEditPoints="1"/>
          </p:cNvSpPr>
          <p:nvPr/>
        </p:nvSpPr>
        <p:spPr bwMode="auto">
          <a:xfrm>
            <a:off x="0" y="0"/>
            <a:ext cx="0" cy="0"/>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4"/>
          </a:solidFill>
          <a:ln>
            <a:noFill/>
          </a:ln>
        </p:spPr>
        <p:txBody>
          <a:bodyPr vert="horz" wrap="square" lIns="62345" tIns="31173" rIns="62345" bIns="31173" numCol="1" anchor="t" anchorCtr="0" compatLnSpc="1">
            <a:prstTxWarp prst="textNoShape">
              <a:avLst/>
            </a:prstTxWarp>
          </a:bodyPr>
          <a:lstStyle/>
          <a:p>
            <a:pPr marL="0" marR="0" lvl="0" indent="0" algn="l" defTabSz="837848" rtl="0" eaLnBrk="1" fontAlgn="auto" latinLnBrk="0" hangingPunct="1">
              <a:lnSpc>
                <a:spcPct val="100000"/>
              </a:lnSpc>
              <a:spcBef>
                <a:spcPts val="0"/>
              </a:spcBef>
              <a:spcAft>
                <a:spcPts val="0"/>
              </a:spcAft>
              <a:buClrTx/>
              <a:buSzTx/>
              <a:buFontTx/>
              <a:buNone/>
              <a:tabLst/>
              <a:defRPr/>
            </a:pPr>
            <a:endParaRPr kumimoji="0" lang="en-US" sz="818" b="0" i="0" u="none" strike="noStrike" kern="1200" cap="none" spc="0" normalizeH="0" baseline="0" noProof="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57F240E-8191-7A63-E242-A6E4B85B0AA6}"/>
              </a:ext>
            </a:extLst>
          </p:cNvPr>
          <p:cNvSpPr/>
          <p:nvPr/>
        </p:nvSpPr>
        <p:spPr bwMode="gray">
          <a:xfrm>
            <a:off x="460541" y="892881"/>
            <a:ext cx="11512003" cy="69448"/>
          </a:xfrm>
          <a:prstGeom prst="rect">
            <a:avLst/>
          </a:prstGeom>
          <a:gradFill>
            <a:gsLst>
              <a:gs pos="100000">
                <a:srgbClr val="00A3E0">
                  <a:alpha val="0"/>
                </a:srgbClr>
              </a:gs>
              <a:gs pos="0">
                <a:srgbClr val="005587"/>
              </a:gs>
            </a:gsLst>
            <a:lin ang="0" scaled="0"/>
          </a:gradFill>
          <a:ln w="19050" algn="ctr">
            <a:noFill/>
            <a:miter lim="800000"/>
            <a:headEnd/>
            <a:tailEnd/>
          </a:ln>
        </p:spPr>
        <p:txBody>
          <a:bodyPr wrap="square" lIns="88900" tIns="88900" rIns="88900" bIns="88900" rtlCol="0" anchor="ctr"/>
          <a:lstStyle/>
          <a:p>
            <a:pPr algn="ctr" defTabSz="837848">
              <a:lnSpc>
                <a:spcPct val="106000"/>
              </a:lnSpc>
            </a:pPr>
            <a:endParaRPr lang="en-GB" sz="1600" b="1">
              <a:solidFill>
                <a:prstClr val="white"/>
              </a:solidFill>
              <a:latin typeface="Calibri"/>
            </a:endParaRPr>
          </a:p>
        </p:txBody>
      </p:sp>
      <p:sp>
        <p:nvSpPr>
          <p:cNvPr id="42" name="General_Fill_113">
            <a:extLst>
              <a:ext uri="{FF2B5EF4-FFF2-40B4-BE49-F238E27FC236}">
                <a16:creationId xmlns:a16="http://schemas.microsoft.com/office/drawing/2014/main" id="{F824B27F-9360-4D0E-A443-EB84F0FDBF83}"/>
              </a:ext>
            </a:extLst>
          </p:cNvPr>
          <p:cNvSpPr>
            <a:spLocks noChangeAspect="1" noEditPoints="1"/>
          </p:cNvSpPr>
          <p:nvPr/>
        </p:nvSpPr>
        <p:spPr bwMode="auto">
          <a:xfrm>
            <a:off x="0" y="0"/>
            <a:ext cx="0" cy="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p>
        </p:txBody>
      </p:sp>
      <p:cxnSp>
        <p:nvCxnSpPr>
          <p:cNvPr id="3" name="Straight Arrow Connector 2">
            <a:extLst>
              <a:ext uri="{FF2B5EF4-FFF2-40B4-BE49-F238E27FC236}">
                <a16:creationId xmlns:a16="http://schemas.microsoft.com/office/drawing/2014/main" id="{ADD340AB-A35A-3918-DC08-472E82FA3025}"/>
              </a:ext>
            </a:extLst>
          </p:cNvPr>
          <p:cNvCxnSpPr>
            <a:cxnSpLocks/>
          </p:cNvCxnSpPr>
          <p:nvPr/>
        </p:nvCxnSpPr>
        <p:spPr>
          <a:xfrm flipH="1">
            <a:off x="421959" y="3306754"/>
            <a:ext cx="3990109" cy="0"/>
          </a:xfrm>
          <a:prstGeom prst="straightConnector1">
            <a:avLst/>
          </a:prstGeom>
          <a:ln w="19050">
            <a:solidFill>
              <a:schemeClr val="bg1">
                <a:lumMod val="75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9319252-408B-343A-A334-3C06C59C96C6}"/>
              </a:ext>
            </a:extLst>
          </p:cNvPr>
          <p:cNvGrpSpPr/>
          <p:nvPr/>
        </p:nvGrpSpPr>
        <p:grpSpPr>
          <a:xfrm>
            <a:off x="6674488" y="1470466"/>
            <a:ext cx="4376797" cy="1567914"/>
            <a:chOff x="6419144" y="2228697"/>
            <a:chExt cx="4376797" cy="1567914"/>
          </a:xfrm>
        </p:grpSpPr>
        <p:sp>
          <p:nvSpPr>
            <p:cNvPr id="2" name="Rectangle 1">
              <a:extLst>
                <a:ext uri="{FF2B5EF4-FFF2-40B4-BE49-F238E27FC236}">
                  <a16:creationId xmlns:a16="http://schemas.microsoft.com/office/drawing/2014/main" id="{096F2725-5608-C321-897C-5B79971F23A2}"/>
                </a:ext>
              </a:extLst>
            </p:cNvPr>
            <p:cNvSpPr/>
            <p:nvPr/>
          </p:nvSpPr>
          <p:spPr bwMode="gray">
            <a:xfrm>
              <a:off x="6419144" y="2331551"/>
              <a:ext cx="4376797" cy="1465060"/>
            </a:xfrm>
            <a:prstGeom prst="rect">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4" name="Picture 3">
              <a:extLst>
                <a:ext uri="{FF2B5EF4-FFF2-40B4-BE49-F238E27FC236}">
                  <a16:creationId xmlns:a16="http://schemas.microsoft.com/office/drawing/2014/main" id="{536EB092-19BF-C2D4-B9A4-F3F642C89A1F}"/>
                </a:ext>
              </a:extLst>
            </p:cNvPr>
            <p:cNvPicPr>
              <a:picLocks noChangeAspect="1"/>
            </p:cNvPicPr>
            <p:nvPr/>
          </p:nvPicPr>
          <p:blipFill rotWithShape="1">
            <a:blip r:embed="rId3"/>
            <a:srcRect b="36435"/>
            <a:stretch/>
          </p:blipFill>
          <p:spPr>
            <a:xfrm>
              <a:off x="6640752" y="2696909"/>
              <a:ext cx="3909646" cy="812320"/>
            </a:xfrm>
            <a:prstGeom prst="rect">
              <a:avLst/>
            </a:prstGeom>
            <a:effectLst>
              <a:outerShdw blurRad="50800" dist="38100" dir="2700000" algn="tl" rotWithShape="0">
                <a:prstClr val="black">
                  <a:alpha val="40000"/>
                </a:prstClr>
              </a:outerShdw>
            </a:effectLst>
          </p:spPr>
        </p:pic>
        <p:sp>
          <p:nvSpPr>
            <p:cNvPr id="9" name="Rectangle 8">
              <a:extLst>
                <a:ext uri="{FF2B5EF4-FFF2-40B4-BE49-F238E27FC236}">
                  <a16:creationId xmlns:a16="http://schemas.microsoft.com/office/drawing/2014/main" id="{FA511937-F6A6-B4B6-6C47-FD27AFBD111D}"/>
                </a:ext>
              </a:extLst>
            </p:cNvPr>
            <p:cNvSpPr/>
            <p:nvPr/>
          </p:nvSpPr>
          <p:spPr>
            <a:xfrm>
              <a:off x="6903382" y="2228697"/>
              <a:ext cx="3384386" cy="307777"/>
            </a:xfrm>
            <a:prstGeom prst="rect">
              <a:avLst/>
            </a:prstGeom>
            <a:solidFill>
              <a:srgbClr val="1F325C"/>
            </a:solidFill>
            <a:effectLst>
              <a:outerShdw blurRad="50800" dist="38100" dir="2700000" algn="tl" rotWithShape="0">
                <a:prstClr val="black">
                  <a:alpha val="40000"/>
                </a:prstClr>
              </a:outerShdw>
            </a:effectLst>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chemeClr val="bg1"/>
                  </a:solidFill>
                  <a:effectLst/>
                  <a:uLnTx/>
                  <a:uFillTx/>
                  <a:latin typeface="Open Sans"/>
                  <a:ea typeface="+mn-ea"/>
                  <a:cs typeface="+mn-cs"/>
                </a:rPr>
                <a:t>Legislative Background </a:t>
              </a:r>
            </a:p>
          </p:txBody>
        </p:sp>
      </p:grpSp>
      <p:sp>
        <p:nvSpPr>
          <p:cNvPr id="11" name="TextBox 10">
            <a:extLst>
              <a:ext uri="{FF2B5EF4-FFF2-40B4-BE49-F238E27FC236}">
                <a16:creationId xmlns:a16="http://schemas.microsoft.com/office/drawing/2014/main" id="{8D1FA664-CA92-56DD-8319-A63BDD7CC077}"/>
              </a:ext>
            </a:extLst>
          </p:cNvPr>
          <p:cNvSpPr txBox="1"/>
          <p:nvPr/>
        </p:nvSpPr>
        <p:spPr>
          <a:xfrm>
            <a:off x="967548" y="1726896"/>
            <a:ext cx="3842658" cy="954107"/>
          </a:xfrm>
          <a:prstGeom prst="rect">
            <a:avLst/>
          </a:prstGeom>
          <a:noFill/>
        </p:spPr>
        <p:txBody>
          <a:bodyPr wrap="square">
            <a:spAutoFit/>
          </a:bodyPr>
          <a:lstStyle/>
          <a:p>
            <a:pPr marL="0" marR="0" lvl="0" indent="0" algn="l" defTabSz="1024506" rtl="0" eaLnBrk="1" fontAlgn="auto" latinLnBrk="0" hangingPunct="1">
              <a:lnSpc>
                <a:spcPct val="100000"/>
              </a:lnSpc>
              <a:spcBef>
                <a:spcPts val="0"/>
              </a:spcBef>
              <a:spcAft>
                <a:spcPts val="0"/>
              </a:spcAft>
              <a:buClrTx/>
              <a:buSzTx/>
              <a:buFontTx/>
              <a:buNone/>
              <a:tabLst/>
              <a:defRPr/>
            </a:pPr>
            <a:r>
              <a:rPr lang="en-US" sz="1400" kern="0">
                <a:solidFill>
                  <a:srgbClr val="000000"/>
                </a:solidFill>
                <a:latin typeface="Open Sans"/>
                <a:ea typeface="Open Sans Light" panose="020B0306030504020204" pitchFamily="34" charset="0"/>
                <a:cs typeface="Open Sans Light" panose="020B0306030504020204" pitchFamily="34" charset="0"/>
              </a:rPr>
              <a:t>The role of the Chief Resilience Officer was established through Act 315 of the 2023 Regular Legislative Session under House Bill 526.</a:t>
            </a:r>
            <a:endParaRPr kumimoji="0" lang="en-US" sz="1400" b="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grpSp>
        <p:nvGrpSpPr>
          <p:cNvPr id="14" name="Group 13">
            <a:extLst>
              <a:ext uri="{FF2B5EF4-FFF2-40B4-BE49-F238E27FC236}">
                <a16:creationId xmlns:a16="http://schemas.microsoft.com/office/drawing/2014/main" id="{31CF73D8-CD0D-310E-435E-6A41E6E9C9CF}"/>
              </a:ext>
            </a:extLst>
          </p:cNvPr>
          <p:cNvGrpSpPr>
            <a:grpSpLocks noChangeAspect="1"/>
          </p:cNvGrpSpPr>
          <p:nvPr/>
        </p:nvGrpSpPr>
        <p:grpSpPr>
          <a:xfrm>
            <a:off x="326553" y="1994768"/>
            <a:ext cx="461464" cy="461463"/>
            <a:chOff x="5358978" y="5453221"/>
            <a:chExt cx="365760" cy="365759"/>
          </a:xfrm>
        </p:grpSpPr>
        <p:sp>
          <p:nvSpPr>
            <p:cNvPr id="15" name="Freeform 378">
              <a:extLst>
                <a:ext uri="{FF2B5EF4-FFF2-40B4-BE49-F238E27FC236}">
                  <a16:creationId xmlns:a16="http://schemas.microsoft.com/office/drawing/2014/main" id="{46AD91AE-C5C2-D537-CFFE-1807CFA0F4BC}"/>
                </a:ext>
              </a:extLst>
            </p:cNvPr>
            <p:cNvSpPr>
              <a:spLocks noEditPoints="1"/>
            </p:cNvSpPr>
            <p:nvPr/>
          </p:nvSpPr>
          <p:spPr bwMode="auto">
            <a:xfrm>
              <a:off x="5358978" y="5453221"/>
              <a:ext cx="365760" cy="36575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7" name="Graphic 111" descr="Clipboard Partially Checked with solid fill">
              <a:extLst>
                <a:ext uri="{FF2B5EF4-FFF2-40B4-BE49-F238E27FC236}">
                  <a16:creationId xmlns:a16="http://schemas.microsoft.com/office/drawing/2014/main" id="{89789582-B33B-52EC-77E1-7AA6AF1151B2}"/>
                </a:ext>
              </a:extLst>
            </p:cNvPr>
            <p:cNvGrpSpPr/>
            <p:nvPr/>
          </p:nvGrpSpPr>
          <p:grpSpPr>
            <a:xfrm>
              <a:off x="5420983" y="5474240"/>
              <a:ext cx="236220" cy="304800"/>
              <a:chOff x="3480444" y="5494158"/>
              <a:chExt cx="236220" cy="304800"/>
            </a:xfrm>
          </p:grpSpPr>
          <p:sp>
            <p:nvSpPr>
              <p:cNvPr id="18" name="Freeform: Shape 17">
                <a:extLst>
                  <a:ext uri="{FF2B5EF4-FFF2-40B4-BE49-F238E27FC236}">
                    <a16:creationId xmlns:a16="http://schemas.microsoft.com/office/drawing/2014/main" id="{A35C143F-11BE-253D-0810-D2D0FB5B5475}"/>
                  </a:ext>
                </a:extLst>
              </p:cNvPr>
              <p:cNvSpPr/>
              <p:nvPr/>
            </p:nvSpPr>
            <p:spPr>
              <a:xfrm>
                <a:off x="3480444" y="5494158"/>
                <a:ext cx="236220" cy="304800"/>
              </a:xfrm>
              <a:custGeom>
                <a:avLst/>
                <a:gdLst>
                  <a:gd name="connsiteX0" fmla="*/ 22860 w 236220"/>
                  <a:gd name="connsiteY0" fmla="*/ 45720 h 304800"/>
                  <a:gd name="connsiteX1" fmla="*/ 64770 w 236220"/>
                  <a:gd name="connsiteY1" fmla="*/ 45720 h 304800"/>
                  <a:gd name="connsiteX2" fmla="*/ 64770 w 236220"/>
                  <a:gd name="connsiteY2" fmla="*/ 68580 h 304800"/>
                  <a:gd name="connsiteX3" fmla="*/ 171450 w 236220"/>
                  <a:gd name="connsiteY3" fmla="*/ 68580 h 304800"/>
                  <a:gd name="connsiteX4" fmla="*/ 171450 w 236220"/>
                  <a:gd name="connsiteY4" fmla="*/ 45720 h 304800"/>
                  <a:gd name="connsiteX5" fmla="*/ 213360 w 236220"/>
                  <a:gd name="connsiteY5" fmla="*/ 45720 h 304800"/>
                  <a:gd name="connsiteX6" fmla="*/ 213360 w 236220"/>
                  <a:gd name="connsiteY6" fmla="*/ 281940 h 304800"/>
                  <a:gd name="connsiteX7" fmla="*/ 22860 w 236220"/>
                  <a:gd name="connsiteY7" fmla="*/ 281940 h 304800"/>
                  <a:gd name="connsiteX8" fmla="*/ 22860 w 236220"/>
                  <a:gd name="connsiteY8" fmla="*/ 45720 h 304800"/>
                  <a:gd name="connsiteX9" fmla="*/ 118491 w 236220"/>
                  <a:gd name="connsiteY9" fmla="*/ 15240 h 304800"/>
                  <a:gd name="connsiteX10" fmla="*/ 129540 w 236220"/>
                  <a:gd name="connsiteY10" fmla="*/ 26670 h 304800"/>
                  <a:gd name="connsiteX11" fmla="*/ 118110 w 236220"/>
                  <a:gd name="connsiteY11" fmla="*/ 38100 h 304800"/>
                  <a:gd name="connsiteX12" fmla="*/ 106680 w 236220"/>
                  <a:gd name="connsiteY12" fmla="*/ 26670 h 304800"/>
                  <a:gd name="connsiteX13" fmla="*/ 118491 w 236220"/>
                  <a:gd name="connsiteY13" fmla="*/ 15240 h 304800"/>
                  <a:gd name="connsiteX14" fmla="*/ 0 w 236220"/>
                  <a:gd name="connsiteY14" fmla="*/ 38100 h 304800"/>
                  <a:gd name="connsiteX15" fmla="*/ 0 w 236220"/>
                  <a:gd name="connsiteY15" fmla="*/ 289560 h 304800"/>
                  <a:gd name="connsiteX16" fmla="*/ 15240 w 236220"/>
                  <a:gd name="connsiteY16" fmla="*/ 304800 h 304800"/>
                  <a:gd name="connsiteX17" fmla="*/ 220980 w 236220"/>
                  <a:gd name="connsiteY17" fmla="*/ 304800 h 304800"/>
                  <a:gd name="connsiteX18" fmla="*/ 236220 w 236220"/>
                  <a:gd name="connsiteY18" fmla="*/ 289560 h 304800"/>
                  <a:gd name="connsiteX19" fmla="*/ 236220 w 236220"/>
                  <a:gd name="connsiteY19" fmla="*/ 38100 h 304800"/>
                  <a:gd name="connsiteX20" fmla="*/ 220980 w 236220"/>
                  <a:gd name="connsiteY20" fmla="*/ 22860 h 304800"/>
                  <a:gd name="connsiteX21" fmla="*/ 156210 w 236220"/>
                  <a:gd name="connsiteY21" fmla="*/ 22860 h 304800"/>
                  <a:gd name="connsiteX22" fmla="*/ 156210 w 236220"/>
                  <a:gd name="connsiteY22" fmla="*/ 15240 h 304800"/>
                  <a:gd name="connsiteX23" fmla="*/ 140970 w 236220"/>
                  <a:gd name="connsiteY23" fmla="*/ 0 h 304800"/>
                  <a:gd name="connsiteX24" fmla="*/ 95250 w 236220"/>
                  <a:gd name="connsiteY24" fmla="*/ 0 h 304800"/>
                  <a:gd name="connsiteX25" fmla="*/ 80010 w 236220"/>
                  <a:gd name="connsiteY25" fmla="*/ 15240 h 304800"/>
                  <a:gd name="connsiteX26" fmla="*/ 80010 w 236220"/>
                  <a:gd name="connsiteY26" fmla="*/ 22860 h 304800"/>
                  <a:gd name="connsiteX27" fmla="*/ 15240 w 236220"/>
                  <a:gd name="connsiteY27" fmla="*/ 22860 h 304800"/>
                  <a:gd name="connsiteX28" fmla="*/ 0 w 236220"/>
                  <a:gd name="connsiteY28" fmla="*/ 381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220" h="304800">
                    <a:moveTo>
                      <a:pt x="22860" y="45720"/>
                    </a:moveTo>
                    <a:lnTo>
                      <a:pt x="64770" y="45720"/>
                    </a:lnTo>
                    <a:lnTo>
                      <a:pt x="64770" y="68580"/>
                    </a:lnTo>
                    <a:lnTo>
                      <a:pt x="171450" y="68580"/>
                    </a:lnTo>
                    <a:lnTo>
                      <a:pt x="171450" y="45720"/>
                    </a:lnTo>
                    <a:lnTo>
                      <a:pt x="213360" y="45720"/>
                    </a:lnTo>
                    <a:lnTo>
                      <a:pt x="213360" y="281940"/>
                    </a:lnTo>
                    <a:lnTo>
                      <a:pt x="22860" y="281940"/>
                    </a:lnTo>
                    <a:lnTo>
                      <a:pt x="22860" y="45720"/>
                    </a:lnTo>
                    <a:close/>
                    <a:moveTo>
                      <a:pt x="118491" y="15240"/>
                    </a:moveTo>
                    <a:cubicBezTo>
                      <a:pt x="124587" y="15240"/>
                      <a:pt x="129540" y="20574"/>
                      <a:pt x="129540" y="26670"/>
                    </a:cubicBezTo>
                    <a:cubicBezTo>
                      <a:pt x="129540" y="33147"/>
                      <a:pt x="124587" y="38100"/>
                      <a:pt x="118110" y="38100"/>
                    </a:cubicBezTo>
                    <a:cubicBezTo>
                      <a:pt x="111633" y="38100"/>
                      <a:pt x="106680" y="33147"/>
                      <a:pt x="106680" y="26670"/>
                    </a:cubicBezTo>
                    <a:cubicBezTo>
                      <a:pt x="106680" y="20193"/>
                      <a:pt x="111633" y="15240"/>
                      <a:pt x="118491" y="15240"/>
                    </a:cubicBezTo>
                    <a:close/>
                    <a:moveTo>
                      <a:pt x="0" y="38100"/>
                    </a:moveTo>
                    <a:lnTo>
                      <a:pt x="0" y="289560"/>
                    </a:lnTo>
                    <a:cubicBezTo>
                      <a:pt x="0" y="297942"/>
                      <a:pt x="6858" y="304800"/>
                      <a:pt x="15240" y="304800"/>
                    </a:cubicBezTo>
                    <a:lnTo>
                      <a:pt x="220980" y="304800"/>
                    </a:lnTo>
                    <a:cubicBezTo>
                      <a:pt x="229362" y="304800"/>
                      <a:pt x="236220" y="297942"/>
                      <a:pt x="236220" y="289560"/>
                    </a:cubicBezTo>
                    <a:lnTo>
                      <a:pt x="236220" y="38100"/>
                    </a:lnTo>
                    <a:cubicBezTo>
                      <a:pt x="236220" y="29718"/>
                      <a:pt x="229362" y="22860"/>
                      <a:pt x="220980" y="22860"/>
                    </a:cubicBezTo>
                    <a:lnTo>
                      <a:pt x="156210" y="22860"/>
                    </a:lnTo>
                    <a:lnTo>
                      <a:pt x="156210" y="15240"/>
                    </a:lnTo>
                    <a:cubicBezTo>
                      <a:pt x="156210" y="6858"/>
                      <a:pt x="149352" y="0"/>
                      <a:pt x="140970" y="0"/>
                    </a:cubicBezTo>
                    <a:lnTo>
                      <a:pt x="95250" y="0"/>
                    </a:lnTo>
                    <a:cubicBezTo>
                      <a:pt x="86868" y="0"/>
                      <a:pt x="80010" y="6858"/>
                      <a:pt x="80010" y="15240"/>
                    </a:cubicBezTo>
                    <a:lnTo>
                      <a:pt x="80010" y="22860"/>
                    </a:lnTo>
                    <a:lnTo>
                      <a:pt x="15240" y="22860"/>
                    </a:lnTo>
                    <a:cubicBezTo>
                      <a:pt x="6858" y="22860"/>
                      <a:pt x="0" y="29718"/>
                      <a:pt x="0" y="38100"/>
                    </a:cubicBezTo>
                    <a:close/>
                  </a:path>
                </a:pathLst>
              </a:custGeom>
              <a:solidFill>
                <a:srgbClr val="000000"/>
              </a:solidFill>
              <a:ln w="37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9" name="Freeform: Shape 18">
                <a:extLst>
                  <a:ext uri="{FF2B5EF4-FFF2-40B4-BE49-F238E27FC236}">
                    <a16:creationId xmlns:a16="http://schemas.microsoft.com/office/drawing/2014/main" id="{9217E8F2-FFE4-907D-AA96-AF5532BD379B}"/>
                  </a:ext>
                </a:extLst>
              </p:cNvPr>
              <p:cNvSpPr/>
              <p:nvPr/>
            </p:nvSpPr>
            <p:spPr>
              <a:xfrm>
                <a:off x="3526164" y="5593218"/>
                <a:ext cx="64770" cy="15240"/>
              </a:xfrm>
              <a:custGeom>
                <a:avLst/>
                <a:gdLst>
                  <a:gd name="connsiteX0" fmla="*/ 0 w 64770"/>
                  <a:gd name="connsiteY0" fmla="*/ 0 h 15240"/>
                  <a:gd name="connsiteX1" fmla="*/ 64770 w 64770"/>
                  <a:gd name="connsiteY1" fmla="*/ 0 h 15240"/>
                  <a:gd name="connsiteX2" fmla="*/ 64770 w 64770"/>
                  <a:gd name="connsiteY2" fmla="*/ 15240 h 15240"/>
                  <a:gd name="connsiteX3" fmla="*/ 0 w 64770"/>
                  <a:gd name="connsiteY3" fmla="*/ 15240 h 15240"/>
                </a:gdLst>
                <a:ahLst/>
                <a:cxnLst>
                  <a:cxn ang="0">
                    <a:pos x="connsiteX0" y="connsiteY0"/>
                  </a:cxn>
                  <a:cxn ang="0">
                    <a:pos x="connsiteX1" y="connsiteY1"/>
                  </a:cxn>
                  <a:cxn ang="0">
                    <a:pos x="connsiteX2" y="connsiteY2"/>
                  </a:cxn>
                  <a:cxn ang="0">
                    <a:pos x="connsiteX3" y="connsiteY3"/>
                  </a:cxn>
                </a:cxnLst>
                <a:rect l="l" t="t" r="r" b="b"/>
                <a:pathLst>
                  <a:path w="64770" h="15240">
                    <a:moveTo>
                      <a:pt x="0" y="0"/>
                    </a:moveTo>
                    <a:lnTo>
                      <a:pt x="64770" y="0"/>
                    </a:lnTo>
                    <a:lnTo>
                      <a:pt x="64770" y="15240"/>
                    </a:lnTo>
                    <a:lnTo>
                      <a:pt x="0" y="15240"/>
                    </a:lnTo>
                    <a:close/>
                  </a:path>
                </a:pathLst>
              </a:custGeom>
              <a:solidFill>
                <a:srgbClr val="000000"/>
              </a:solidFill>
              <a:ln w="37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0" name="Freeform: Shape 19">
                <a:extLst>
                  <a:ext uri="{FF2B5EF4-FFF2-40B4-BE49-F238E27FC236}">
                    <a16:creationId xmlns:a16="http://schemas.microsoft.com/office/drawing/2014/main" id="{874D5F88-9A2A-18CE-07EE-174E4AD5CD66}"/>
                  </a:ext>
                </a:extLst>
              </p:cNvPr>
              <p:cNvSpPr/>
              <p:nvPr/>
            </p:nvSpPr>
            <p:spPr>
              <a:xfrm>
                <a:off x="3526164" y="5638938"/>
                <a:ext cx="64770" cy="15240"/>
              </a:xfrm>
              <a:custGeom>
                <a:avLst/>
                <a:gdLst>
                  <a:gd name="connsiteX0" fmla="*/ 0 w 64770"/>
                  <a:gd name="connsiteY0" fmla="*/ 0 h 15240"/>
                  <a:gd name="connsiteX1" fmla="*/ 64770 w 64770"/>
                  <a:gd name="connsiteY1" fmla="*/ 0 h 15240"/>
                  <a:gd name="connsiteX2" fmla="*/ 64770 w 64770"/>
                  <a:gd name="connsiteY2" fmla="*/ 15240 h 15240"/>
                  <a:gd name="connsiteX3" fmla="*/ 0 w 64770"/>
                  <a:gd name="connsiteY3" fmla="*/ 15240 h 15240"/>
                </a:gdLst>
                <a:ahLst/>
                <a:cxnLst>
                  <a:cxn ang="0">
                    <a:pos x="connsiteX0" y="connsiteY0"/>
                  </a:cxn>
                  <a:cxn ang="0">
                    <a:pos x="connsiteX1" y="connsiteY1"/>
                  </a:cxn>
                  <a:cxn ang="0">
                    <a:pos x="connsiteX2" y="connsiteY2"/>
                  </a:cxn>
                  <a:cxn ang="0">
                    <a:pos x="connsiteX3" y="connsiteY3"/>
                  </a:cxn>
                </a:cxnLst>
                <a:rect l="l" t="t" r="r" b="b"/>
                <a:pathLst>
                  <a:path w="64770" h="15240">
                    <a:moveTo>
                      <a:pt x="0" y="0"/>
                    </a:moveTo>
                    <a:lnTo>
                      <a:pt x="64770" y="0"/>
                    </a:lnTo>
                    <a:lnTo>
                      <a:pt x="64770" y="15240"/>
                    </a:lnTo>
                    <a:lnTo>
                      <a:pt x="0" y="15240"/>
                    </a:lnTo>
                    <a:close/>
                  </a:path>
                </a:pathLst>
              </a:custGeom>
              <a:solidFill>
                <a:srgbClr val="000000"/>
              </a:solidFill>
              <a:ln w="37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1" name="Freeform: Shape 20">
                <a:extLst>
                  <a:ext uri="{FF2B5EF4-FFF2-40B4-BE49-F238E27FC236}">
                    <a16:creationId xmlns:a16="http://schemas.microsoft.com/office/drawing/2014/main" id="{4B3C5A77-4465-2D2F-1908-6417DF0A59BE}"/>
                  </a:ext>
                </a:extLst>
              </p:cNvPr>
              <p:cNvSpPr/>
              <p:nvPr/>
            </p:nvSpPr>
            <p:spPr>
              <a:xfrm>
                <a:off x="3526164" y="5684658"/>
                <a:ext cx="64770" cy="15240"/>
              </a:xfrm>
              <a:custGeom>
                <a:avLst/>
                <a:gdLst>
                  <a:gd name="connsiteX0" fmla="*/ 0 w 64770"/>
                  <a:gd name="connsiteY0" fmla="*/ 0 h 15240"/>
                  <a:gd name="connsiteX1" fmla="*/ 64770 w 64770"/>
                  <a:gd name="connsiteY1" fmla="*/ 0 h 15240"/>
                  <a:gd name="connsiteX2" fmla="*/ 64770 w 64770"/>
                  <a:gd name="connsiteY2" fmla="*/ 15240 h 15240"/>
                  <a:gd name="connsiteX3" fmla="*/ 0 w 64770"/>
                  <a:gd name="connsiteY3" fmla="*/ 15240 h 15240"/>
                </a:gdLst>
                <a:ahLst/>
                <a:cxnLst>
                  <a:cxn ang="0">
                    <a:pos x="connsiteX0" y="connsiteY0"/>
                  </a:cxn>
                  <a:cxn ang="0">
                    <a:pos x="connsiteX1" y="connsiteY1"/>
                  </a:cxn>
                  <a:cxn ang="0">
                    <a:pos x="connsiteX2" y="connsiteY2"/>
                  </a:cxn>
                  <a:cxn ang="0">
                    <a:pos x="connsiteX3" y="connsiteY3"/>
                  </a:cxn>
                </a:cxnLst>
                <a:rect l="l" t="t" r="r" b="b"/>
                <a:pathLst>
                  <a:path w="64770" h="15240">
                    <a:moveTo>
                      <a:pt x="0" y="0"/>
                    </a:moveTo>
                    <a:lnTo>
                      <a:pt x="64770" y="0"/>
                    </a:lnTo>
                    <a:lnTo>
                      <a:pt x="64770" y="15240"/>
                    </a:lnTo>
                    <a:lnTo>
                      <a:pt x="0" y="15240"/>
                    </a:lnTo>
                    <a:close/>
                  </a:path>
                </a:pathLst>
              </a:custGeom>
              <a:solidFill>
                <a:srgbClr val="000000"/>
              </a:solidFill>
              <a:ln w="37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2" name="Freeform: Shape 21">
                <a:extLst>
                  <a:ext uri="{FF2B5EF4-FFF2-40B4-BE49-F238E27FC236}">
                    <a16:creationId xmlns:a16="http://schemas.microsoft.com/office/drawing/2014/main" id="{17B99E49-B63F-43B9-6B5E-EDF360B663BD}"/>
                  </a:ext>
                </a:extLst>
              </p:cNvPr>
              <p:cNvSpPr/>
              <p:nvPr/>
            </p:nvSpPr>
            <p:spPr>
              <a:xfrm>
                <a:off x="3526164" y="5730378"/>
                <a:ext cx="64770" cy="15240"/>
              </a:xfrm>
              <a:custGeom>
                <a:avLst/>
                <a:gdLst>
                  <a:gd name="connsiteX0" fmla="*/ 0 w 64770"/>
                  <a:gd name="connsiteY0" fmla="*/ 0 h 15240"/>
                  <a:gd name="connsiteX1" fmla="*/ 64770 w 64770"/>
                  <a:gd name="connsiteY1" fmla="*/ 0 h 15240"/>
                  <a:gd name="connsiteX2" fmla="*/ 64770 w 64770"/>
                  <a:gd name="connsiteY2" fmla="*/ 15240 h 15240"/>
                  <a:gd name="connsiteX3" fmla="*/ 0 w 64770"/>
                  <a:gd name="connsiteY3" fmla="*/ 15240 h 15240"/>
                </a:gdLst>
                <a:ahLst/>
                <a:cxnLst>
                  <a:cxn ang="0">
                    <a:pos x="connsiteX0" y="connsiteY0"/>
                  </a:cxn>
                  <a:cxn ang="0">
                    <a:pos x="connsiteX1" y="connsiteY1"/>
                  </a:cxn>
                  <a:cxn ang="0">
                    <a:pos x="connsiteX2" y="connsiteY2"/>
                  </a:cxn>
                  <a:cxn ang="0">
                    <a:pos x="connsiteX3" y="connsiteY3"/>
                  </a:cxn>
                </a:cxnLst>
                <a:rect l="l" t="t" r="r" b="b"/>
                <a:pathLst>
                  <a:path w="64770" h="15240">
                    <a:moveTo>
                      <a:pt x="0" y="0"/>
                    </a:moveTo>
                    <a:lnTo>
                      <a:pt x="64770" y="0"/>
                    </a:lnTo>
                    <a:lnTo>
                      <a:pt x="64770" y="15240"/>
                    </a:lnTo>
                    <a:lnTo>
                      <a:pt x="0" y="15240"/>
                    </a:lnTo>
                    <a:close/>
                  </a:path>
                </a:pathLst>
              </a:custGeom>
              <a:solidFill>
                <a:srgbClr val="000000"/>
              </a:solidFill>
              <a:ln w="37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3" name="Freeform: Shape 22">
                <a:extLst>
                  <a:ext uri="{FF2B5EF4-FFF2-40B4-BE49-F238E27FC236}">
                    <a16:creationId xmlns:a16="http://schemas.microsoft.com/office/drawing/2014/main" id="{23C6964E-31E3-02BB-998C-A9A35316D0DD}"/>
                  </a:ext>
                </a:extLst>
              </p:cNvPr>
              <p:cNvSpPr/>
              <p:nvPr/>
            </p:nvSpPr>
            <p:spPr>
              <a:xfrm>
                <a:off x="3634749" y="5678943"/>
                <a:ext cx="26670" cy="26670"/>
              </a:xfrm>
              <a:custGeom>
                <a:avLst/>
                <a:gdLst>
                  <a:gd name="connsiteX0" fmla="*/ 0 w 26670"/>
                  <a:gd name="connsiteY0" fmla="*/ 0 h 26670"/>
                  <a:gd name="connsiteX1" fmla="*/ 26670 w 26670"/>
                  <a:gd name="connsiteY1" fmla="*/ 0 h 26670"/>
                  <a:gd name="connsiteX2" fmla="*/ 26670 w 26670"/>
                  <a:gd name="connsiteY2" fmla="*/ 26670 h 26670"/>
                  <a:gd name="connsiteX3" fmla="*/ 0 w 26670"/>
                  <a:gd name="connsiteY3" fmla="*/ 26670 h 26670"/>
                </a:gdLst>
                <a:ahLst/>
                <a:cxnLst>
                  <a:cxn ang="0">
                    <a:pos x="connsiteX0" y="connsiteY0"/>
                  </a:cxn>
                  <a:cxn ang="0">
                    <a:pos x="connsiteX1" y="connsiteY1"/>
                  </a:cxn>
                  <a:cxn ang="0">
                    <a:pos x="connsiteX2" y="connsiteY2"/>
                  </a:cxn>
                  <a:cxn ang="0">
                    <a:pos x="connsiteX3" y="connsiteY3"/>
                  </a:cxn>
                </a:cxnLst>
                <a:rect l="l" t="t" r="r" b="b"/>
                <a:pathLst>
                  <a:path w="26670" h="26670">
                    <a:moveTo>
                      <a:pt x="0" y="0"/>
                    </a:moveTo>
                    <a:lnTo>
                      <a:pt x="26670" y="0"/>
                    </a:lnTo>
                    <a:lnTo>
                      <a:pt x="26670" y="26670"/>
                    </a:lnTo>
                    <a:lnTo>
                      <a:pt x="0" y="26670"/>
                    </a:lnTo>
                    <a:close/>
                  </a:path>
                </a:pathLst>
              </a:custGeom>
              <a:solidFill>
                <a:srgbClr val="000000"/>
              </a:solidFill>
              <a:ln w="37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Shape 23">
                <a:extLst>
                  <a:ext uri="{FF2B5EF4-FFF2-40B4-BE49-F238E27FC236}">
                    <a16:creationId xmlns:a16="http://schemas.microsoft.com/office/drawing/2014/main" id="{4ADF7BBA-673A-E73C-5034-CF9173D72E2E}"/>
                  </a:ext>
                </a:extLst>
              </p:cNvPr>
              <p:cNvSpPr/>
              <p:nvPr/>
            </p:nvSpPr>
            <p:spPr>
              <a:xfrm>
                <a:off x="3634749" y="5724663"/>
                <a:ext cx="26670" cy="26670"/>
              </a:xfrm>
              <a:custGeom>
                <a:avLst/>
                <a:gdLst>
                  <a:gd name="connsiteX0" fmla="*/ 0 w 26670"/>
                  <a:gd name="connsiteY0" fmla="*/ 0 h 26670"/>
                  <a:gd name="connsiteX1" fmla="*/ 26670 w 26670"/>
                  <a:gd name="connsiteY1" fmla="*/ 0 h 26670"/>
                  <a:gd name="connsiteX2" fmla="*/ 26670 w 26670"/>
                  <a:gd name="connsiteY2" fmla="*/ 26670 h 26670"/>
                  <a:gd name="connsiteX3" fmla="*/ 0 w 26670"/>
                  <a:gd name="connsiteY3" fmla="*/ 26670 h 26670"/>
                </a:gdLst>
                <a:ahLst/>
                <a:cxnLst>
                  <a:cxn ang="0">
                    <a:pos x="connsiteX0" y="connsiteY0"/>
                  </a:cxn>
                  <a:cxn ang="0">
                    <a:pos x="connsiteX1" y="connsiteY1"/>
                  </a:cxn>
                  <a:cxn ang="0">
                    <a:pos x="connsiteX2" y="connsiteY2"/>
                  </a:cxn>
                  <a:cxn ang="0">
                    <a:pos x="connsiteX3" y="connsiteY3"/>
                  </a:cxn>
                </a:cxnLst>
                <a:rect l="l" t="t" r="r" b="b"/>
                <a:pathLst>
                  <a:path w="26670" h="26670">
                    <a:moveTo>
                      <a:pt x="0" y="0"/>
                    </a:moveTo>
                    <a:lnTo>
                      <a:pt x="26670" y="0"/>
                    </a:lnTo>
                    <a:lnTo>
                      <a:pt x="26670" y="26670"/>
                    </a:lnTo>
                    <a:lnTo>
                      <a:pt x="0" y="26670"/>
                    </a:lnTo>
                    <a:close/>
                  </a:path>
                </a:pathLst>
              </a:custGeom>
              <a:solidFill>
                <a:srgbClr val="000000"/>
              </a:solidFill>
              <a:ln w="37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5" name="Freeform: Shape 24">
                <a:extLst>
                  <a:ext uri="{FF2B5EF4-FFF2-40B4-BE49-F238E27FC236}">
                    <a16:creationId xmlns:a16="http://schemas.microsoft.com/office/drawing/2014/main" id="{087702A4-5D78-2803-6928-3D5628EB234D}"/>
                  </a:ext>
                </a:extLst>
              </p:cNvPr>
              <p:cNvSpPr/>
              <p:nvPr/>
            </p:nvSpPr>
            <p:spPr>
              <a:xfrm>
                <a:off x="3617223" y="5576835"/>
                <a:ext cx="51054" cy="41147"/>
              </a:xfrm>
              <a:custGeom>
                <a:avLst/>
                <a:gdLst>
                  <a:gd name="connsiteX0" fmla="*/ 0 w 51054"/>
                  <a:gd name="connsiteY0" fmla="*/ 23241 h 41147"/>
                  <a:gd name="connsiteX1" fmla="*/ 8001 w 51054"/>
                  <a:gd name="connsiteY1" fmla="*/ 15240 h 41147"/>
                  <a:gd name="connsiteX2" fmla="*/ 17907 w 51054"/>
                  <a:gd name="connsiteY2" fmla="*/ 25146 h 41147"/>
                  <a:gd name="connsiteX3" fmla="*/ 43053 w 51054"/>
                  <a:gd name="connsiteY3" fmla="*/ 0 h 41147"/>
                  <a:gd name="connsiteX4" fmla="*/ 51054 w 51054"/>
                  <a:gd name="connsiteY4" fmla="*/ 8001 h 41147"/>
                  <a:gd name="connsiteX5" fmla="*/ 17907 w 51054"/>
                  <a:gd name="connsiteY5" fmla="*/ 41148 h 4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54" h="41147">
                    <a:moveTo>
                      <a:pt x="0" y="23241"/>
                    </a:moveTo>
                    <a:lnTo>
                      <a:pt x="8001" y="15240"/>
                    </a:lnTo>
                    <a:lnTo>
                      <a:pt x="17907" y="25146"/>
                    </a:lnTo>
                    <a:lnTo>
                      <a:pt x="43053" y="0"/>
                    </a:lnTo>
                    <a:lnTo>
                      <a:pt x="51054" y="8001"/>
                    </a:lnTo>
                    <a:lnTo>
                      <a:pt x="17907" y="41148"/>
                    </a:lnTo>
                    <a:close/>
                  </a:path>
                </a:pathLst>
              </a:custGeom>
              <a:solidFill>
                <a:srgbClr val="000000"/>
              </a:solidFill>
              <a:ln w="37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Shape 25">
                <a:extLst>
                  <a:ext uri="{FF2B5EF4-FFF2-40B4-BE49-F238E27FC236}">
                    <a16:creationId xmlns:a16="http://schemas.microsoft.com/office/drawing/2014/main" id="{D4054D64-FF6F-2AF0-A979-9DB03EA17430}"/>
                  </a:ext>
                </a:extLst>
              </p:cNvPr>
              <p:cNvSpPr/>
              <p:nvPr/>
            </p:nvSpPr>
            <p:spPr>
              <a:xfrm>
                <a:off x="3617223" y="5622555"/>
                <a:ext cx="51054" cy="41147"/>
              </a:xfrm>
              <a:custGeom>
                <a:avLst/>
                <a:gdLst>
                  <a:gd name="connsiteX0" fmla="*/ 0 w 51054"/>
                  <a:gd name="connsiteY0" fmla="*/ 23241 h 41147"/>
                  <a:gd name="connsiteX1" fmla="*/ 8001 w 51054"/>
                  <a:gd name="connsiteY1" fmla="*/ 15240 h 41147"/>
                  <a:gd name="connsiteX2" fmla="*/ 17907 w 51054"/>
                  <a:gd name="connsiteY2" fmla="*/ 25146 h 41147"/>
                  <a:gd name="connsiteX3" fmla="*/ 43053 w 51054"/>
                  <a:gd name="connsiteY3" fmla="*/ 0 h 41147"/>
                  <a:gd name="connsiteX4" fmla="*/ 51054 w 51054"/>
                  <a:gd name="connsiteY4" fmla="*/ 8001 h 41147"/>
                  <a:gd name="connsiteX5" fmla="*/ 17907 w 51054"/>
                  <a:gd name="connsiteY5" fmla="*/ 41148 h 4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054" h="41147">
                    <a:moveTo>
                      <a:pt x="0" y="23241"/>
                    </a:moveTo>
                    <a:lnTo>
                      <a:pt x="8001" y="15240"/>
                    </a:lnTo>
                    <a:lnTo>
                      <a:pt x="17907" y="25146"/>
                    </a:lnTo>
                    <a:lnTo>
                      <a:pt x="43053" y="0"/>
                    </a:lnTo>
                    <a:lnTo>
                      <a:pt x="51054" y="8001"/>
                    </a:lnTo>
                    <a:lnTo>
                      <a:pt x="17907" y="41148"/>
                    </a:lnTo>
                    <a:close/>
                  </a:path>
                </a:pathLst>
              </a:custGeom>
              <a:solidFill>
                <a:srgbClr val="000000"/>
              </a:solidFill>
              <a:ln w="37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grpSp>
        <p:nvGrpSpPr>
          <p:cNvPr id="27" name="General_Border_35">
            <a:extLst>
              <a:ext uri="{FF2B5EF4-FFF2-40B4-BE49-F238E27FC236}">
                <a16:creationId xmlns:a16="http://schemas.microsoft.com/office/drawing/2014/main" id="{3437DD20-64CE-73A2-7AEA-443D6838FEBD}"/>
              </a:ext>
            </a:extLst>
          </p:cNvPr>
          <p:cNvGrpSpPr>
            <a:grpSpLocks noChangeAspect="1"/>
          </p:cNvGrpSpPr>
          <p:nvPr/>
        </p:nvGrpSpPr>
        <p:grpSpPr bwMode="auto">
          <a:xfrm>
            <a:off x="303785" y="4271340"/>
            <a:ext cx="461459" cy="461459"/>
            <a:chOff x="390" y="346"/>
            <a:chExt cx="340" cy="340"/>
          </a:xfrm>
          <a:solidFill>
            <a:schemeClr val="tx1"/>
          </a:solidFill>
        </p:grpSpPr>
        <p:sp>
          <p:nvSpPr>
            <p:cNvPr id="28" name="Freeform 100">
              <a:extLst>
                <a:ext uri="{FF2B5EF4-FFF2-40B4-BE49-F238E27FC236}">
                  <a16:creationId xmlns:a16="http://schemas.microsoft.com/office/drawing/2014/main" id="{13EC1C18-2648-18CF-3465-C87D9ABE1928}"/>
                </a:ext>
              </a:extLst>
            </p:cNvPr>
            <p:cNvSpPr>
              <a:spLocks noEditPoints="1"/>
            </p:cNvSpPr>
            <p:nvPr/>
          </p:nvSpPr>
          <p:spPr bwMode="auto">
            <a:xfrm>
              <a:off x="390" y="34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01">
              <a:extLst>
                <a:ext uri="{FF2B5EF4-FFF2-40B4-BE49-F238E27FC236}">
                  <a16:creationId xmlns:a16="http://schemas.microsoft.com/office/drawing/2014/main" id="{A311056D-043E-4813-F161-090BF861AEED}"/>
                </a:ext>
              </a:extLst>
            </p:cNvPr>
            <p:cNvSpPr>
              <a:spLocks/>
            </p:cNvSpPr>
            <p:nvPr/>
          </p:nvSpPr>
          <p:spPr bwMode="auto">
            <a:xfrm>
              <a:off x="468" y="433"/>
              <a:ext cx="160" cy="189"/>
            </a:xfrm>
            <a:custGeom>
              <a:avLst/>
              <a:gdLst>
                <a:gd name="T0" fmla="*/ 223 w 242"/>
                <a:gd name="T1" fmla="*/ 188 h 285"/>
                <a:gd name="T2" fmla="*/ 141 w 242"/>
                <a:gd name="T3" fmla="*/ 221 h 285"/>
                <a:gd name="T4" fmla="*/ 21 w 242"/>
                <a:gd name="T5" fmla="*/ 101 h 285"/>
                <a:gd name="T6" fmla="*/ 54 w 242"/>
                <a:gd name="T7" fmla="*/ 19 h 285"/>
                <a:gd name="T8" fmla="*/ 53 w 242"/>
                <a:gd name="T9" fmla="*/ 4 h 285"/>
                <a:gd name="T10" fmla="*/ 38 w 242"/>
                <a:gd name="T11" fmla="*/ 5 h 285"/>
                <a:gd name="T12" fmla="*/ 0 w 242"/>
                <a:gd name="T13" fmla="*/ 101 h 285"/>
                <a:gd name="T14" fmla="*/ 128 w 242"/>
                <a:gd name="T15" fmla="*/ 241 h 285"/>
                <a:gd name="T16" fmla="*/ 128 w 242"/>
                <a:gd name="T17" fmla="*/ 263 h 285"/>
                <a:gd name="T18" fmla="*/ 75 w 242"/>
                <a:gd name="T19" fmla="*/ 263 h 285"/>
                <a:gd name="T20" fmla="*/ 64 w 242"/>
                <a:gd name="T21" fmla="*/ 274 h 285"/>
                <a:gd name="T22" fmla="*/ 75 w 242"/>
                <a:gd name="T23" fmla="*/ 285 h 285"/>
                <a:gd name="T24" fmla="*/ 203 w 242"/>
                <a:gd name="T25" fmla="*/ 285 h 285"/>
                <a:gd name="T26" fmla="*/ 213 w 242"/>
                <a:gd name="T27" fmla="*/ 274 h 285"/>
                <a:gd name="T28" fmla="*/ 203 w 242"/>
                <a:gd name="T29" fmla="*/ 263 h 285"/>
                <a:gd name="T30" fmla="*/ 149 w 242"/>
                <a:gd name="T31" fmla="*/ 263 h 285"/>
                <a:gd name="T32" fmla="*/ 149 w 242"/>
                <a:gd name="T33" fmla="*/ 242 h 285"/>
                <a:gd name="T34" fmla="*/ 237 w 242"/>
                <a:gd name="T35" fmla="*/ 204 h 285"/>
                <a:gd name="T36" fmla="*/ 238 w 242"/>
                <a:gd name="T37" fmla="*/ 189 h 285"/>
                <a:gd name="T38" fmla="*/ 223 w 242"/>
                <a:gd name="T39" fmla="*/ 188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2" h="285">
                  <a:moveTo>
                    <a:pt x="223" y="188"/>
                  </a:moveTo>
                  <a:cubicBezTo>
                    <a:pt x="200" y="209"/>
                    <a:pt x="171" y="221"/>
                    <a:pt x="141" y="221"/>
                  </a:cubicBezTo>
                  <a:cubicBezTo>
                    <a:pt x="75" y="221"/>
                    <a:pt x="21" y="167"/>
                    <a:pt x="21" y="101"/>
                  </a:cubicBezTo>
                  <a:cubicBezTo>
                    <a:pt x="21" y="71"/>
                    <a:pt x="33" y="42"/>
                    <a:pt x="54" y="19"/>
                  </a:cubicBezTo>
                  <a:cubicBezTo>
                    <a:pt x="58" y="15"/>
                    <a:pt x="58" y="8"/>
                    <a:pt x="53" y="4"/>
                  </a:cubicBezTo>
                  <a:cubicBezTo>
                    <a:pt x="49" y="0"/>
                    <a:pt x="42" y="1"/>
                    <a:pt x="38" y="5"/>
                  </a:cubicBezTo>
                  <a:cubicBezTo>
                    <a:pt x="14" y="31"/>
                    <a:pt x="0" y="65"/>
                    <a:pt x="0" y="101"/>
                  </a:cubicBezTo>
                  <a:cubicBezTo>
                    <a:pt x="0" y="175"/>
                    <a:pt x="56" y="235"/>
                    <a:pt x="128" y="241"/>
                  </a:cubicBezTo>
                  <a:cubicBezTo>
                    <a:pt x="128" y="263"/>
                    <a:pt x="128" y="263"/>
                    <a:pt x="128" y="263"/>
                  </a:cubicBezTo>
                  <a:cubicBezTo>
                    <a:pt x="75" y="263"/>
                    <a:pt x="75" y="263"/>
                    <a:pt x="75" y="263"/>
                  </a:cubicBezTo>
                  <a:cubicBezTo>
                    <a:pt x="69" y="263"/>
                    <a:pt x="64" y="268"/>
                    <a:pt x="64" y="274"/>
                  </a:cubicBezTo>
                  <a:cubicBezTo>
                    <a:pt x="64" y="280"/>
                    <a:pt x="69" y="285"/>
                    <a:pt x="75" y="285"/>
                  </a:cubicBezTo>
                  <a:cubicBezTo>
                    <a:pt x="203" y="285"/>
                    <a:pt x="203" y="285"/>
                    <a:pt x="203" y="285"/>
                  </a:cubicBezTo>
                  <a:cubicBezTo>
                    <a:pt x="209" y="285"/>
                    <a:pt x="213" y="280"/>
                    <a:pt x="213" y="274"/>
                  </a:cubicBezTo>
                  <a:cubicBezTo>
                    <a:pt x="213" y="268"/>
                    <a:pt x="209" y="263"/>
                    <a:pt x="203" y="263"/>
                  </a:cubicBezTo>
                  <a:cubicBezTo>
                    <a:pt x="149" y="263"/>
                    <a:pt x="149" y="263"/>
                    <a:pt x="149" y="263"/>
                  </a:cubicBezTo>
                  <a:cubicBezTo>
                    <a:pt x="149" y="242"/>
                    <a:pt x="149" y="242"/>
                    <a:pt x="149" y="242"/>
                  </a:cubicBezTo>
                  <a:cubicBezTo>
                    <a:pt x="182" y="240"/>
                    <a:pt x="213" y="226"/>
                    <a:pt x="237" y="204"/>
                  </a:cubicBezTo>
                  <a:cubicBezTo>
                    <a:pt x="241" y="200"/>
                    <a:pt x="242" y="193"/>
                    <a:pt x="238" y="189"/>
                  </a:cubicBezTo>
                  <a:cubicBezTo>
                    <a:pt x="234" y="184"/>
                    <a:pt x="227" y="184"/>
                    <a:pt x="223" y="18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02">
              <a:extLst>
                <a:ext uri="{FF2B5EF4-FFF2-40B4-BE49-F238E27FC236}">
                  <a16:creationId xmlns:a16="http://schemas.microsoft.com/office/drawing/2014/main" id="{470E3DD6-A5DF-4B09-CBE3-89D3D13A2D44}"/>
                </a:ext>
              </a:extLst>
            </p:cNvPr>
            <p:cNvSpPr>
              <a:spLocks noEditPoints="1"/>
            </p:cNvSpPr>
            <p:nvPr/>
          </p:nvSpPr>
          <p:spPr bwMode="auto">
            <a:xfrm>
              <a:off x="492" y="431"/>
              <a:ext cx="138" cy="138"/>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2 h 208"/>
                <a:gd name="T12" fmla="*/ 186 w 208"/>
                <a:gd name="T13" fmla="*/ 104 h 208"/>
                <a:gd name="T14" fmla="*/ 104 w 208"/>
                <a:gd name="T15" fmla="*/ 187 h 208"/>
                <a:gd name="T16" fmla="*/ 21 w 208"/>
                <a:gd name="T17" fmla="*/ 104 h 208"/>
                <a:gd name="T18" fmla="*/ 104 w 208"/>
                <a:gd name="T19" fmla="*/ 2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104" y="208"/>
                  </a:moveTo>
                  <a:cubicBezTo>
                    <a:pt x="161" y="208"/>
                    <a:pt x="208" y="162"/>
                    <a:pt x="208" y="104"/>
                  </a:cubicBezTo>
                  <a:cubicBezTo>
                    <a:pt x="208" y="47"/>
                    <a:pt x="161" y="0"/>
                    <a:pt x="104" y="0"/>
                  </a:cubicBezTo>
                  <a:cubicBezTo>
                    <a:pt x="46" y="0"/>
                    <a:pt x="0" y="47"/>
                    <a:pt x="0" y="104"/>
                  </a:cubicBezTo>
                  <a:cubicBezTo>
                    <a:pt x="0" y="162"/>
                    <a:pt x="46" y="208"/>
                    <a:pt x="104" y="208"/>
                  </a:cubicBezTo>
                  <a:close/>
                  <a:moveTo>
                    <a:pt x="104" y="22"/>
                  </a:moveTo>
                  <a:cubicBezTo>
                    <a:pt x="149" y="22"/>
                    <a:pt x="186" y="59"/>
                    <a:pt x="186" y="104"/>
                  </a:cubicBezTo>
                  <a:cubicBezTo>
                    <a:pt x="186" y="150"/>
                    <a:pt x="149" y="187"/>
                    <a:pt x="104" y="187"/>
                  </a:cubicBezTo>
                  <a:cubicBezTo>
                    <a:pt x="58" y="187"/>
                    <a:pt x="21" y="150"/>
                    <a:pt x="21" y="104"/>
                  </a:cubicBezTo>
                  <a:cubicBezTo>
                    <a:pt x="21" y="59"/>
                    <a:pt x="58" y="22"/>
                    <a:pt x="104"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31" name="TextBox 30">
            <a:extLst>
              <a:ext uri="{FF2B5EF4-FFF2-40B4-BE49-F238E27FC236}">
                <a16:creationId xmlns:a16="http://schemas.microsoft.com/office/drawing/2014/main" id="{C5F55F49-9729-CDDD-0498-D44ADE136D90}"/>
              </a:ext>
            </a:extLst>
          </p:cNvPr>
          <p:cNvSpPr txBox="1"/>
          <p:nvPr/>
        </p:nvSpPr>
        <p:spPr>
          <a:xfrm>
            <a:off x="944773" y="4044094"/>
            <a:ext cx="3990109" cy="1169551"/>
          </a:xfrm>
          <a:prstGeom prst="rect">
            <a:avLst/>
          </a:prstGeom>
          <a:noFill/>
        </p:spPr>
        <p:txBody>
          <a:bodyPr wrap="square">
            <a:spAutoFit/>
          </a:bodyPr>
          <a:lstStyle/>
          <a:p>
            <a:pPr marL="0" marR="0" lvl="0" indent="0" algn="l" defTabSz="1024506" rtl="0" eaLnBrk="1" fontAlgn="auto" latinLnBrk="0" hangingPunct="1">
              <a:lnSpc>
                <a:spcPct val="100000"/>
              </a:lnSpc>
              <a:spcBef>
                <a:spcPts val="0"/>
              </a:spcBef>
              <a:spcAft>
                <a:spcPts val="0"/>
              </a:spcAft>
              <a:buClrTx/>
              <a:buSzTx/>
              <a:buFontTx/>
              <a:buNone/>
              <a:tabLst/>
              <a:defRPr/>
            </a:pPr>
            <a:r>
              <a:rPr kumimoji="0" lang="en-US" sz="1400" b="0" u="none" strike="noStrike" kern="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rPr>
              <a:t>Act 315 established multiple structures to build resilience in Louisiana: the Chief Resilience Officer, the Louisiana Resilience Task Force, and the Interagency Coordination Team.</a:t>
            </a:r>
            <a:endParaRPr kumimoji="0" lang="en-US" sz="1400" b="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cxnSp>
        <p:nvCxnSpPr>
          <p:cNvPr id="32" name="iBar:31/138">
            <a:extLst>
              <a:ext uri="{FF2B5EF4-FFF2-40B4-BE49-F238E27FC236}">
                <a16:creationId xmlns:a16="http://schemas.microsoft.com/office/drawing/2014/main" id="{4F2D73D2-1CC1-9951-7D47-4AAD8971DEA9}"/>
              </a:ext>
            </a:extLst>
          </p:cNvPr>
          <p:cNvCxnSpPr>
            <a:cxnSpLocks/>
          </p:cNvCxnSpPr>
          <p:nvPr/>
        </p:nvCxnSpPr>
        <p:spPr>
          <a:xfrm flipV="1">
            <a:off x="5289453" y="1085544"/>
            <a:ext cx="0" cy="5007196"/>
          </a:xfrm>
          <a:prstGeom prst="line">
            <a:avLst/>
          </a:prstGeom>
          <a:noFill/>
          <a:ln w="12700" cap="flat" cmpd="sng" algn="ctr">
            <a:solidFill>
              <a:sysClr val="windowText" lastClr="000000"/>
            </a:solidFill>
            <a:prstDash val="solid"/>
            <a:miter lim="800000"/>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62350156-4182-E99D-4098-D4D22A5459FC}"/>
              </a:ext>
            </a:extLst>
          </p:cNvPr>
          <p:cNvSpPr txBox="1"/>
          <p:nvPr/>
        </p:nvSpPr>
        <p:spPr>
          <a:xfrm>
            <a:off x="5716756" y="3079392"/>
            <a:ext cx="6104708" cy="2862322"/>
          </a:xfrm>
          <a:prstGeom prst="rect">
            <a:avLst/>
          </a:prstGeom>
          <a:noFill/>
        </p:spPr>
        <p:txBody>
          <a:bodyPr wrap="square">
            <a:spAutoFit/>
          </a:bodyPr>
          <a:lstStyle/>
          <a:p>
            <a:pPr algn="ctr"/>
            <a:r>
              <a:rPr lang="en-US" i="1">
                <a:solidFill>
                  <a:srgbClr val="002060"/>
                </a:solidFill>
                <a:latin typeface="Open Sans" panose="020B0606030504020204" pitchFamily="34" charset="0"/>
                <a:ea typeface="Open Sans" panose="020B0606030504020204" pitchFamily="34" charset="0"/>
                <a:cs typeface="Open Sans" panose="020B0606030504020204" pitchFamily="34" charset="0"/>
              </a:rPr>
              <a:t>.</a:t>
            </a:r>
          </a:p>
          <a:p>
            <a:pPr algn="ctr"/>
            <a:r>
              <a:rPr lang="en-US" i="1">
                <a:solidFill>
                  <a:srgbClr val="002060"/>
                </a:solidFill>
                <a:latin typeface="Open Sans" panose="020B0606030504020204" pitchFamily="34" charset="0"/>
                <a:ea typeface="Open Sans" panose="020B0606030504020204" pitchFamily="34" charset="0"/>
                <a:cs typeface="Open Sans" panose="020B0606030504020204" pitchFamily="34" charset="0"/>
              </a:rPr>
              <a:t>“Resilience” shall mean a capability to </a:t>
            </a:r>
          </a:p>
          <a:p>
            <a:pPr algn="ctr"/>
            <a:r>
              <a:rPr lang="en-US" i="1">
                <a:solidFill>
                  <a:srgbClr val="002060"/>
                </a:solidFill>
                <a:latin typeface="Open Sans" panose="020B0606030504020204" pitchFamily="34" charset="0"/>
                <a:ea typeface="Open Sans" panose="020B0606030504020204" pitchFamily="34" charset="0"/>
                <a:cs typeface="Open Sans" panose="020B0606030504020204" pitchFamily="34" charset="0"/>
              </a:rPr>
              <a:t>anticipate, prepare for, respond to, and </a:t>
            </a:r>
          </a:p>
          <a:p>
            <a:pPr algn="ctr"/>
            <a:r>
              <a:rPr lang="en-US" i="1">
                <a:solidFill>
                  <a:srgbClr val="002060"/>
                </a:solidFill>
                <a:latin typeface="Open Sans" panose="020B0606030504020204" pitchFamily="34" charset="0"/>
                <a:ea typeface="Open Sans" panose="020B0606030504020204" pitchFamily="34" charset="0"/>
                <a:cs typeface="Open Sans" panose="020B0606030504020204" pitchFamily="34" charset="0"/>
              </a:rPr>
              <a:t>recover from significant multi-hazard threats </a:t>
            </a:r>
          </a:p>
          <a:p>
            <a:pPr algn="ctr"/>
            <a:r>
              <a:rPr lang="en-US" i="1">
                <a:solidFill>
                  <a:srgbClr val="002060"/>
                </a:solidFill>
                <a:latin typeface="Open Sans" panose="020B0606030504020204" pitchFamily="34" charset="0"/>
                <a:ea typeface="Open Sans" panose="020B0606030504020204" pitchFamily="34" charset="0"/>
                <a:cs typeface="Open Sans" panose="020B0606030504020204" pitchFamily="34" charset="0"/>
              </a:rPr>
              <a:t>with minimal damage to social well-being, the </a:t>
            </a:r>
          </a:p>
          <a:p>
            <a:pPr algn="ctr"/>
            <a:r>
              <a:rPr lang="en-US" i="1">
                <a:solidFill>
                  <a:srgbClr val="002060"/>
                </a:solidFill>
                <a:latin typeface="Open Sans" panose="020B0606030504020204" pitchFamily="34" charset="0"/>
                <a:ea typeface="Open Sans" panose="020B0606030504020204" pitchFamily="34" charset="0"/>
                <a:cs typeface="Open Sans" panose="020B0606030504020204" pitchFamily="34" charset="0"/>
              </a:rPr>
              <a:t>economy, infrastructure, and the </a:t>
            </a:r>
          </a:p>
          <a:p>
            <a:pPr algn="ctr"/>
            <a:r>
              <a:rPr lang="en-US" i="1">
                <a:solidFill>
                  <a:srgbClr val="002060"/>
                </a:solidFill>
                <a:latin typeface="Open Sans" panose="020B0606030504020204" pitchFamily="34" charset="0"/>
                <a:ea typeface="Open Sans" panose="020B0606030504020204" pitchFamily="34" charset="0"/>
                <a:cs typeface="Open Sans" panose="020B0606030504020204" pitchFamily="34" charset="0"/>
              </a:rPr>
              <a:t>environment.</a:t>
            </a:r>
          </a:p>
          <a:p>
            <a:pPr algn="ctr"/>
            <a:endParaRPr lang="en-US" i="1">
              <a:solidFill>
                <a:srgbClr val="002060"/>
              </a:solidFill>
              <a:latin typeface="Open Sans" panose="020B0606030504020204" pitchFamily="34" charset="0"/>
              <a:ea typeface="Open Sans" panose="020B0606030504020204" pitchFamily="34" charset="0"/>
              <a:cs typeface="Open Sans" panose="020B0606030504020204" pitchFamily="34" charset="0"/>
            </a:endParaRPr>
          </a:p>
          <a:p>
            <a:pPr algn="ctr"/>
            <a:r>
              <a:rPr lang="en-US" i="1">
                <a:solidFill>
                  <a:srgbClr val="002060"/>
                </a:solidFill>
                <a:latin typeface="Open Sans" panose="020B0606030504020204" pitchFamily="34" charset="0"/>
                <a:ea typeface="Open Sans" panose="020B0606030504020204" pitchFamily="34" charset="0"/>
                <a:cs typeface="Open Sans" panose="020B0606030504020204" pitchFamily="34" charset="0"/>
              </a:rPr>
              <a:t>Act No. 315 of the 2023 Regular Session</a:t>
            </a:r>
          </a:p>
          <a:p>
            <a:endParaRPr lang="en-US" i="1">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7173738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ysClr val="windowText" lastClr="000000"/>
      </a:dk1>
      <a:lt1>
        <a:sysClr val="window" lastClr="FFFFFF"/>
      </a:lt1>
      <a:dk2>
        <a:srgbClr val="242852"/>
      </a:dk2>
      <a:lt2>
        <a:srgbClr val="374C81"/>
      </a:lt2>
      <a:accent1>
        <a:srgbClr val="4A66AC"/>
      </a:accent1>
      <a:accent2>
        <a:srgbClr val="253356"/>
      </a:accent2>
      <a:accent3>
        <a:srgbClr val="297FD5"/>
      </a:accent3>
      <a:accent4>
        <a:srgbClr val="7F8FA9"/>
      </a:accent4>
      <a:accent5>
        <a:srgbClr val="1E5F9F"/>
      </a:accent5>
      <a:accent6>
        <a:srgbClr val="9D90A0"/>
      </a:accent6>
      <a:hlink>
        <a:srgbClr val="00B0F0"/>
      </a:hlink>
      <a:folHlink>
        <a:srgbClr val="3EBBF0"/>
      </a:folHlink>
    </a:clrScheme>
    <a:fontScheme name="Custom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c0e43f0-5d05-444d-8ba7-2f70ae6aeb8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1F3540D8F3E5843B661B221634EC5DE" ma:contentTypeVersion="14" ma:contentTypeDescription="Create a new document." ma:contentTypeScope="" ma:versionID="b8044de2624c76e5e8b5bc75fcac6791">
  <xsd:schema xmlns:xsd="http://www.w3.org/2001/XMLSchema" xmlns:xs="http://www.w3.org/2001/XMLSchema" xmlns:p="http://schemas.microsoft.com/office/2006/metadata/properties" xmlns:ns2="8c0e43f0-5d05-444d-8ba7-2f70ae6aeb8e" xmlns:ns3="e47963ad-19c6-4d47-971f-d0d969aa32c7" targetNamespace="http://schemas.microsoft.com/office/2006/metadata/properties" ma:root="true" ma:fieldsID="155c9df6919945a0f93421238fdeba4b" ns2:_="" ns3:_="">
    <xsd:import namespace="8c0e43f0-5d05-444d-8ba7-2f70ae6aeb8e"/>
    <xsd:import namespace="e47963ad-19c6-4d47-971f-d0d969aa32c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0e43f0-5d05-444d-8ba7-2f70ae6aeb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47963ad-19c6-4d47-971f-d0d969aa32c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A97C30-BAF9-4682-B616-FE7DE5EB7D09}">
  <ds:schemaRefs>
    <ds:schemaRef ds:uri="http://schemas.microsoft.com/sharepoint/v3/contenttype/forms"/>
  </ds:schemaRefs>
</ds:datastoreItem>
</file>

<file path=customXml/itemProps2.xml><?xml version="1.0" encoding="utf-8"?>
<ds:datastoreItem xmlns:ds="http://schemas.openxmlformats.org/officeDocument/2006/customXml" ds:itemID="{A1F4172F-DBAB-409F-8BA9-08D40257A5A4}">
  <ds:schemaRefs>
    <ds:schemaRef ds:uri="http://purl.org/dc/terms/"/>
    <ds:schemaRef ds:uri="e47963ad-19c6-4d47-971f-d0d969aa32c7"/>
    <ds:schemaRef ds:uri="http://purl.org/dc/dcmitype/"/>
    <ds:schemaRef ds:uri="http://schemas.microsoft.com/office/2006/documentManagement/types"/>
    <ds:schemaRef ds:uri="http://purl.org/dc/elements/1.1/"/>
    <ds:schemaRef ds:uri="http://schemas.microsoft.com/office/2006/metadata/properties"/>
    <ds:schemaRef ds:uri="8c0e43f0-5d05-444d-8ba7-2f70ae6aeb8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A249F3D-D183-4FF9-9B84-67733EA65927}">
  <ds:schemaRefs>
    <ds:schemaRef ds:uri="8c0e43f0-5d05-444d-8ba7-2f70ae6aeb8e"/>
    <ds:schemaRef ds:uri="e47963ad-19c6-4d47-971f-d0d969aa32c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48</TotalTime>
  <Words>2737</Words>
  <Application>Microsoft Office PowerPoint</Application>
  <PresentationFormat>Widescreen</PresentationFormat>
  <Paragraphs>568</Paragraphs>
  <Slides>30</Slides>
  <Notes>2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1" baseType="lpstr">
      <vt:lpstr>Arial</vt:lpstr>
      <vt:lpstr>Calibri</vt:lpstr>
      <vt:lpstr>Calibri Light</vt:lpstr>
      <vt:lpstr>Open Sans</vt:lpstr>
      <vt:lpstr>Open Sans Light</vt:lpstr>
      <vt:lpstr>Times New Roman</vt:lpstr>
      <vt:lpstr>Verdana</vt:lpstr>
      <vt:lpstr>Wingdings</vt:lpstr>
      <vt:lpstr>Wingdings 2</vt:lpstr>
      <vt:lpstr>1_Office Theme</vt:lpstr>
      <vt:lpstr>think-cell Slide</vt:lpstr>
      <vt:lpstr>PowerPoint Presentation</vt:lpstr>
      <vt:lpstr>PowerPoint Presentation</vt:lpstr>
      <vt:lpstr>Call to Order</vt:lpstr>
      <vt:lpstr>Roll Call</vt:lpstr>
      <vt:lpstr>Public Comment</vt:lpstr>
      <vt:lpstr>Approval of Agenda</vt:lpstr>
      <vt:lpstr>Opening Remarks</vt:lpstr>
      <vt:lpstr>History of Resilience in Louisiana</vt:lpstr>
      <vt:lpstr>Legislative History of the Chief Resilience Officer  </vt:lpstr>
      <vt:lpstr>Why Resilience Beyond Just Coastal?</vt:lpstr>
      <vt:lpstr>Why Resilience Beyond Just Coastal?</vt:lpstr>
      <vt:lpstr>How can the Chief Resilience Officer Serve You?</vt:lpstr>
      <vt:lpstr>Pillars of Resilience in Louisiana</vt:lpstr>
      <vt:lpstr>Legislative History of the Resilience Task Force </vt:lpstr>
      <vt:lpstr>Resilience Stakeholders in Louisiana  </vt:lpstr>
      <vt:lpstr>Task Force Members</vt:lpstr>
      <vt:lpstr>   Please introduce your name, agency and your recommendations for building a resilient Louisiana?   </vt:lpstr>
      <vt:lpstr>Defining Resilience </vt:lpstr>
      <vt:lpstr>Defining Resilience </vt:lpstr>
      <vt:lpstr>Louisiana’s Resilient Priorities  </vt:lpstr>
      <vt:lpstr>How Can We Bring Additional Resilience Funds to Louisiana?</vt:lpstr>
      <vt:lpstr>Louisiana’s Resilient Priorities  </vt:lpstr>
      <vt:lpstr>Upcoming Funding Opportunities  </vt:lpstr>
      <vt:lpstr>Upcoming Funding Opportunities  </vt:lpstr>
      <vt:lpstr>Upcoming Funding Opportunities  </vt:lpstr>
      <vt:lpstr>Upcoming Funding Opportunities  </vt:lpstr>
      <vt:lpstr>Check Back for Updates on Resilience.la.gov </vt:lpstr>
      <vt:lpstr>Updates &amp; Announcements</vt:lpstr>
      <vt:lpstr>What resilience-related grants is your agency hoping to pursue this year and how can the CRO best support your efforts?  How can the CRO best support the incorporation of resilience in agency plans?</vt:lpstr>
      <vt:lpstr>Adjourn: I Look Forward to Serving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Namara, Ryan</dc:creator>
  <cp:lastModifiedBy>Stephen Swiber</cp:lastModifiedBy>
  <cp:revision>5</cp:revision>
  <dcterms:created xsi:type="dcterms:W3CDTF">2013-07-15T20:26:40Z</dcterms:created>
  <dcterms:modified xsi:type="dcterms:W3CDTF">2024-07-25T19:3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F3540D8F3E5843B661B221634EC5DE</vt:lpwstr>
  </property>
  <property fmtid="{D5CDD505-2E9C-101B-9397-08002B2CF9AE}" pid="3" name="MSIP_Label_ea60d57e-af5b-4752-ac57-3e4f28ca11dc_Enabled">
    <vt:lpwstr>true</vt:lpwstr>
  </property>
  <property fmtid="{D5CDD505-2E9C-101B-9397-08002B2CF9AE}" pid="4" name="MSIP_Label_ea60d57e-af5b-4752-ac57-3e4f28ca11dc_SetDate">
    <vt:lpwstr>2024-02-26T20:39:3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78c68144-a8d8-4993-b200-1a51cc8b0a1e</vt:lpwstr>
  </property>
  <property fmtid="{D5CDD505-2E9C-101B-9397-08002B2CF9AE}" pid="9" name="MSIP_Label_ea60d57e-af5b-4752-ac57-3e4f28ca11dc_ContentBits">
    <vt:lpwstr>0</vt:lpwstr>
  </property>
  <property fmtid="{D5CDD505-2E9C-101B-9397-08002B2CF9AE}" pid="10" name="MediaServiceImageTags">
    <vt:lpwstr/>
  </property>
</Properties>
</file>